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gif" ContentType="image/gi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b" ContentType="application/vnd.ms-excel.sheet.binary.macroEnabled.12"/>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theme/theme2.xml" ContentType="application/vnd.openxmlformats-officedocument.theme+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theme/theme3.xml" ContentType="application/vnd.openxmlformats-officedocument.theme+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notesSlides/notesSlide1.xml" ContentType="application/vnd.openxmlformats-officedocument.presentationml.notesSlide+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charts/chart1.xml" ContentType="application/vnd.openxmlformats-officedocument.drawingml.chart+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notesSlides/notesSlide2.xml" ContentType="application/vnd.openxmlformats-officedocument.presentationml.notesSlide+xml"/>
  <Override PartName="/ppt/charts/chart2.xml" ContentType="application/vnd.openxmlformats-officedocument.drawingml.chart+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notesSlides/notesSlide3.xml" ContentType="application/vnd.openxmlformats-officedocument.presentationml.notesSlide+xml"/>
  <Override PartName="/ppt/charts/chart3.xml" ContentType="application/vnd.openxmlformats-officedocument.drawingml.chart+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tags/tag319.xml" ContentType="application/vnd.openxmlformats-officedocument.presentationml.tags+xml"/>
  <Override PartName="/ppt/notesSlides/notesSlide4.xml" ContentType="application/vnd.openxmlformats-officedocument.presentationml.notesSlide+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notesSlides/notesSlide5.xml" ContentType="application/vnd.openxmlformats-officedocument.presentationml.notesSlide+xml"/>
  <Override PartName="/ppt/charts/chart7.xml" ContentType="application/vnd.openxmlformats-officedocument.drawingml.chart+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notesSlides/notesSlide6.xml" ContentType="application/vnd.openxmlformats-officedocument.presentationml.notesSlide+xml"/>
  <Override PartName="/ppt/charts/chart8.xml" ContentType="application/vnd.openxmlformats-officedocument.drawingml.chart+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tags/tag386.xml" ContentType="application/vnd.openxmlformats-officedocument.presentationml.tags+xml"/>
  <Override PartName="/ppt/tags/tag387.xml" ContentType="application/vnd.openxmlformats-officedocument.presentationml.tags+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86" r:id="rId6"/>
    <p:sldMasterId id="2147483732" r:id="rId7"/>
    <p:sldMasterId id="2147483770" r:id="rId8"/>
  </p:sldMasterIdLst>
  <p:notesMasterIdLst>
    <p:notesMasterId r:id="rId29"/>
  </p:notesMasterIdLst>
  <p:handoutMasterIdLst>
    <p:handoutMasterId r:id="rId30"/>
  </p:handoutMasterIdLst>
  <p:sldIdLst>
    <p:sldId id="2147480171" r:id="rId9"/>
    <p:sldId id="2147473885" r:id="rId10"/>
    <p:sldId id="304" r:id="rId11"/>
    <p:sldId id="2147479684" r:id="rId12"/>
    <p:sldId id="2147480176" r:id="rId13"/>
    <p:sldId id="2147480181" r:id="rId14"/>
    <p:sldId id="2147480166" r:id="rId15"/>
    <p:sldId id="2147480155" r:id="rId16"/>
    <p:sldId id="2147480174" r:id="rId17"/>
    <p:sldId id="2147480180" r:id="rId18"/>
    <p:sldId id="2147479826" r:id="rId19"/>
    <p:sldId id="2147480183" r:id="rId20"/>
    <p:sldId id="2147480152" r:id="rId21"/>
    <p:sldId id="2147480184" r:id="rId22"/>
    <p:sldId id="2147480168" r:id="rId23"/>
    <p:sldId id="2147480205" r:id="rId24"/>
    <p:sldId id="2147480175" r:id="rId25"/>
    <p:sldId id="2147480207" r:id="rId26"/>
    <p:sldId id="2147480190" r:id="rId27"/>
    <p:sldId id="2147480178" r:id="rId28"/>
  </p:sldIdLst>
  <p:sldSz cx="12192000" cy="6858000"/>
  <p:notesSz cx="6858000" cy="9144000"/>
  <p:embeddedFontLst>
    <p:embeddedFont>
      <p:font typeface="Century Gothic" panose="020B0502020202020204" pitchFamily="34" charset="0"/>
      <p:regular r:id="rId31"/>
      <p:bold r:id="rId32"/>
      <p:italic r:id="rId33"/>
      <p:boldItalic r:id="rId34"/>
    </p:embeddedFont>
    <p:embeddedFont>
      <p:font typeface="Inter" panose="020B0604020202020204" charset="0"/>
      <p:regular r:id="rId35"/>
      <p:bold r:id="rId36"/>
      <p:italic r:id="rId37"/>
      <p:boldItalic r:id="rId38"/>
    </p:embeddedFont>
    <p:embeddedFont>
      <p:font typeface="Lato" panose="020F0502020204030203" pitchFamily="34" charset="0"/>
      <p:regular r:id="rId39"/>
      <p:bold r:id="rId40"/>
      <p:italic r:id="rId41"/>
      <p:boldItalic r:id="rId42"/>
    </p:embeddedFont>
    <p:embeddedFont>
      <p:font typeface="Museo Sans 100" panose="02000000000000000000" charset="0"/>
      <p:regular r:id="rId43"/>
      <p:bold r:id="rId44"/>
      <p:italic r:id="rId45"/>
      <p:boldItalic r:id="rId46"/>
    </p:embeddedFont>
    <p:embeddedFont>
      <p:font typeface="Source Sans Pro" panose="020B0503030403020204" pitchFamily="34" charset="0"/>
      <p:regular r:id="rId47"/>
      <p:bold r:id="rId48"/>
      <p:italic r:id="rId49"/>
      <p:boldItalic r:id="rId50"/>
    </p:embeddedFont>
    <p:embeddedFont>
      <p:font typeface="Trebuchet MS" panose="020B0603020202020204" pitchFamily="34" charset="0"/>
      <p:regular r:id="rId51"/>
      <p:bold r:id="rId52"/>
      <p:italic r:id="rId53"/>
      <p:boldItalic r:id="rId54"/>
    </p:embeddedFont>
    <p:embeddedFont>
      <p:font typeface="Verdana" panose="020B0604030504040204" pitchFamily="34" charset="0"/>
      <p:regular r:id="rId55"/>
      <p:bold r:id="rId56"/>
      <p:italic r:id="rId57"/>
      <p:boldItalic r:id="rId58"/>
    </p:embeddedFont>
  </p:embeddedFontLst>
  <p:custDataLst>
    <p:tags r:id="rId5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95E2B7F-F3AE-D965-0AF6-74CC639BEDCE}" name="Hugo Liabeuf" initials="HL" userId="S::Hugo.Liabeuf@systemiq.earth::a9defb0f-a7f4-478c-b61b-a76d3d661b31" providerId="AD"/>
  <p188:author id="{25E89DBB-8B01-5CF8-06C2-7A684E05F654}" name="Hugo Stevens" initials="HS" userId="S::Hugo.Stevens@systemiq.earth::0d2a6877-daee-467d-80b2-7bbc91a238c1" providerId="AD"/>
  <p188:author id="{3E04AFC5-CF16-20FD-99CC-D8974743D397}" name="Leonardo Buizza" initials="LB" userId="S::Leonardo.Buizza@systemiq.earth::e20b4265-2083-411a-aa73-821221258a92"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DF1FF"/>
    <a:srgbClr val="EDFFC4"/>
    <a:srgbClr val="FFF5CC"/>
    <a:srgbClr val="E59E6D"/>
    <a:srgbClr val="235DFF"/>
    <a:srgbClr val="95D600"/>
    <a:srgbClr val="FFCD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940675A-B579-460E-94D1-54222C63F5D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varScale="1">
        <p:scale>
          <a:sx n="66" d="100"/>
          <a:sy n="66" d="100"/>
        </p:scale>
        <p:origin x="0" y="0"/>
      </p:cViewPr>
      <p:guideLst/>
    </p:cSldViewPr>
  </p:slide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8.xml"/><Relationship Id="rId21" Type="http://schemas.openxmlformats.org/officeDocument/2006/relationships/slide" Target="slides/slide13.xml"/><Relationship Id="rId34" Type="http://schemas.openxmlformats.org/officeDocument/2006/relationships/font" Target="fonts/font4.fntdata"/><Relationship Id="rId42" Type="http://schemas.openxmlformats.org/officeDocument/2006/relationships/font" Target="fonts/font12.fntdata"/><Relationship Id="rId47" Type="http://schemas.openxmlformats.org/officeDocument/2006/relationships/font" Target="fonts/font17.fntdata"/><Relationship Id="rId50" Type="http://schemas.openxmlformats.org/officeDocument/2006/relationships/font" Target="fonts/font20.fntdata"/><Relationship Id="rId55" Type="http://schemas.openxmlformats.org/officeDocument/2006/relationships/font" Target="fonts/font25.fntdata"/><Relationship Id="rId63" Type="http://schemas.openxmlformats.org/officeDocument/2006/relationships/tableStyles" Target="tableStyles.xml"/><Relationship Id="rId7" Type="http://schemas.openxmlformats.org/officeDocument/2006/relationships/slideMaster" Target="slideMasters/slideMaster2.xml"/><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notesMaster" Target="notesMasters/notesMaster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font" Target="fonts/font2.fntdata"/><Relationship Id="rId37" Type="http://schemas.openxmlformats.org/officeDocument/2006/relationships/font" Target="fonts/font7.fntdata"/><Relationship Id="rId40" Type="http://schemas.openxmlformats.org/officeDocument/2006/relationships/font" Target="fonts/font10.fntdata"/><Relationship Id="rId45" Type="http://schemas.openxmlformats.org/officeDocument/2006/relationships/font" Target="fonts/font15.fntdata"/><Relationship Id="rId53" Type="http://schemas.openxmlformats.org/officeDocument/2006/relationships/font" Target="fonts/font23.fntdata"/><Relationship Id="rId58" Type="http://schemas.openxmlformats.org/officeDocument/2006/relationships/font" Target="fonts/font28.fntdata"/><Relationship Id="rId5" Type="http://schemas.openxmlformats.org/officeDocument/2006/relationships/customXml" Target="../customXml/item5.xml"/><Relationship Id="rId61" Type="http://schemas.openxmlformats.org/officeDocument/2006/relationships/viewProps" Target="viewProps.xml"/><Relationship Id="rId19" Type="http://schemas.openxmlformats.org/officeDocument/2006/relationships/slide" Target="slides/slide1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handoutMaster" Target="handoutMasters/handoutMaster1.xml"/><Relationship Id="rId35" Type="http://schemas.openxmlformats.org/officeDocument/2006/relationships/font" Target="fonts/font5.fntdata"/><Relationship Id="rId43" Type="http://schemas.openxmlformats.org/officeDocument/2006/relationships/font" Target="fonts/font13.fntdata"/><Relationship Id="rId48" Type="http://schemas.openxmlformats.org/officeDocument/2006/relationships/font" Target="fonts/font18.fntdata"/><Relationship Id="rId56" Type="http://schemas.openxmlformats.org/officeDocument/2006/relationships/font" Target="fonts/font26.fntdata"/><Relationship Id="rId64" Type="http://schemas.microsoft.com/office/2016/11/relationships/changesInfo" Target="changesInfos/changesInfo1.xml"/><Relationship Id="rId8" Type="http://schemas.openxmlformats.org/officeDocument/2006/relationships/slideMaster" Target="slideMasters/slideMaster3.xml"/><Relationship Id="rId51" Type="http://schemas.openxmlformats.org/officeDocument/2006/relationships/font" Target="fonts/font21.fntdata"/><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font" Target="fonts/font3.fntdata"/><Relationship Id="rId38" Type="http://schemas.openxmlformats.org/officeDocument/2006/relationships/font" Target="fonts/font8.fntdata"/><Relationship Id="rId46" Type="http://schemas.openxmlformats.org/officeDocument/2006/relationships/font" Target="fonts/font16.fntdata"/><Relationship Id="rId59" Type="http://schemas.openxmlformats.org/officeDocument/2006/relationships/tags" Target="tags/tag1.xml"/><Relationship Id="rId20" Type="http://schemas.openxmlformats.org/officeDocument/2006/relationships/slide" Target="slides/slide12.xml"/><Relationship Id="rId41" Type="http://schemas.openxmlformats.org/officeDocument/2006/relationships/font" Target="fonts/font11.fntdata"/><Relationship Id="rId54" Type="http://schemas.openxmlformats.org/officeDocument/2006/relationships/font" Target="fonts/font24.fntdata"/><Relationship Id="rId62"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1.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font" Target="fonts/font6.fntdata"/><Relationship Id="rId49" Type="http://schemas.openxmlformats.org/officeDocument/2006/relationships/font" Target="fonts/font19.fntdata"/><Relationship Id="rId57" Type="http://schemas.openxmlformats.org/officeDocument/2006/relationships/font" Target="fonts/font27.fntdata"/><Relationship Id="rId10" Type="http://schemas.openxmlformats.org/officeDocument/2006/relationships/slide" Target="slides/slide2.xml"/><Relationship Id="rId31" Type="http://schemas.openxmlformats.org/officeDocument/2006/relationships/font" Target="fonts/font1.fntdata"/><Relationship Id="rId44" Type="http://schemas.openxmlformats.org/officeDocument/2006/relationships/font" Target="fonts/font14.fntdata"/><Relationship Id="rId52" Type="http://schemas.openxmlformats.org/officeDocument/2006/relationships/font" Target="fonts/font22.fntdata"/><Relationship Id="rId60" Type="http://schemas.openxmlformats.org/officeDocument/2006/relationships/presProps" Target="presProps.xml"/><Relationship Id="rId65" Type="http://schemas.microsoft.com/office/2018/10/relationships/authors" Target="authors.xml"/><Relationship Id="rId4" Type="http://schemas.openxmlformats.org/officeDocument/2006/relationships/customXml" Target="../customXml/item4.xml"/><Relationship Id="rId9" Type="http://schemas.openxmlformats.org/officeDocument/2006/relationships/slide" Target="slides/slide1.xml"/><Relationship Id="rId13" Type="http://schemas.openxmlformats.org/officeDocument/2006/relationships/slide" Target="slides/slide5.xml"/><Relationship Id="rId18" Type="http://schemas.openxmlformats.org/officeDocument/2006/relationships/slide" Target="slides/slide10.xml"/><Relationship Id="rId39" Type="http://schemas.openxmlformats.org/officeDocument/2006/relationships/font" Target="fonts/font9.fntdata"/></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ugo Liabeuf" userId="a9defb0f-a7f4-478c-b61b-a76d3d661b31" providerId="ADAL" clId="{ABD2F74A-712B-4083-A42A-5FB1F7D04898}"/>
    <pc:docChg chg="undo custSel addSld delSld modSld sldOrd replTag">
      <pc:chgData name="Hugo Liabeuf" userId="a9defb0f-a7f4-478c-b61b-a76d3d661b31" providerId="ADAL" clId="{ABD2F74A-712B-4083-A42A-5FB1F7D04898}" dt="2024-06-07T07:49:06.616" v="29446" actId="14861"/>
      <pc:docMkLst>
        <pc:docMk/>
      </pc:docMkLst>
      <pc:sldChg chg="del">
        <pc:chgData name="Hugo Liabeuf" userId="a9defb0f-a7f4-478c-b61b-a76d3d661b31" providerId="ADAL" clId="{ABD2F74A-712B-4083-A42A-5FB1F7D04898}" dt="2024-06-04T14:55:48.959" v="3780" actId="47"/>
        <pc:sldMkLst>
          <pc:docMk/>
          <pc:sldMk cId="115943940" sldId="2147479777"/>
        </pc:sldMkLst>
      </pc:sldChg>
      <pc:sldChg chg="addSp delSp modSp mod">
        <pc:chgData name="Hugo Liabeuf" userId="a9defb0f-a7f4-478c-b61b-a76d3d661b31" providerId="ADAL" clId="{ABD2F74A-712B-4083-A42A-5FB1F7D04898}" dt="2024-06-04T16:11:13.681" v="13151"/>
        <pc:sldMkLst>
          <pc:docMk/>
          <pc:sldMk cId="2736534439" sldId="2147479826"/>
        </pc:sldMkLst>
        <pc:spChg chg="mod ord">
          <ac:chgData name="Hugo Liabeuf" userId="a9defb0f-a7f4-478c-b61b-a76d3d661b31" providerId="ADAL" clId="{ABD2F74A-712B-4083-A42A-5FB1F7D04898}" dt="2024-06-04T16:11:13.633" v="13083"/>
          <ac:spMkLst>
            <pc:docMk/>
            <pc:sldMk cId="2736534439" sldId="2147479826"/>
            <ac:spMk id="2" creationId="{522B25B0-B153-DBB4-157C-CD00C29B72AC}"/>
          </ac:spMkLst>
        </pc:spChg>
        <pc:spChg chg="mod ord">
          <ac:chgData name="Hugo Liabeuf" userId="a9defb0f-a7f4-478c-b61b-a76d3d661b31" providerId="ADAL" clId="{ABD2F74A-712B-4083-A42A-5FB1F7D04898}" dt="2024-06-04T16:11:13.633" v="13081"/>
          <ac:spMkLst>
            <pc:docMk/>
            <pc:sldMk cId="2736534439" sldId="2147479826"/>
            <ac:spMk id="7" creationId="{4FFB7D11-9165-8685-7C91-4BA3B8E07BA2}"/>
          </ac:spMkLst>
        </pc:spChg>
        <pc:spChg chg="mod">
          <ac:chgData name="Hugo Liabeuf" userId="a9defb0f-a7f4-478c-b61b-a76d3d661b31" providerId="ADAL" clId="{ABD2F74A-712B-4083-A42A-5FB1F7D04898}" dt="2024-06-04T16:11:13.663" v="13136"/>
          <ac:spMkLst>
            <pc:docMk/>
            <pc:sldMk cId="2736534439" sldId="2147479826"/>
            <ac:spMk id="22" creationId="{B926D567-524F-4499-A030-E098F89DCD34}"/>
          </ac:spMkLst>
        </pc:spChg>
        <pc:spChg chg="mod">
          <ac:chgData name="Hugo Liabeuf" userId="a9defb0f-a7f4-478c-b61b-a76d3d661b31" providerId="ADAL" clId="{ABD2F74A-712B-4083-A42A-5FB1F7D04898}" dt="2024-06-04T16:11:13.654" v="13114"/>
          <ac:spMkLst>
            <pc:docMk/>
            <pc:sldMk cId="2736534439" sldId="2147479826"/>
            <ac:spMk id="38" creationId="{B926D567-524F-4499-A030-E098F89DCD34}"/>
          </ac:spMkLst>
        </pc:spChg>
        <pc:spChg chg="mod">
          <ac:chgData name="Hugo Liabeuf" userId="a9defb0f-a7f4-478c-b61b-a76d3d661b31" providerId="ADAL" clId="{ABD2F74A-712B-4083-A42A-5FB1F7D04898}" dt="2024-06-04T16:11:13.654" v="13115"/>
          <ac:spMkLst>
            <pc:docMk/>
            <pc:sldMk cId="2736534439" sldId="2147479826"/>
            <ac:spMk id="40" creationId="{B926D567-524F-4499-A030-E098F89DCD34}"/>
          </ac:spMkLst>
        </pc:spChg>
        <pc:spChg chg="mod">
          <ac:chgData name="Hugo Liabeuf" userId="a9defb0f-a7f4-478c-b61b-a76d3d661b31" providerId="ADAL" clId="{ABD2F74A-712B-4083-A42A-5FB1F7D04898}" dt="2024-06-04T16:11:13.655" v="13116"/>
          <ac:spMkLst>
            <pc:docMk/>
            <pc:sldMk cId="2736534439" sldId="2147479826"/>
            <ac:spMk id="42" creationId="{B926D567-524F-4499-A030-E098F89DCD34}"/>
          </ac:spMkLst>
        </pc:spChg>
        <pc:spChg chg="mod">
          <ac:chgData name="Hugo Liabeuf" userId="a9defb0f-a7f4-478c-b61b-a76d3d661b31" providerId="ADAL" clId="{ABD2F74A-712B-4083-A42A-5FB1F7D04898}" dt="2024-06-04T16:11:13.655" v="13117"/>
          <ac:spMkLst>
            <pc:docMk/>
            <pc:sldMk cId="2736534439" sldId="2147479826"/>
            <ac:spMk id="44" creationId="{B926D567-524F-4499-A030-E098F89DCD34}"/>
          </ac:spMkLst>
        </pc:spChg>
        <pc:spChg chg="mod">
          <ac:chgData name="Hugo Liabeuf" userId="a9defb0f-a7f4-478c-b61b-a76d3d661b31" providerId="ADAL" clId="{ABD2F74A-712B-4083-A42A-5FB1F7D04898}" dt="2024-06-04T16:11:13.656" v="13118"/>
          <ac:spMkLst>
            <pc:docMk/>
            <pc:sldMk cId="2736534439" sldId="2147479826"/>
            <ac:spMk id="46" creationId="{B926D567-524F-4499-A030-E098F89DCD34}"/>
          </ac:spMkLst>
        </pc:spChg>
        <pc:spChg chg="mod">
          <ac:chgData name="Hugo Liabeuf" userId="a9defb0f-a7f4-478c-b61b-a76d3d661b31" providerId="ADAL" clId="{ABD2F74A-712B-4083-A42A-5FB1F7D04898}" dt="2024-06-04T16:11:13.656" v="13119"/>
          <ac:spMkLst>
            <pc:docMk/>
            <pc:sldMk cId="2736534439" sldId="2147479826"/>
            <ac:spMk id="48" creationId="{B926D567-524F-4499-A030-E098F89DCD34}"/>
          </ac:spMkLst>
        </pc:spChg>
        <pc:spChg chg="mod">
          <ac:chgData name="Hugo Liabeuf" userId="a9defb0f-a7f4-478c-b61b-a76d3d661b31" providerId="ADAL" clId="{ABD2F74A-712B-4083-A42A-5FB1F7D04898}" dt="2024-06-04T16:11:13.657" v="13120"/>
          <ac:spMkLst>
            <pc:docMk/>
            <pc:sldMk cId="2736534439" sldId="2147479826"/>
            <ac:spMk id="50" creationId="{B926D567-524F-4499-A030-E098F89DCD34}"/>
          </ac:spMkLst>
        </pc:spChg>
        <pc:spChg chg="mod">
          <ac:chgData name="Hugo Liabeuf" userId="a9defb0f-a7f4-478c-b61b-a76d3d661b31" providerId="ADAL" clId="{ABD2F74A-712B-4083-A42A-5FB1F7D04898}" dt="2024-06-04T16:11:13.657" v="13121"/>
          <ac:spMkLst>
            <pc:docMk/>
            <pc:sldMk cId="2736534439" sldId="2147479826"/>
            <ac:spMk id="52" creationId="{B926D567-524F-4499-A030-E098F89DCD34}"/>
          </ac:spMkLst>
        </pc:spChg>
        <pc:spChg chg="mod">
          <ac:chgData name="Hugo Liabeuf" userId="a9defb0f-a7f4-478c-b61b-a76d3d661b31" providerId="ADAL" clId="{ABD2F74A-712B-4083-A42A-5FB1F7D04898}" dt="2024-06-04T16:11:13.658" v="13122"/>
          <ac:spMkLst>
            <pc:docMk/>
            <pc:sldMk cId="2736534439" sldId="2147479826"/>
            <ac:spMk id="54" creationId="{B926D567-524F-4499-A030-E098F89DCD34}"/>
          </ac:spMkLst>
        </pc:spChg>
        <pc:spChg chg="mod">
          <ac:chgData name="Hugo Liabeuf" userId="a9defb0f-a7f4-478c-b61b-a76d3d661b31" providerId="ADAL" clId="{ABD2F74A-712B-4083-A42A-5FB1F7D04898}" dt="2024-06-04T16:11:13.658" v="13123"/>
          <ac:spMkLst>
            <pc:docMk/>
            <pc:sldMk cId="2736534439" sldId="2147479826"/>
            <ac:spMk id="56" creationId="{B926D567-524F-4499-A030-E098F89DCD34}"/>
          </ac:spMkLst>
        </pc:spChg>
        <pc:spChg chg="mod">
          <ac:chgData name="Hugo Liabeuf" userId="a9defb0f-a7f4-478c-b61b-a76d3d661b31" providerId="ADAL" clId="{ABD2F74A-712B-4083-A42A-5FB1F7D04898}" dt="2024-06-04T16:11:13.659" v="13124"/>
          <ac:spMkLst>
            <pc:docMk/>
            <pc:sldMk cId="2736534439" sldId="2147479826"/>
            <ac:spMk id="58" creationId="{B926D567-524F-4499-A030-E098F89DCD34}"/>
          </ac:spMkLst>
        </pc:spChg>
        <pc:spChg chg="mod">
          <ac:chgData name="Hugo Liabeuf" userId="a9defb0f-a7f4-478c-b61b-a76d3d661b31" providerId="ADAL" clId="{ABD2F74A-712B-4083-A42A-5FB1F7D04898}" dt="2024-06-04T16:11:13.659" v="13125"/>
          <ac:spMkLst>
            <pc:docMk/>
            <pc:sldMk cId="2736534439" sldId="2147479826"/>
            <ac:spMk id="60" creationId="{B926D567-524F-4499-A030-E098F89DCD34}"/>
          </ac:spMkLst>
        </pc:spChg>
        <pc:spChg chg="mod">
          <ac:chgData name="Hugo Liabeuf" userId="a9defb0f-a7f4-478c-b61b-a76d3d661b31" providerId="ADAL" clId="{ABD2F74A-712B-4083-A42A-5FB1F7D04898}" dt="2024-06-04T16:11:13.660" v="13126"/>
          <ac:spMkLst>
            <pc:docMk/>
            <pc:sldMk cId="2736534439" sldId="2147479826"/>
            <ac:spMk id="62" creationId="{B926D567-524F-4499-A030-E098F89DCD34}"/>
          </ac:spMkLst>
        </pc:spChg>
        <pc:spChg chg="mod">
          <ac:chgData name="Hugo Liabeuf" userId="a9defb0f-a7f4-478c-b61b-a76d3d661b31" providerId="ADAL" clId="{ABD2F74A-712B-4083-A42A-5FB1F7D04898}" dt="2024-06-04T16:11:13.660" v="13127"/>
          <ac:spMkLst>
            <pc:docMk/>
            <pc:sldMk cId="2736534439" sldId="2147479826"/>
            <ac:spMk id="1024" creationId="{B926D567-524F-4499-A030-E098F89DCD34}"/>
          </ac:spMkLst>
        </pc:spChg>
        <pc:spChg chg="mod">
          <ac:chgData name="Hugo Liabeuf" userId="a9defb0f-a7f4-478c-b61b-a76d3d661b31" providerId="ADAL" clId="{ABD2F74A-712B-4083-A42A-5FB1F7D04898}" dt="2024-06-04T16:11:13.664" v="13137"/>
          <ac:spMkLst>
            <pc:docMk/>
            <pc:sldMk cId="2736534439" sldId="2147479826"/>
            <ac:spMk id="1027" creationId="{444EE6FB-EAF5-6D41-F929-03D9143C45D4}"/>
          </ac:spMkLst>
        </pc:spChg>
        <pc:spChg chg="mod">
          <ac:chgData name="Hugo Liabeuf" userId="a9defb0f-a7f4-478c-b61b-a76d3d661b31" providerId="ADAL" clId="{ABD2F74A-712B-4083-A42A-5FB1F7D04898}" dt="2024-06-04T16:11:13.664" v="13138"/>
          <ac:spMkLst>
            <pc:docMk/>
            <pc:sldMk cId="2736534439" sldId="2147479826"/>
            <ac:spMk id="1028" creationId="{10F30741-DF1C-8616-828F-08ABE6CE41AB}"/>
          </ac:spMkLst>
        </pc:spChg>
        <pc:spChg chg="mod">
          <ac:chgData name="Hugo Liabeuf" userId="a9defb0f-a7f4-478c-b61b-a76d3d661b31" providerId="ADAL" clId="{ABD2F74A-712B-4083-A42A-5FB1F7D04898}" dt="2024-06-04T16:11:13.665" v="13139"/>
          <ac:spMkLst>
            <pc:docMk/>
            <pc:sldMk cId="2736534439" sldId="2147479826"/>
            <ac:spMk id="1029" creationId="{74EC977C-B73B-5BC8-212E-76C175781D9B}"/>
          </ac:spMkLst>
        </pc:spChg>
        <pc:spChg chg="mod ord">
          <ac:chgData name="Hugo Liabeuf" userId="a9defb0f-a7f4-478c-b61b-a76d3d661b31" providerId="ADAL" clId="{ABD2F74A-712B-4083-A42A-5FB1F7D04898}" dt="2024-06-04T16:11:13.633" v="13087"/>
          <ac:spMkLst>
            <pc:docMk/>
            <pc:sldMk cId="2736534439" sldId="2147479826"/>
            <ac:spMk id="1061" creationId="{9F3C94C2-85DA-1A1F-527D-6C17B9891369}"/>
          </ac:spMkLst>
        </pc:spChg>
        <pc:spChg chg="mod ord">
          <ac:chgData name="Hugo Liabeuf" userId="a9defb0f-a7f4-478c-b61b-a76d3d661b31" providerId="ADAL" clId="{ABD2F74A-712B-4083-A42A-5FB1F7D04898}" dt="2024-06-04T16:11:13.633" v="13077"/>
          <ac:spMkLst>
            <pc:docMk/>
            <pc:sldMk cId="2736534439" sldId="2147479826"/>
            <ac:spMk id="1253" creationId="{85CB1555-1F8D-BB8A-30BD-604EB377AD8B}"/>
          </ac:spMkLst>
        </pc:spChg>
        <pc:spChg chg="mod ord">
          <ac:chgData name="Hugo Liabeuf" userId="a9defb0f-a7f4-478c-b61b-a76d3d661b31" providerId="ADAL" clId="{ABD2F74A-712B-4083-A42A-5FB1F7D04898}" dt="2024-06-04T16:11:13.665" v="13141"/>
          <ac:spMkLst>
            <pc:docMk/>
            <pc:sldMk cId="2736534439" sldId="2147479826"/>
            <ac:spMk id="1256" creationId="{68672140-B57C-1C5F-B511-F3B4222C69FD}"/>
          </ac:spMkLst>
        </pc:spChg>
        <pc:spChg chg="mod ord">
          <ac:chgData name="Hugo Liabeuf" userId="a9defb0f-a7f4-478c-b61b-a76d3d661b31" providerId="ADAL" clId="{ABD2F74A-712B-4083-A42A-5FB1F7D04898}" dt="2024-06-04T16:11:13.666" v="13143"/>
          <ac:spMkLst>
            <pc:docMk/>
            <pc:sldMk cId="2736534439" sldId="2147479826"/>
            <ac:spMk id="1257" creationId="{BA5DBEE4-00EA-9D1F-6FDF-CEDF655FD29D}"/>
          </ac:spMkLst>
        </pc:spChg>
        <pc:spChg chg="del">
          <ac:chgData name="Hugo Liabeuf" userId="a9defb0f-a7f4-478c-b61b-a76d3d661b31" providerId="ADAL" clId="{ABD2F74A-712B-4083-A42A-5FB1F7D04898}" dt="2024-06-04T14:48:54.720" v="3373" actId="478"/>
          <ac:spMkLst>
            <pc:docMk/>
            <pc:sldMk cId="2736534439" sldId="2147479826"/>
            <ac:spMk id="1259" creationId="{F7941D03-4EE3-462C-1FA8-1B5260EFA58A}"/>
          </ac:spMkLst>
        </pc:spChg>
        <pc:spChg chg="add del mod">
          <ac:chgData name="Hugo Liabeuf" userId="a9defb0f-a7f4-478c-b61b-a76d3d661b31" providerId="ADAL" clId="{ABD2F74A-712B-4083-A42A-5FB1F7D04898}" dt="2024-06-04T14:48:57.410" v="3375" actId="478"/>
          <ac:spMkLst>
            <pc:docMk/>
            <pc:sldMk cId="2736534439" sldId="2147479826"/>
            <ac:spMk id="1262" creationId="{30850E88-5E2C-F6CB-3124-4B8BDB7E83AB}"/>
          </ac:spMkLst>
        </pc:spChg>
        <pc:spChg chg="mod">
          <ac:chgData name="Hugo Liabeuf" userId="a9defb0f-a7f4-478c-b61b-a76d3d661b31" providerId="ADAL" clId="{ABD2F74A-712B-4083-A42A-5FB1F7D04898}" dt="2024-06-04T14:50:46.295" v="3377"/>
          <ac:spMkLst>
            <pc:docMk/>
            <pc:sldMk cId="2736534439" sldId="2147479826"/>
            <ac:spMk id="1264" creationId="{3EC0D15A-E63A-51C9-6BA5-63A8B877198B}"/>
          </ac:spMkLst>
        </pc:spChg>
        <pc:spChg chg="mod">
          <ac:chgData name="Hugo Liabeuf" userId="a9defb0f-a7f4-478c-b61b-a76d3d661b31" providerId="ADAL" clId="{ABD2F74A-712B-4083-A42A-5FB1F7D04898}" dt="2024-06-04T14:50:46.295" v="3377"/>
          <ac:spMkLst>
            <pc:docMk/>
            <pc:sldMk cId="2736534439" sldId="2147479826"/>
            <ac:spMk id="1271" creationId="{D92A081A-C109-7717-E42A-ADA0A85D42CB}"/>
          </ac:spMkLst>
        </pc:spChg>
        <pc:spChg chg="mod">
          <ac:chgData name="Hugo Liabeuf" userId="a9defb0f-a7f4-478c-b61b-a76d3d661b31" providerId="ADAL" clId="{ABD2F74A-712B-4083-A42A-5FB1F7D04898}" dt="2024-06-04T14:50:46.295" v="3377"/>
          <ac:spMkLst>
            <pc:docMk/>
            <pc:sldMk cId="2736534439" sldId="2147479826"/>
            <ac:spMk id="1275" creationId="{5AB8FB4C-C5E5-344E-88DD-45876C70A51C}"/>
          </ac:spMkLst>
        </pc:spChg>
        <pc:spChg chg="mod">
          <ac:chgData name="Hugo Liabeuf" userId="a9defb0f-a7f4-478c-b61b-a76d3d661b31" providerId="ADAL" clId="{ABD2F74A-712B-4083-A42A-5FB1F7D04898}" dt="2024-06-04T14:50:46.295" v="3377"/>
          <ac:spMkLst>
            <pc:docMk/>
            <pc:sldMk cId="2736534439" sldId="2147479826"/>
            <ac:spMk id="1277" creationId="{024F4E48-BB8D-857C-4324-918ECF403AA0}"/>
          </ac:spMkLst>
        </pc:spChg>
        <pc:spChg chg="mod">
          <ac:chgData name="Hugo Liabeuf" userId="a9defb0f-a7f4-478c-b61b-a76d3d661b31" providerId="ADAL" clId="{ABD2F74A-712B-4083-A42A-5FB1F7D04898}" dt="2024-06-04T14:50:46.295" v="3377"/>
          <ac:spMkLst>
            <pc:docMk/>
            <pc:sldMk cId="2736534439" sldId="2147479826"/>
            <ac:spMk id="1288" creationId="{06896C2B-0E6F-7289-1AEA-5DB11B736329}"/>
          </ac:spMkLst>
        </pc:spChg>
        <pc:spChg chg="add del mod modVis">
          <ac:chgData name="Hugo Liabeuf" userId="a9defb0f-a7f4-478c-b61b-a76d3d661b31" providerId="ADAL" clId="{ABD2F74A-712B-4083-A42A-5FB1F7D04898}" dt="2024-06-04T16:08:13.055" v="12537"/>
          <ac:spMkLst>
            <pc:docMk/>
            <pc:sldMk cId="2736534439" sldId="2147479826"/>
            <ac:spMk id="1289" creationId="{6CE2264F-DCD4-51E6-7B58-B96BFC9434AB}"/>
          </ac:spMkLst>
        </pc:spChg>
        <pc:spChg chg="add del mod modVis">
          <ac:chgData name="Hugo Liabeuf" userId="a9defb0f-a7f4-478c-b61b-a76d3d661b31" providerId="ADAL" clId="{ABD2F74A-712B-4083-A42A-5FB1F7D04898}" dt="2024-06-04T16:10:52.429" v="12865"/>
          <ac:spMkLst>
            <pc:docMk/>
            <pc:sldMk cId="2736534439" sldId="2147479826"/>
            <ac:spMk id="1291" creationId="{BDB9A731-D143-DA16-2CC7-1B750B60E0E4}"/>
          </ac:spMkLst>
        </pc:spChg>
        <pc:spChg chg="add del mod modVis">
          <ac:chgData name="Hugo Liabeuf" userId="a9defb0f-a7f4-478c-b61b-a76d3d661b31" providerId="ADAL" clId="{ABD2F74A-712B-4083-A42A-5FB1F7D04898}" dt="2024-06-04T16:11:13.669" v="13149"/>
          <ac:spMkLst>
            <pc:docMk/>
            <pc:sldMk cId="2736534439" sldId="2147479826"/>
            <ac:spMk id="1293" creationId="{9237BEE2-DFEF-09CC-ADFD-C9DFD556E4D7}"/>
          </ac:spMkLst>
        </pc:spChg>
        <pc:grpChg chg="mod ord">
          <ac:chgData name="Hugo Liabeuf" userId="a9defb0f-a7f4-478c-b61b-a76d3d661b31" providerId="ADAL" clId="{ABD2F74A-712B-4083-A42A-5FB1F7D04898}" dt="2024-06-04T16:11:13.633" v="13085"/>
          <ac:grpSpMkLst>
            <pc:docMk/>
            <pc:sldMk cId="2736534439" sldId="2147479826"/>
            <ac:grpSpMk id="3" creationId="{04C2FBDB-7623-2AE8-F796-ECADD169BB5F}"/>
          </ac:grpSpMkLst>
        </pc:grpChg>
        <pc:grpChg chg="add mod ord">
          <ac:chgData name="Hugo Liabeuf" userId="a9defb0f-a7f4-478c-b61b-a76d3d661b31" providerId="ADAL" clId="{ABD2F74A-712B-4083-A42A-5FB1F7D04898}" dt="2024-06-04T16:11:13.667" v="13145"/>
          <ac:grpSpMkLst>
            <pc:docMk/>
            <pc:sldMk cId="2736534439" sldId="2147479826"/>
            <ac:grpSpMk id="1263" creationId="{024DE6B9-01F6-82D5-7E6E-E636313B3BF5}"/>
          </ac:grpSpMkLst>
        </pc:grpChg>
        <pc:grpChg chg="mod">
          <ac:chgData name="Hugo Liabeuf" userId="a9defb0f-a7f4-478c-b61b-a76d3d661b31" providerId="ADAL" clId="{ABD2F74A-712B-4083-A42A-5FB1F7D04898}" dt="2024-06-04T14:50:46.295" v="3377"/>
          <ac:grpSpMkLst>
            <pc:docMk/>
            <pc:sldMk cId="2736534439" sldId="2147479826"/>
            <ac:grpSpMk id="1265" creationId="{0EDB069C-A426-3D81-306D-9D687654F297}"/>
          </ac:grpSpMkLst>
        </pc:grpChg>
        <pc:grpChg chg="mod">
          <ac:chgData name="Hugo Liabeuf" userId="a9defb0f-a7f4-478c-b61b-a76d3d661b31" providerId="ADAL" clId="{ABD2F74A-712B-4083-A42A-5FB1F7D04898}" dt="2024-06-04T14:50:46.295" v="3377"/>
          <ac:grpSpMkLst>
            <pc:docMk/>
            <pc:sldMk cId="2736534439" sldId="2147479826"/>
            <ac:grpSpMk id="1267" creationId="{7F45060C-FB98-FD20-58E3-8BD85E59CF82}"/>
          </ac:grpSpMkLst>
        </pc:grpChg>
        <pc:grpChg chg="mod">
          <ac:chgData name="Hugo Liabeuf" userId="a9defb0f-a7f4-478c-b61b-a76d3d661b31" providerId="ADAL" clId="{ABD2F74A-712B-4083-A42A-5FB1F7D04898}" dt="2024-06-04T14:50:46.295" v="3377"/>
          <ac:grpSpMkLst>
            <pc:docMk/>
            <pc:sldMk cId="2736534439" sldId="2147479826"/>
            <ac:grpSpMk id="1268" creationId="{098837BF-CF4B-7F8D-B68B-743B381A4DC1}"/>
          </ac:grpSpMkLst>
        </pc:grpChg>
        <pc:grpChg chg="mod">
          <ac:chgData name="Hugo Liabeuf" userId="a9defb0f-a7f4-478c-b61b-a76d3d661b31" providerId="ADAL" clId="{ABD2F74A-712B-4083-A42A-5FB1F7D04898}" dt="2024-06-04T14:50:46.295" v="3377"/>
          <ac:grpSpMkLst>
            <pc:docMk/>
            <pc:sldMk cId="2736534439" sldId="2147479826"/>
            <ac:grpSpMk id="1269" creationId="{E1697DC9-451C-EF52-BDBC-95CE10D6570D}"/>
          </ac:grpSpMkLst>
        </pc:grpChg>
        <pc:graphicFrameChg chg="mod">
          <ac:chgData name="Hugo Liabeuf" userId="a9defb0f-a7f4-478c-b61b-a76d3d661b31" providerId="ADAL" clId="{ABD2F74A-712B-4083-A42A-5FB1F7D04898}" dt="2024-06-04T16:11:13.681" v="13151"/>
          <ac:graphicFrameMkLst>
            <pc:docMk/>
            <pc:sldMk cId="2736534439" sldId="2147479826"/>
            <ac:graphicFrameMk id="4" creationId="{E7CFDB39-962B-C8C2-5EF8-0DD8C3CFB967}"/>
          </ac:graphicFrameMkLst>
        </pc:graphicFrameChg>
        <pc:graphicFrameChg chg="del">
          <ac:chgData name="Hugo Liabeuf" userId="a9defb0f-a7f4-478c-b61b-a76d3d661b31" providerId="ADAL" clId="{ABD2F74A-712B-4083-A42A-5FB1F7D04898}" dt="2024-06-04T16:08:12.977" v="12477"/>
          <ac:graphicFrameMkLst>
            <pc:docMk/>
            <pc:sldMk cId="2736534439" sldId="2147479826"/>
            <ac:graphicFrameMk id="1255" creationId="{3ACAD92F-E26C-A850-9731-81227A0E78E1}"/>
          </ac:graphicFrameMkLst>
        </pc:graphicFrameChg>
        <pc:graphicFrameChg chg="mod ord modGraphic">
          <ac:chgData name="Hugo Liabeuf" userId="a9defb0f-a7f4-478c-b61b-a76d3d661b31" providerId="ADAL" clId="{ABD2F74A-712B-4083-A42A-5FB1F7D04898}" dt="2024-06-04T16:11:13.633" v="13079"/>
          <ac:graphicFrameMkLst>
            <pc:docMk/>
            <pc:sldMk cId="2736534439" sldId="2147479826"/>
            <ac:graphicFrameMk id="1266" creationId="{039532A6-8D7D-E9DB-586D-07C1B05B5968}"/>
          </ac:graphicFrameMkLst>
        </pc:graphicFrameChg>
        <pc:graphicFrameChg chg="add del mod ord replST">
          <ac:chgData name="Hugo Liabeuf" userId="a9defb0f-a7f4-478c-b61b-a76d3d661b31" providerId="ADAL" clId="{ABD2F74A-712B-4083-A42A-5FB1F7D04898}" dt="2024-06-04T16:10:52.357" v="12805"/>
          <ac:graphicFrameMkLst>
            <pc:docMk/>
            <pc:sldMk cId="2736534439" sldId="2147479826"/>
            <ac:graphicFrameMk id="1290" creationId="{15D4904D-634E-53B3-7421-15688DB87E5A}"/>
          </ac:graphicFrameMkLst>
        </pc:graphicFrameChg>
        <pc:graphicFrameChg chg="add del mod ord replST">
          <ac:chgData name="Hugo Liabeuf" userId="a9defb0f-a7f4-478c-b61b-a76d3d661b31" providerId="ADAL" clId="{ABD2F74A-712B-4083-A42A-5FB1F7D04898}" dt="2024-06-04T16:11:13.597" v="13069"/>
          <ac:graphicFrameMkLst>
            <pc:docMk/>
            <pc:sldMk cId="2736534439" sldId="2147479826"/>
            <ac:graphicFrameMk id="1292" creationId="{8374A137-6647-7C2D-0FB5-7B921AF96150}"/>
          </ac:graphicFrameMkLst>
        </pc:graphicFrameChg>
        <pc:graphicFrameChg chg="add mod ord replST">
          <ac:chgData name="Hugo Liabeuf" userId="a9defb0f-a7f4-478c-b61b-a76d3d661b31" providerId="ADAL" clId="{ABD2F74A-712B-4083-A42A-5FB1F7D04898}" dt="2024-06-04T16:11:13.652" v="13109"/>
          <ac:graphicFrameMkLst>
            <pc:docMk/>
            <pc:sldMk cId="2736534439" sldId="2147479826"/>
            <ac:graphicFrameMk id="1304" creationId="{FD119E93-53A2-2493-95F5-C700C20E8380}"/>
          </ac:graphicFrameMkLst>
        </pc:graphicFrameChg>
        <pc:picChg chg="del">
          <ac:chgData name="Hugo Liabeuf" userId="a9defb0f-a7f4-478c-b61b-a76d3d661b31" providerId="ADAL" clId="{ABD2F74A-712B-4083-A42A-5FB1F7D04898}" dt="2024-06-04T14:56:01.008" v="3782" actId="478"/>
          <ac:picMkLst>
            <pc:docMk/>
            <pc:sldMk cId="2736534439" sldId="2147479826"/>
            <ac:picMk id="1261" creationId="{B907AA35-C987-8193-C07A-27144C0A4FE5}"/>
          </ac:picMkLst>
        </pc:picChg>
        <pc:picChg chg="mod">
          <ac:chgData name="Hugo Liabeuf" userId="a9defb0f-a7f4-478c-b61b-a76d3d661b31" providerId="ADAL" clId="{ABD2F74A-712B-4083-A42A-5FB1F7D04898}" dt="2024-06-04T14:50:46.295" v="3377"/>
          <ac:picMkLst>
            <pc:docMk/>
            <pc:sldMk cId="2736534439" sldId="2147479826"/>
            <ac:picMk id="1270" creationId="{5E7B8627-8520-A88D-36CF-72E4216E32E0}"/>
          </ac:picMkLst>
        </pc:picChg>
        <pc:picChg chg="mod">
          <ac:chgData name="Hugo Liabeuf" userId="a9defb0f-a7f4-478c-b61b-a76d3d661b31" providerId="ADAL" clId="{ABD2F74A-712B-4083-A42A-5FB1F7D04898}" dt="2024-06-04T14:50:46.295" v="3377"/>
          <ac:picMkLst>
            <pc:docMk/>
            <pc:sldMk cId="2736534439" sldId="2147479826"/>
            <ac:picMk id="1272" creationId="{8F4D9EA1-BEE3-4A68-4178-236E86C95C45}"/>
          </ac:picMkLst>
        </pc:picChg>
        <pc:picChg chg="mod">
          <ac:chgData name="Hugo Liabeuf" userId="a9defb0f-a7f4-478c-b61b-a76d3d661b31" providerId="ADAL" clId="{ABD2F74A-712B-4083-A42A-5FB1F7D04898}" dt="2024-06-04T14:50:46.295" v="3377"/>
          <ac:picMkLst>
            <pc:docMk/>
            <pc:sldMk cId="2736534439" sldId="2147479826"/>
            <ac:picMk id="1273" creationId="{10DF8A79-15D8-6792-6755-049FDA3D11EE}"/>
          </ac:picMkLst>
        </pc:picChg>
        <pc:picChg chg="mod">
          <ac:chgData name="Hugo Liabeuf" userId="a9defb0f-a7f4-478c-b61b-a76d3d661b31" providerId="ADAL" clId="{ABD2F74A-712B-4083-A42A-5FB1F7D04898}" dt="2024-06-04T14:50:46.295" v="3377"/>
          <ac:picMkLst>
            <pc:docMk/>
            <pc:sldMk cId="2736534439" sldId="2147479826"/>
            <ac:picMk id="1274" creationId="{F5DC516B-6911-34CC-4B8A-2F34F33A7185}"/>
          </ac:picMkLst>
        </pc:picChg>
        <pc:picChg chg="mod">
          <ac:chgData name="Hugo Liabeuf" userId="a9defb0f-a7f4-478c-b61b-a76d3d661b31" providerId="ADAL" clId="{ABD2F74A-712B-4083-A42A-5FB1F7D04898}" dt="2024-06-04T14:50:46.295" v="3377"/>
          <ac:picMkLst>
            <pc:docMk/>
            <pc:sldMk cId="2736534439" sldId="2147479826"/>
            <ac:picMk id="1276" creationId="{694B798F-C253-13CA-7955-47F16EAAF32D}"/>
          </ac:picMkLst>
        </pc:picChg>
        <pc:picChg chg="mod">
          <ac:chgData name="Hugo Liabeuf" userId="a9defb0f-a7f4-478c-b61b-a76d3d661b31" providerId="ADAL" clId="{ABD2F74A-712B-4083-A42A-5FB1F7D04898}" dt="2024-06-04T14:50:46.295" v="3377"/>
          <ac:picMkLst>
            <pc:docMk/>
            <pc:sldMk cId="2736534439" sldId="2147479826"/>
            <ac:picMk id="1278" creationId="{A49B4AC9-0F5C-F8A6-DF85-886A260AFA6F}"/>
          </ac:picMkLst>
        </pc:picChg>
        <pc:picChg chg="mod">
          <ac:chgData name="Hugo Liabeuf" userId="a9defb0f-a7f4-478c-b61b-a76d3d661b31" providerId="ADAL" clId="{ABD2F74A-712B-4083-A42A-5FB1F7D04898}" dt="2024-06-04T14:50:46.295" v="3377"/>
          <ac:picMkLst>
            <pc:docMk/>
            <pc:sldMk cId="2736534439" sldId="2147479826"/>
            <ac:picMk id="1279" creationId="{FA68C5B4-CC1D-3963-AFC9-9A1C921E5D59}"/>
          </ac:picMkLst>
        </pc:picChg>
        <pc:picChg chg="mod">
          <ac:chgData name="Hugo Liabeuf" userId="a9defb0f-a7f4-478c-b61b-a76d3d661b31" providerId="ADAL" clId="{ABD2F74A-712B-4083-A42A-5FB1F7D04898}" dt="2024-06-04T14:50:46.295" v="3377"/>
          <ac:picMkLst>
            <pc:docMk/>
            <pc:sldMk cId="2736534439" sldId="2147479826"/>
            <ac:picMk id="1280" creationId="{29AE7AE7-75CC-7000-7D38-4305CF0C64FA}"/>
          </ac:picMkLst>
        </pc:picChg>
        <pc:picChg chg="mod">
          <ac:chgData name="Hugo Liabeuf" userId="a9defb0f-a7f4-478c-b61b-a76d3d661b31" providerId="ADAL" clId="{ABD2F74A-712B-4083-A42A-5FB1F7D04898}" dt="2024-06-04T14:50:46.295" v="3377"/>
          <ac:picMkLst>
            <pc:docMk/>
            <pc:sldMk cId="2736534439" sldId="2147479826"/>
            <ac:picMk id="1281" creationId="{5A45028F-2D1B-7ACC-F839-AD6B140A9D43}"/>
          </ac:picMkLst>
        </pc:picChg>
        <pc:picChg chg="mod">
          <ac:chgData name="Hugo Liabeuf" userId="a9defb0f-a7f4-478c-b61b-a76d3d661b31" providerId="ADAL" clId="{ABD2F74A-712B-4083-A42A-5FB1F7D04898}" dt="2024-06-04T14:50:46.295" v="3377"/>
          <ac:picMkLst>
            <pc:docMk/>
            <pc:sldMk cId="2736534439" sldId="2147479826"/>
            <ac:picMk id="1282" creationId="{2B618789-B18E-BD60-A5A5-5A214AD96E0E}"/>
          </ac:picMkLst>
        </pc:picChg>
        <pc:picChg chg="mod">
          <ac:chgData name="Hugo Liabeuf" userId="a9defb0f-a7f4-478c-b61b-a76d3d661b31" providerId="ADAL" clId="{ABD2F74A-712B-4083-A42A-5FB1F7D04898}" dt="2024-06-04T14:50:46.295" v="3377"/>
          <ac:picMkLst>
            <pc:docMk/>
            <pc:sldMk cId="2736534439" sldId="2147479826"/>
            <ac:picMk id="1283" creationId="{5C919424-D774-D2FB-2823-CD2F0C22B4B8}"/>
          </ac:picMkLst>
        </pc:picChg>
        <pc:picChg chg="mod">
          <ac:chgData name="Hugo Liabeuf" userId="a9defb0f-a7f4-478c-b61b-a76d3d661b31" providerId="ADAL" clId="{ABD2F74A-712B-4083-A42A-5FB1F7D04898}" dt="2024-06-04T14:50:46.295" v="3377"/>
          <ac:picMkLst>
            <pc:docMk/>
            <pc:sldMk cId="2736534439" sldId="2147479826"/>
            <ac:picMk id="1284" creationId="{6FDAF58C-BB3A-ABE8-5D75-E46F96D073FF}"/>
          </ac:picMkLst>
        </pc:picChg>
        <pc:picChg chg="mod">
          <ac:chgData name="Hugo Liabeuf" userId="a9defb0f-a7f4-478c-b61b-a76d3d661b31" providerId="ADAL" clId="{ABD2F74A-712B-4083-A42A-5FB1F7D04898}" dt="2024-06-04T14:50:46.295" v="3377"/>
          <ac:picMkLst>
            <pc:docMk/>
            <pc:sldMk cId="2736534439" sldId="2147479826"/>
            <ac:picMk id="1285" creationId="{EDB6011C-0CCD-AF05-D6CF-15FE2C98FF33}"/>
          </ac:picMkLst>
        </pc:picChg>
        <pc:picChg chg="mod">
          <ac:chgData name="Hugo Liabeuf" userId="a9defb0f-a7f4-478c-b61b-a76d3d661b31" providerId="ADAL" clId="{ABD2F74A-712B-4083-A42A-5FB1F7D04898}" dt="2024-06-04T14:50:46.295" v="3377"/>
          <ac:picMkLst>
            <pc:docMk/>
            <pc:sldMk cId="2736534439" sldId="2147479826"/>
            <ac:picMk id="1286" creationId="{92043953-4BF3-0594-8A3D-97137E3AFE3E}"/>
          </ac:picMkLst>
        </pc:picChg>
        <pc:picChg chg="mod">
          <ac:chgData name="Hugo Liabeuf" userId="a9defb0f-a7f4-478c-b61b-a76d3d661b31" providerId="ADAL" clId="{ABD2F74A-712B-4083-A42A-5FB1F7D04898}" dt="2024-06-04T14:50:46.295" v="3377"/>
          <ac:picMkLst>
            <pc:docMk/>
            <pc:sldMk cId="2736534439" sldId="2147479826"/>
            <ac:picMk id="1287" creationId="{41A27880-2267-89B8-A738-8D9EE08F0EB5}"/>
          </ac:picMkLst>
        </pc:picChg>
        <pc:cxnChg chg="mod ord">
          <ac:chgData name="Hugo Liabeuf" userId="a9defb0f-a7f4-478c-b61b-a76d3d661b31" providerId="ADAL" clId="{ABD2F74A-712B-4083-A42A-5FB1F7D04898}" dt="2024-06-04T16:11:13.653" v="13111"/>
          <ac:cxnSpMkLst>
            <pc:docMk/>
            <pc:sldMk cId="2736534439" sldId="2147479826"/>
            <ac:cxnSpMk id="12" creationId="{81072F00-BC0C-46B9-0B59-502F52CEBD45}"/>
          </ac:cxnSpMkLst>
        </pc:cxnChg>
        <pc:cxnChg chg="mod ord">
          <ac:chgData name="Hugo Liabeuf" userId="a9defb0f-a7f4-478c-b61b-a76d3d661b31" providerId="ADAL" clId="{ABD2F74A-712B-4083-A42A-5FB1F7D04898}" dt="2024-06-04T16:11:13.661" v="13129"/>
          <ac:cxnSpMkLst>
            <pc:docMk/>
            <pc:sldMk cId="2736534439" sldId="2147479826"/>
            <ac:cxnSpMk id="1047" creationId="{9CDA7BF9-A02D-AE03-AA61-AE0D714DE112}"/>
          </ac:cxnSpMkLst>
        </pc:cxnChg>
        <pc:cxnChg chg="mod ord">
          <ac:chgData name="Hugo Liabeuf" userId="a9defb0f-a7f4-478c-b61b-a76d3d661b31" providerId="ADAL" clId="{ABD2F74A-712B-4083-A42A-5FB1F7D04898}" dt="2024-06-04T16:11:13.662" v="13131"/>
          <ac:cxnSpMkLst>
            <pc:docMk/>
            <pc:sldMk cId="2736534439" sldId="2147479826"/>
            <ac:cxnSpMk id="1049" creationId="{AE91CD30-2C63-604D-D7F1-6FC9BD68C220}"/>
          </ac:cxnSpMkLst>
        </pc:cxnChg>
        <pc:cxnChg chg="mod ord">
          <ac:chgData name="Hugo Liabeuf" userId="a9defb0f-a7f4-478c-b61b-a76d3d661b31" providerId="ADAL" clId="{ABD2F74A-712B-4083-A42A-5FB1F7D04898}" dt="2024-06-04T16:11:13.662" v="13133"/>
          <ac:cxnSpMkLst>
            <pc:docMk/>
            <pc:sldMk cId="2736534439" sldId="2147479826"/>
            <ac:cxnSpMk id="1050" creationId="{279D3466-03FE-FB3E-8975-874C701DAA88}"/>
          </ac:cxnSpMkLst>
        </pc:cxnChg>
        <pc:cxnChg chg="mod ord">
          <ac:chgData name="Hugo Liabeuf" userId="a9defb0f-a7f4-478c-b61b-a76d3d661b31" providerId="ADAL" clId="{ABD2F74A-712B-4083-A42A-5FB1F7D04898}" dt="2024-06-04T16:11:13.663" v="13135"/>
          <ac:cxnSpMkLst>
            <pc:docMk/>
            <pc:sldMk cId="2736534439" sldId="2147479826"/>
            <ac:cxnSpMk id="1051" creationId="{E6DCCB56-5239-B718-D50C-03DE6F0D76A9}"/>
          </ac:cxnSpMkLst>
        </pc:cxnChg>
        <pc:cxnChg chg="mod ord">
          <ac:chgData name="Hugo Liabeuf" userId="a9defb0f-a7f4-478c-b61b-a76d3d661b31" providerId="ADAL" clId="{ABD2F74A-712B-4083-A42A-5FB1F7D04898}" dt="2024-06-04T16:11:13.653" v="13113"/>
          <ac:cxnSpMkLst>
            <pc:docMk/>
            <pc:sldMk cId="2736534439" sldId="2147479826"/>
            <ac:cxnSpMk id="1230" creationId="{45651402-2189-E961-E899-98068631A178}"/>
          </ac:cxnSpMkLst>
        </pc:cxnChg>
        <pc:cxnChg chg="add mod ord replST">
          <ac:chgData name="Hugo Liabeuf" userId="a9defb0f-a7f4-478c-b61b-a76d3d661b31" providerId="ADAL" clId="{ABD2F74A-712B-4083-A42A-5FB1F7D04898}" dt="2024-06-04T16:11:13.633" v="13089"/>
          <ac:cxnSpMkLst>
            <pc:docMk/>
            <pc:sldMk cId="2736534439" sldId="2147479826"/>
            <ac:cxnSpMk id="1294" creationId="{FA996A7C-6E58-DBB6-6578-B4718DAD4BD5}"/>
          </ac:cxnSpMkLst>
        </pc:cxnChg>
        <pc:cxnChg chg="add mod ord replST">
          <ac:chgData name="Hugo Liabeuf" userId="a9defb0f-a7f4-478c-b61b-a76d3d661b31" providerId="ADAL" clId="{ABD2F74A-712B-4083-A42A-5FB1F7D04898}" dt="2024-06-04T16:11:13.633" v="13091"/>
          <ac:cxnSpMkLst>
            <pc:docMk/>
            <pc:sldMk cId="2736534439" sldId="2147479826"/>
            <ac:cxnSpMk id="1295" creationId="{2B98F2C2-C08F-D856-3E7E-117E166C8A0D}"/>
          </ac:cxnSpMkLst>
        </pc:cxnChg>
        <pc:cxnChg chg="add mod ord replST">
          <ac:chgData name="Hugo Liabeuf" userId="a9defb0f-a7f4-478c-b61b-a76d3d661b31" providerId="ADAL" clId="{ABD2F74A-712B-4083-A42A-5FB1F7D04898}" dt="2024-06-04T16:11:13.633" v="13093"/>
          <ac:cxnSpMkLst>
            <pc:docMk/>
            <pc:sldMk cId="2736534439" sldId="2147479826"/>
            <ac:cxnSpMk id="1296" creationId="{4AD4A605-D057-5953-70B4-8DE088E09EA4}"/>
          </ac:cxnSpMkLst>
        </pc:cxnChg>
        <pc:cxnChg chg="add mod ord replST">
          <ac:chgData name="Hugo Liabeuf" userId="a9defb0f-a7f4-478c-b61b-a76d3d661b31" providerId="ADAL" clId="{ABD2F74A-712B-4083-A42A-5FB1F7D04898}" dt="2024-06-04T16:11:13.633" v="13095"/>
          <ac:cxnSpMkLst>
            <pc:docMk/>
            <pc:sldMk cId="2736534439" sldId="2147479826"/>
            <ac:cxnSpMk id="1297" creationId="{B91CA9F9-4670-CBAC-AE02-39F04388B304}"/>
          </ac:cxnSpMkLst>
        </pc:cxnChg>
        <pc:cxnChg chg="add mod ord replST">
          <ac:chgData name="Hugo Liabeuf" userId="a9defb0f-a7f4-478c-b61b-a76d3d661b31" providerId="ADAL" clId="{ABD2F74A-712B-4083-A42A-5FB1F7D04898}" dt="2024-06-04T16:11:13.633" v="13097"/>
          <ac:cxnSpMkLst>
            <pc:docMk/>
            <pc:sldMk cId="2736534439" sldId="2147479826"/>
            <ac:cxnSpMk id="1298" creationId="{94064054-3E43-5B81-461D-0BD1B4CD43F4}"/>
          </ac:cxnSpMkLst>
        </pc:cxnChg>
        <pc:cxnChg chg="add mod ord replST">
          <ac:chgData name="Hugo Liabeuf" userId="a9defb0f-a7f4-478c-b61b-a76d3d661b31" providerId="ADAL" clId="{ABD2F74A-712B-4083-A42A-5FB1F7D04898}" dt="2024-06-04T16:11:13.633" v="13099"/>
          <ac:cxnSpMkLst>
            <pc:docMk/>
            <pc:sldMk cId="2736534439" sldId="2147479826"/>
            <ac:cxnSpMk id="1299" creationId="{9496A073-308B-080A-EDA2-E3F9CF6520BA}"/>
          </ac:cxnSpMkLst>
        </pc:cxnChg>
        <pc:cxnChg chg="add mod ord replST">
          <ac:chgData name="Hugo Liabeuf" userId="a9defb0f-a7f4-478c-b61b-a76d3d661b31" providerId="ADAL" clId="{ABD2F74A-712B-4083-A42A-5FB1F7D04898}" dt="2024-06-04T16:11:13.633" v="13101"/>
          <ac:cxnSpMkLst>
            <pc:docMk/>
            <pc:sldMk cId="2736534439" sldId="2147479826"/>
            <ac:cxnSpMk id="1300" creationId="{808CF285-66A2-D394-058C-8B0D40E17DDE}"/>
          </ac:cxnSpMkLst>
        </pc:cxnChg>
        <pc:cxnChg chg="add mod ord replST">
          <ac:chgData name="Hugo Liabeuf" userId="a9defb0f-a7f4-478c-b61b-a76d3d661b31" providerId="ADAL" clId="{ABD2F74A-712B-4083-A42A-5FB1F7D04898}" dt="2024-06-04T16:11:13.649" v="13103"/>
          <ac:cxnSpMkLst>
            <pc:docMk/>
            <pc:sldMk cId="2736534439" sldId="2147479826"/>
            <ac:cxnSpMk id="1301" creationId="{661D8A76-0FCC-91A5-B991-08A5DFABC041}"/>
          </ac:cxnSpMkLst>
        </pc:cxnChg>
        <pc:cxnChg chg="add mod ord replST">
          <ac:chgData name="Hugo Liabeuf" userId="a9defb0f-a7f4-478c-b61b-a76d3d661b31" providerId="ADAL" clId="{ABD2F74A-712B-4083-A42A-5FB1F7D04898}" dt="2024-06-04T16:11:13.650" v="13105"/>
          <ac:cxnSpMkLst>
            <pc:docMk/>
            <pc:sldMk cId="2736534439" sldId="2147479826"/>
            <ac:cxnSpMk id="1302" creationId="{157DEEF1-FB4F-936D-7F1F-DC5FF1742467}"/>
          </ac:cxnSpMkLst>
        </pc:cxnChg>
        <pc:cxnChg chg="add mod ord replST">
          <ac:chgData name="Hugo Liabeuf" userId="a9defb0f-a7f4-478c-b61b-a76d3d661b31" providerId="ADAL" clId="{ABD2F74A-712B-4083-A42A-5FB1F7D04898}" dt="2024-06-04T16:11:13.651" v="13107"/>
          <ac:cxnSpMkLst>
            <pc:docMk/>
            <pc:sldMk cId="2736534439" sldId="2147479826"/>
            <ac:cxnSpMk id="1303" creationId="{3FE4819C-B056-B8A5-E801-F8436DEAC98A}"/>
          </ac:cxnSpMkLst>
        </pc:cxnChg>
      </pc:sldChg>
      <pc:sldChg chg="addSp delSp modSp mod">
        <pc:chgData name="Hugo Liabeuf" userId="a9defb0f-a7f4-478c-b61b-a76d3d661b31" providerId="ADAL" clId="{ABD2F74A-712B-4083-A42A-5FB1F7D04898}" dt="2024-06-05T08:46:53.035" v="13345" actId="20577"/>
        <pc:sldMkLst>
          <pc:docMk/>
          <pc:sldMk cId="1153556450" sldId="2147480143"/>
        </pc:sldMkLst>
        <pc:spChg chg="mod">
          <ac:chgData name="Hugo Liabeuf" userId="a9defb0f-a7f4-478c-b61b-a76d3d661b31" providerId="ADAL" clId="{ABD2F74A-712B-4083-A42A-5FB1F7D04898}" dt="2024-06-04T14:56:16.622" v="3800" actId="948"/>
          <ac:spMkLst>
            <pc:docMk/>
            <pc:sldMk cId="1153556450" sldId="2147480143"/>
            <ac:spMk id="2" creationId="{A0202E07-7AD3-6406-6544-06958D58BB75}"/>
          </ac:spMkLst>
        </pc:spChg>
        <pc:spChg chg="mod">
          <ac:chgData name="Hugo Liabeuf" userId="a9defb0f-a7f4-478c-b61b-a76d3d661b31" providerId="ADAL" clId="{ABD2F74A-712B-4083-A42A-5FB1F7D04898}" dt="2024-06-04T14:56:13.134" v="3783"/>
          <ac:spMkLst>
            <pc:docMk/>
            <pc:sldMk cId="1153556450" sldId="2147480143"/>
            <ac:spMk id="13" creationId="{370EE22B-BA00-D2A6-06F4-B903A467BFBC}"/>
          </ac:spMkLst>
        </pc:spChg>
        <pc:spChg chg="mod">
          <ac:chgData name="Hugo Liabeuf" userId="a9defb0f-a7f4-478c-b61b-a76d3d661b31" providerId="ADAL" clId="{ABD2F74A-712B-4083-A42A-5FB1F7D04898}" dt="2024-06-04T14:56:13.134" v="3783"/>
          <ac:spMkLst>
            <pc:docMk/>
            <pc:sldMk cId="1153556450" sldId="2147480143"/>
            <ac:spMk id="24" creationId="{7D4BE4A1-152A-D56D-CDDE-B613D9F5920F}"/>
          </ac:spMkLst>
        </pc:spChg>
        <pc:spChg chg="mod">
          <ac:chgData name="Hugo Liabeuf" userId="a9defb0f-a7f4-478c-b61b-a76d3d661b31" providerId="ADAL" clId="{ABD2F74A-712B-4083-A42A-5FB1F7D04898}" dt="2024-06-04T14:56:13.134" v="3783"/>
          <ac:spMkLst>
            <pc:docMk/>
            <pc:sldMk cId="1153556450" sldId="2147480143"/>
            <ac:spMk id="29" creationId="{87281674-1672-69AF-841E-79CC97B46049}"/>
          </ac:spMkLst>
        </pc:spChg>
        <pc:spChg chg="mod">
          <ac:chgData name="Hugo Liabeuf" userId="a9defb0f-a7f4-478c-b61b-a76d3d661b31" providerId="ADAL" clId="{ABD2F74A-712B-4083-A42A-5FB1F7D04898}" dt="2024-06-04T14:56:13.134" v="3783"/>
          <ac:spMkLst>
            <pc:docMk/>
            <pc:sldMk cId="1153556450" sldId="2147480143"/>
            <ac:spMk id="31" creationId="{A3066DEC-F09B-7B50-C18C-0CBC61F0F0FA}"/>
          </ac:spMkLst>
        </pc:spChg>
        <pc:spChg chg="mod">
          <ac:chgData name="Hugo Liabeuf" userId="a9defb0f-a7f4-478c-b61b-a76d3d661b31" providerId="ADAL" clId="{ABD2F74A-712B-4083-A42A-5FB1F7D04898}" dt="2024-06-04T14:56:16.600" v="3785"/>
          <ac:spMkLst>
            <pc:docMk/>
            <pc:sldMk cId="1153556450" sldId="2147480143"/>
            <ac:spMk id="48" creationId="{8FE43DC2-C70E-FCAD-FD60-086A914D5E2A}"/>
          </ac:spMkLst>
        </pc:spChg>
        <pc:spChg chg="mod">
          <ac:chgData name="Hugo Liabeuf" userId="a9defb0f-a7f4-478c-b61b-a76d3d661b31" providerId="ADAL" clId="{ABD2F74A-712B-4083-A42A-5FB1F7D04898}" dt="2024-06-04T14:56:16.602" v="3786"/>
          <ac:spMkLst>
            <pc:docMk/>
            <pc:sldMk cId="1153556450" sldId="2147480143"/>
            <ac:spMk id="49" creationId="{E1AD01FE-B5D3-67AA-A88E-4C6D335E80BE}"/>
          </ac:spMkLst>
        </pc:spChg>
        <pc:spChg chg="mod">
          <ac:chgData name="Hugo Liabeuf" userId="a9defb0f-a7f4-478c-b61b-a76d3d661b31" providerId="ADAL" clId="{ABD2F74A-712B-4083-A42A-5FB1F7D04898}" dt="2024-06-04T14:56:16.602" v="3787"/>
          <ac:spMkLst>
            <pc:docMk/>
            <pc:sldMk cId="1153556450" sldId="2147480143"/>
            <ac:spMk id="50" creationId="{F4CEF5C0-FC06-9674-FBC0-5AF873119DE8}"/>
          </ac:spMkLst>
        </pc:spChg>
        <pc:spChg chg="mod">
          <ac:chgData name="Hugo Liabeuf" userId="a9defb0f-a7f4-478c-b61b-a76d3d661b31" providerId="ADAL" clId="{ABD2F74A-712B-4083-A42A-5FB1F7D04898}" dt="2024-06-04T14:56:16.602" v="3788"/>
          <ac:spMkLst>
            <pc:docMk/>
            <pc:sldMk cId="1153556450" sldId="2147480143"/>
            <ac:spMk id="51" creationId="{412200A4-5741-F05C-B967-D920A7334F57}"/>
          </ac:spMkLst>
        </pc:spChg>
        <pc:spChg chg="mod">
          <ac:chgData name="Hugo Liabeuf" userId="a9defb0f-a7f4-478c-b61b-a76d3d661b31" providerId="ADAL" clId="{ABD2F74A-712B-4083-A42A-5FB1F7D04898}" dt="2024-06-04T14:56:16.602" v="3789"/>
          <ac:spMkLst>
            <pc:docMk/>
            <pc:sldMk cId="1153556450" sldId="2147480143"/>
            <ac:spMk id="52" creationId="{2690B1E7-E94B-F1BD-439A-E378603E8384}"/>
          </ac:spMkLst>
        </pc:spChg>
        <pc:spChg chg="mod">
          <ac:chgData name="Hugo Liabeuf" userId="a9defb0f-a7f4-478c-b61b-a76d3d661b31" providerId="ADAL" clId="{ABD2F74A-712B-4083-A42A-5FB1F7D04898}" dt="2024-06-04T14:56:16.602" v="3790"/>
          <ac:spMkLst>
            <pc:docMk/>
            <pc:sldMk cId="1153556450" sldId="2147480143"/>
            <ac:spMk id="53" creationId="{813D7007-FD1C-98AC-ECA8-6B067D0E045F}"/>
          </ac:spMkLst>
        </pc:spChg>
        <pc:spChg chg="mod">
          <ac:chgData name="Hugo Liabeuf" userId="a9defb0f-a7f4-478c-b61b-a76d3d661b31" providerId="ADAL" clId="{ABD2F74A-712B-4083-A42A-5FB1F7D04898}" dt="2024-06-04T14:56:16.602" v="3791"/>
          <ac:spMkLst>
            <pc:docMk/>
            <pc:sldMk cId="1153556450" sldId="2147480143"/>
            <ac:spMk id="54" creationId="{56CF9D07-779C-AA4D-E0F8-C38D88669E45}"/>
          </ac:spMkLst>
        </pc:spChg>
        <pc:spChg chg="mod">
          <ac:chgData name="Hugo Liabeuf" userId="a9defb0f-a7f4-478c-b61b-a76d3d661b31" providerId="ADAL" clId="{ABD2F74A-712B-4083-A42A-5FB1F7D04898}" dt="2024-06-04T14:56:16.602" v="3792"/>
          <ac:spMkLst>
            <pc:docMk/>
            <pc:sldMk cId="1153556450" sldId="2147480143"/>
            <ac:spMk id="55" creationId="{64FE75C3-5700-229E-0C37-0B93D0F8B23A}"/>
          </ac:spMkLst>
        </pc:spChg>
        <pc:spChg chg="mod">
          <ac:chgData name="Hugo Liabeuf" userId="a9defb0f-a7f4-478c-b61b-a76d3d661b31" providerId="ADAL" clId="{ABD2F74A-712B-4083-A42A-5FB1F7D04898}" dt="2024-06-04T14:56:13.134" v="3783"/>
          <ac:spMkLst>
            <pc:docMk/>
            <pc:sldMk cId="1153556450" sldId="2147480143"/>
            <ac:spMk id="61" creationId="{D1030CA0-3942-E047-182B-ECB22BF5712D}"/>
          </ac:spMkLst>
        </pc:spChg>
        <pc:spChg chg="add del mod modVis">
          <ac:chgData name="Hugo Liabeuf" userId="a9defb0f-a7f4-478c-b61b-a76d3d661b31" providerId="ADAL" clId="{ABD2F74A-712B-4083-A42A-5FB1F7D04898}" dt="2024-06-04T14:56:16.674" v="3824"/>
          <ac:spMkLst>
            <pc:docMk/>
            <pc:sldMk cId="1153556450" sldId="2147480143"/>
            <ac:spMk id="62" creationId="{F1897058-F27B-9529-0542-BAF153A2EC29}"/>
          </ac:spMkLst>
        </pc:spChg>
        <pc:spChg chg="add mod">
          <ac:chgData name="Hugo Liabeuf" userId="a9defb0f-a7f4-478c-b61b-a76d3d661b31" providerId="ADAL" clId="{ABD2F74A-712B-4083-A42A-5FB1F7D04898}" dt="2024-06-05T08:46:53.035" v="13345" actId="20577"/>
          <ac:spMkLst>
            <pc:docMk/>
            <pc:sldMk cId="1153556450" sldId="2147480143"/>
            <ac:spMk id="63" creationId="{0150362D-AEF5-ABDA-95DE-2FEF3D5694FE}"/>
          </ac:spMkLst>
        </pc:spChg>
        <pc:spChg chg="mod">
          <ac:chgData name="Hugo Liabeuf" userId="a9defb0f-a7f4-478c-b61b-a76d3d661b31" providerId="ADAL" clId="{ABD2F74A-712B-4083-A42A-5FB1F7D04898}" dt="2024-06-04T14:56:16.612" v="3793"/>
          <ac:spMkLst>
            <pc:docMk/>
            <pc:sldMk cId="1153556450" sldId="2147480143"/>
            <ac:spMk id="80" creationId="{B926D567-524F-4499-A030-E098F89DCD34}"/>
          </ac:spMkLst>
        </pc:spChg>
        <pc:spChg chg="mod">
          <ac:chgData name="Hugo Liabeuf" userId="a9defb0f-a7f4-478c-b61b-a76d3d661b31" providerId="ADAL" clId="{ABD2F74A-712B-4083-A42A-5FB1F7D04898}" dt="2024-06-04T14:56:16.613" v="3794"/>
          <ac:spMkLst>
            <pc:docMk/>
            <pc:sldMk cId="1153556450" sldId="2147480143"/>
            <ac:spMk id="81" creationId="{B926D567-524F-4499-A030-E098F89DCD34}"/>
          </ac:spMkLst>
        </pc:spChg>
        <pc:spChg chg="mod">
          <ac:chgData name="Hugo Liabeuf" userId="a9defb0f-a7f4-478c-b61b-a76d3d661b31" providerId="ADAL" clId="{ABD2F74A-712B-4083-A42A-5FB1F7D04898}" dt="2024-06-04T14:56:16.613" v="3795"/>
          <ac:spMkLst>
            <pc:docMk/>
            <pc:sldMk cId="1153556450" sldId="2147480143"/>
            <ac:spMk id="122" creationId="{DFE32733-D830-B15D-9A44-FBF22A02B911}"/>
          </ac:spMkLst>
        </pc:spChg>
        <pc:spChg chg="mod">
          <ac:chgData name="Hugo Liabeuf" userId="a9defb0f-a7f4-478c-b61b-a76d3d661b31" providerId="ADAL" clId="{ABD2F74A-712B-4083-A42A-5FB1F7D04898}" dt="2024-06-04T14:56:16.613" v="3796"/>
          <ac:spMkLst>
            <pc:docMk/>
            <pc:sldMk cId="1153556450" sldId="2147480143"/>
            <ac:spMk id="123" creationId="{7567AA88-0E1E-1F39-DB40-A52F05C4FDFA}"/>
          </ac:spMkLst>
        </pc:spChg>
        <pc:spChg chg="mod">
          <ac:chgData name="Hugo Liabeuf" userId="a9defb0f-a7f4-478c-b61b-a76d3d661b31" providerId="ADAL" clId="{ABD2F74A-712B-4083-A42A-5FB1F7D04898}" dt="2024-06-04T14:56:16.613" v="3797"/>
          <ac:spMkLst>
            <pc:docMk/>
            <pc:sldMk cId="1153556450" sldId="2147480143"/>
            <ac:spMk id="124" creationId="{03E860CA-B12E-9929-4122-B3509C43B555}"/>
          </ac:spMkLst>
        </pc:spChg>
        <pc:spChg chg="mod">
          <ac:chgData name="Hugo Liabeuf" userId="a9defb0f-a7f4-478c-b61b-a76d3d661b31" providerId="ADAL" clId="{ABD2F74A-712B-4083-A42A-5FB1F7D04898}" dt="2024-06-04T14:56:16.613" v="3798"/>
          <ac:spMkLst>
            <pc:docMk/>
            <pc:sldMk cId="1153556450" sldId="2147480143"/>
            <ac:spMk id="125" creationId="{EC193128-C20D-43E7-8AF0-DBB8FFC439D6}"/>
          </ac:spMkLst>
        </pc:spChg>
        <pc:spChg chg="mod">
          <ac:chgData name="Hugo Liabeuf" userId="a9defb0f-a7f4-478c-b61b-a76d3d661b31" providerId="ADAL" clId="{ABD2F74A-712B-4083-A42A-5FB1F7D04898}" dt="2024-06-04T14:56:16.617" v="3799"/>
          <ac:spMkLst>
            <pc:docMk/>
            <pc:sldMk cId="1153556450" sldId="2147480143"/>
            <ac:spMk id="126" creationId="{1FBB220E-65FA-3A3B-3AC3-E7A7129A2B2B}"/>
          </ac:spMkLst>
        </pc:spChg>
        <pc:grpChg chg="add mod">
          <ac:chgData name="Hugo Liabeuf" userId="a9defb0f-a7f4-478c-b61b-a76d3d661b31" providerId="ADAL" clId="{ABD2F74A-712B-4083-A42A-5FB1F7D04898}" dt="2024-06-04T14:56:13.134" v="3783"/>
          <ac:grpSpMkLst>
            <pc:docMk/>
            <pc:sldMk cId="1153556450" sldId="2147480143"/>
            <ac:grpSpMk id="12" creationId="{214B2679-7367-ED93-41F8-265366F382F8}"/>
          </ac:grpSpMkLst>
        </pc:grpChg>
        <pc:grpChg chg="mod">
          <ac:chgData name="Hugo Liabeuf" userId="a9defb0f-a7f4-478c-b61b-a76d3d661b31" providerId="ADAL" clId="{ABD2F74A-712B-4083-A42A-5FB1F7D04898}" dt="2024-06-04T14:56:13.134" v="3783"/>
          <ac:grpSpMkLst>
            <pc:docMk/>
            <pc:sldMk cId="1153556450" sldId="2147480143"/>
            <ac:grpSpMk id="19" creationId="{B90A94A2-F30C-12F6-6A48-F78111B032B3}"/>
          </ac:grpSpMkLst>
        </pc:grpChg>
        <pc:grpChg chg="mod">
          <ac:chgData name="Hugo Liabeuf" userId="a9defb0f-a7f4-478c-b61b-a76d3d661b31" providerId="ADAL" clId="{ABD2F74A-712B-4083-A42A-5FB1F7D04898}" dt="2024-06-04T14:56:13.134" v="3783"/>
          <ac:grpSpMkLst>
            <pc:docMk/>
            <pc:sldMk cId="1153556450" sldId="2147480143"/>
            <ac:grpSpMk id="20" creationId="{7C1609A5-4A19-13A8-6225-7F8120C1B9BF}"/>
          </ac:grpSpMkLst>
        </pc:grpChg>
        <pc:grpChg chg="mod">
          <ac:chgData name="Hugo Liabeuf" userId="a9defb0f-a7f4-478c-b61b-a76d3d661b31" providerId="ADAL" clId="{ABD2F74A-712B-4083-A42A-5FB1F7D04898}" dt="2024-06-04T14:56:13.134" v="3783"/>
          <ac:grpSpMkLst>
            <pc:docMk/>
            <pc:sldMk cId="1153556450" sldId="2147480143"/>
            <ac:grpSpMk id="21" creationId="{67E1ED6B-D5EC-9E06-8248-32119B4774C3}"/>
          </ac:grpSpMkLst>
        </pc:grpChg>
        <pc:grpChg chg="mod">
          <ac:chgData name="Hugo Liabeuf" userId="a9defb0f-a7f4-478c-b61b-a76d3d661b31" providerId="ADAL" clId="{ABD2F74A-712B-4083-A42A-5FB1F7D04898}" dt="2024-06-04T14:56:13.134" v="3783"/>
          <ac:grpSpMkLst>
            <pc:docMk/>
            <pc:sldMk cId="1153556450" sldId="2147480143"/>
            <ac:grpSpMk id="22" creationId="{FCAD2A09-8A2C-DEF5-E72D-E8E67F38AC0A}"/>
          </ac:grpSpMkLst>
        </pc:grpChg>
        <pc:graphicFrameChg chg="mod">
          <ac:chgData name="Hugo Liabeuf" userId="a9defb0f-a7f4-478c-b61b-a76d3d661b31" providerId="ADAL" clId="{ABD2F74A-712B-4083-A42A-5FB1F7D04898}" dt="2024-06-04T14:56:16.734" v="3826"/>
          <ac:graphicFrameMkLst>
            <pc:docMk/>
            <pc:sldMk cId="1153556450" sldId="2147480143"/>
            <ac:graphicFrameMk id="6" creationId="{C5C65ED4-0F2A-B043-E93D-0AB087D0CE07}"/>
          </ac:graphicFrameMkLst>
        </pc:graphicFrameChg>
        <pc:picChg chg="mod">
          <ac:chgData name="Hugo Liabeuf" userId="a9defb0f-a7f4-478c-b61b-a76d3d661b31" providerId="ADAL" clId="{ABD2F74A-712B-4083-A42A-5FB1F7D04898}" dt="2024-06-04T14:56:13.134" v="3783"/>
          <ac:picMkLst>
            <pc:docMk/>
            <pc:sldMk cId="1153556450" sldId="2147480143"/>
            <ac:picMk id="23" creationId="{55D3FD0B-0D8B-146E-B7B0-9880C23C6430}"/>
          </ac:picMkLst>
        </pc:picChg>
        <pc:picChg chg="mod">
          <ac:chgData name="Hugo Liabeuf" userId="a9defb0f-a7f4-478c-b61b-a76d3d661b31" providerId="ADAL" clId="{ABD2F74A-712B-4083-A42A-5FB1F7D04898}" dt="2024-06-04T14:56:13.134" v="3783"/>
          <ac:picMkLst>
            <pc:docMk/>
            <pc:sldMk cId="1153556450" sldId="2147480143"/>
            <ac:picMk id="25" creationId="{B9F0DB43-0B57-2F01-576B-65906459E70A}"/>
          </ac:picMkLst>
        </pc:picChg>
        <pc:picChg chg="mod">
          <ac:chgData name="Hugo Liabeuf" userId="a9defb0f-a7f4-478c-b61b-a76d3d661b31" providerId="ADAL" clId="{ABD2F74A-712B-4083-A42A-5FB1F7D04898}" dt="2024-06-04T14:56:13.134" v="3783"/>
          <ac:picMkLst>
            <pc:docMk/>
            <pc:sldMk cId="1153556450" sldId="2147480143"/>
            <ac:picMk id="26" creationId="{7A1BFB07-543C-AA88-633F-DC4DFAB45162}"/>
          </ac:picMkLst>
        </pc:picChg>
        <pc:picChg chg="mod">
          <ac:chgData name="Hugo Liabeuf" userId="a9defb0f-a7f4-478c-b61b-a76d3d661b31" providerId="ADAL" clId="{ABD2F74A-712B-4083-A42A-5FB1F7D04898}" dt="2024-06-04T14:56:13.134" v="3783"/>
          <ac:picMkLst>
            <pc:docMk/>
            <pc:sldMk cId="1153556450" sldId="2147480143"/>
            <ac:picMk id="28" creationId="{970FABA0-F959-7FC1-88A7-DE8E68BCBEF6}"/>
          </ac:picMkLst>
        </pc:picChg>
        <pc:picChg chg="mod">
          <ac:chgData name="Hugo Liabeuf" userId="a9defb0f-a7f4-478c-b61b-a76d3d661b31" providerId="ADAL" clId="{ABD2F74A-712B-4083-A42A-5FB1F7D04898}" dt="2024-06-04T14:56:13.134" v="3783"/>
          <ac:picMkLst>
            <pc:docMk/>
            <pc:sldMk cId="1153556450" sldId="2147480143"/>
            <ac:picMk id="30" creationId="{89169722-96FB-0173-1F1D-E356C5CE021A}"/>
          </ac:picMkLst>
        </pc:picChg>
        <pc:picChg chg="mod">
          <ac:chgData name="Hugo Liabeuf" userId="a9defb0f-a7f4-478c-b61b-a76d3d661b31" providerId="ADAL" clId="{ABD2F74A-712B-4083-A42A-5FB1F7D04898}" dt="2024-06-04T14:56:13.134" v="3783"/>
          <ac:picMkLst>
            <pc:docMk/>
            <pc:sldMk cId="1153556450" sldId="2147480143"/>
            <ac:picMk id="32" creationId="{2918166A-8111-12A0-7016-04CC99D843CA}"/>
          </ac:picMkLst>
        </pc:picChg>
        <pc:picChg chg="mod">
          <ac:chgData name="Hugo Liabeuf" userId="a9defb0f-a7f4-478c-b61b-a76d3d661b31" providerId="ADAL" clId="{ABD2F74A-712B-4083-A42A-5FB1F7D04898}" dt="2024-06-04T14:56:13.134" v="3783"/>
          <ac:picMkLst>
            <pc:docMk/>
            <pc:sldMk cId="1153556450" sldId="2147480143"/>
            <ac:picMk id="33" creationId="{5DCAAB06-BEA1-7B1C-1E57-EA2ABD4CD935}"/>
          </ac:picMkLst>
        </pc:picChg>
        <pc:picChg chg="mod">
          <ac:chgData name="Hugo Liabeuf" userId="a9defb0f-a7f4-478c-b61b-a76d3d661b31" providerId="ADAL" clId="{ABD2F74A-712B-4083-A42A-5FB1F7D04898}" dt="2024-06-04T14:56:13.134" v="3783"/>
          <ac:picMkLst>
            <pc:docMk/>
            <pc:sldMk cId="1153556450" sldId="2147480143"/>
            <ac:picMk id="34" creationId="{89F0337A-9588-98D6-6C2F-8893FAA9B36F}"/>
          </ac:picMkLst>
        </pc:picChg>
        <pc:picChg chg="mod">
          <ac:chgData name="Hugo Liabeuf" userId="a9defb0f-a7f4-478c-b61b-a76d3d661b31" providerId="ADAL" clId="{ABD2F74A-712B-4083-A42A-5FB1F7D04898}" dt="2024-06-04T14:56:13.134" v="3783"/>
          <ac:picMkLst>
            <pc:docMk/>
            <pc:sldMk cId="1153556450" sldId="2147480143"/>
            <ac:picMk id="35" creationId="{E38FD5F6-F4A5-BF64-FDAB-B865029F10EC}"/>
          </ac:picMkLst>
        </pc:picChg>
        <pc:picChg chg="mod">
          <ac:chgData name="Hugo Liabeuf" userId="a9defb0f-a7f4-478c-b61b-a76d3d661b31" providerId="ADAL" clId="{ABD2F74A-712B-4083-A42A-5FB1F7D04898}" dt="2024-06-04T14:56:13.134" v="3783"/>
          <ac:picMkLst>
            <pc:docMk/>
            <pc:sldMk cId="1153556450" sldId="2147480143"/>
            <ac:picMk id="36" creationId="{5A378188-A08D-2B77-4A5C-180F88CBC416}"/>
          </ac:picMkLst>
        </pc:picChg>
        <pc:picChg chg="mod">
          <ac:chgData name="Hugo Liabeuf" userId="a9defb0f-a7f4-478c-b61b-a76d3d661b31" providerId="ADAL" clId="{ABD2F74A-712B-4083-A42A-5FB1F7D04898}" dt="2024-06-04T14:56:13.134" v="3783"/>
          <ac:picMkLst>
            <pc:docMk/>
            <pc:sldMk cId="1153556450" sldId="2147480143"/>
            <ac:picMk id="37" creationId="{B4A94B1A-0E45-2DFB-0DA6-89CD29EF4647}"/>
          </ac:picMkLst>
        </pc:picChg>
        <pc:picChg chg="mod">
          <ac:chgData name="Hugo Liabeuf" userId="a9defb0f-a7f4-478c-b61b-a76d3d661b31" providerId="ADAL" clId="{ABD2F74A-712B-4083-A42A-5FB1F7D04898}" dt="2024-06-04T14:56:13.134" v="3783"/>
          <ac:picMkLst>
            <pc:docMk/>
            <pc:sldMk cId="1153556450" sldId="2147480143"/>
            <ac:picMk id="45" creationId="{A7D09683-6A61-6D1F-BD78-F04200B1EFF7}"/>
          </ac:picMkLst>
        </pc:picChg>
        <pc:picChg chg="mod">
          <ac:chgData name="Hugo Liabeuf" userId="a9defb0f-a7f4-478c-b61b-a76d3d661b31" providerId="ADAL" clId="{ABD2F74A-712B-4083-A42A-5FB1F7D04898}" dt="2024-06-04T14:56:13.134" v="3783"/>
          <ac:picMkLst>
            <pc:docMk/>
            <pc:sldMk cId="1153556450" sldId="2147480143"/>
            <ac:picMk id="58" creationId="{504C4D40-8FB2-6F1C-8796-20E3DDC925F5}"/>
          </ac:picMkLst>
        </pc:picChg>
        <pc:picChg chg="mod">
          <ac:chgData name="Hugo Liabeuf" userId="a9defb0f-a7f4-478c-b61b-a76d3d661b31" providerId="ADAL" clId="{ABD2F74A-712B-4083-A42A-5FB1F7D04898}" dt="2024-06-04T14:56:13.134" v="3783"/>
          <ac:picMkLst>
            <pc:docMk/>
            <pc:sldMk cId="1153556450" sldId="2147480143"/>
            <ac:picMk id="59" creationId="{12EAD374-5405-4459-B97D-373236EC0249}"/>
          </ac:picMkLst>
        </pc:picChg>
        <pc:picChg chg="mod">
          <ac:chgData name="Hugo Liabeuf" userId="a9defb0f-a7f4-478c-b61b-a76d3d661b31" providerId="ADAL" clId="{ABD2F74A-712B-4083-A42A-5FB1F7D04898}" dt="2024-06-04T14:56:13.134" v="3783"/>
          <ac:picMkLst>
            <pc:docMk/>
            <pc:sldMk cId="1153556450" sldId="2147480143"/>
            <ac:picMk id="60" creationId="{E62F7015-7027-DA91-C88F-6D8B1ECD73DD}"/>
          </ac:picMkLst>
        </pc:picChg>
      </pc:sldChg>
      <pc:sldChg chg="addSp delSp modSp mod">
        <pc:chgData name="Hugo Liabeuf" userId="a9defb0f-a7f4-478c-b61b-a76d3d661b31" providerId="ADAL" clId="{ABD2F74A-712B-4083-A42A-5FB1F7D04898}" dt="2024-06-04T14:57:58.994" v="3900" actId="1076"/>
        <pc:sldMkLst>
          <pc:docMk/>
          <pc:sldMk cId="383467937" sldId="2147480152"/>
        </pc:sldMkLst>
        <pc:spChg chg="mod">
          <ac:chgData name="Hugo Liabeuf" userId="a9defb0f-a7f4-478c-b61b-a76d3d661b31" providerId="ADAL" clId="{ABD2F74A-712B-4083-A42A-5FB1F7D04898}" dt="2024-06-04T14:57:21.685" v="3864" actId="948"/>
          <ac:spMkLst>
            <pc:docMk/>
            <pc:sldMk cId="383467937" sldId="2147480152"/>
            <ac:spMk id="2" creationId="{187822AD-8F73-BF4F-8BB6-579DAFEB4789}"/>
          </ac:spMkLst>
        </pc:spChg>
        <pc:spChg chg="mod">
          <ac:chgData name="Hugo Liabeuf" userId="a9defb0f-a7f4-478c-b61b-a76d3d661b31" providerId="ADAL" clId="{ABD2F74A-712B-4083-A42A-5FB1F7D04898}" dt="2024-06-04T14:56:57.878" v="3829"/>
          <ac:spMkLst>
            <pc:docMk/>
            <pc:sldMk cId="383467937" sldId="2147480152"/>
            <ac:spMk id="52" creationId="{86F2B8E5-E063-37D6-FDD9-91D413699145}"/>
          </ac:spMkLst>
        </pc:spChg>
        <pc:spChg chg="mod">
          <ac:chgData name="Hugo Liabeuf" userId="a9defb0f-a7f4-478c-b61b-a76d3d661b31" providerId="ADAL" clId="{ABD2F74A-712B-4083-A42A-5FB1F7D04898}" dt="2024-06-04T14:56:57.878" v="3829"/>
          <ac:spMkLst>
            <pc:docMk/>
            <pc:sldMk cId="383467937" sldId="2147480152"/>
            <ac:spMk id="57" creationId="{F8960518-3F02-B1E9-99CC-DBEBA3D84983}"/>
          </ac:spMkLst>
        </pc:spChg>
        <pc:spChg chg="mod">
          <ac:chgData name="Hugo Liabeuf" userId="a9defb0f-a7f4-478c-b61b-a76d3d661b31" providerId="ADAL" clId="{ABD2F74A-712B-4083-A42A-5FB1F7D04898}" dt="2024-06-04T14:56:57.878" v="3829"/>
          <ac:spMkLst>
            <pc:docMk/>
            <pc:sldMk cId="383467937" sldId="2147480152"/>
            <ac:spMk id="59" creationId="{BDD828D6-B35F-92E6-3BD4-1004765E553D}"/>
          </ac:spMkLst>
        </pc:spChg>
        <pc:spChg chg="mod">
          <ac:chgData name="Hugo Liabeuf" userId="a9defb0f-a7f4-478c-b61b-a76d3d661b31" providerId="ADAL" clId="{ABD2F74A-712B-4083-A42A-5FB1F7D04898}" dt="2024-06-04T14:57:03.010" v="3830"/>
          <ac:spMkLst>
            <pc:docMk/>
            <pc:sldMk cId="383467937" sldId="2147480152"/>
            <ac:spMk id="61" creationId="{3C55ED9C-2088-64E3-AA6E-90553DE80C54}"/>
          </ac:spMkLst>
        </pc:spChg>
        <pc:spChg chg="mod">
          <ac:chgData name="Hugo Liabeuf" userId="a9defb0f-a7f4-478c-b61b-a76d3d661b31" providerId="ADAL" clId="{ABD2F74A-712B-4083-A42A-5FB1F7D04898}" dt="2024-06-04T14:57:03.010" v="3830"/>
          <ac:spMkLst>
            <pc:docMk/>
            <pc:sldMk cId="383467937" sldId="2147480152"/>
            <ac:spMk id="67" creationId="{433A8299-5DCA-8309-5E42-A6149991EB3B}"/>
          </ac:spMkLst>
        </pc:spChg>
        <pc:spChg chg="mod">
          <ac:chgData name="Hugo Liabeuf" userId="a9defb0f-a7f4-478c-b61b-a76d3d661b31" providerId="ADAL" clId="{ABD2F74A-712B-4083-A42A-5FB1F7D04898}" dt="2024-06-04T14:57:03.010" v="3830"/>
          <ac:spMkLst>
            <pc:docMk/>
            <pc:sldMk cId="383467937" sldId="2147480152"/>
            <ac:spMk id="71" creationId="{C036D7AF-6BF5-77A1-901E-BD5F6869C859}"/>
          </ac:spMkLst>
        </pc:spChg>
        <pc:spChg chg="mod">
          <ac:chgData name="Hugo Liabeuf" userId="a9defb0f-a7f4-478c-b61b-a76d3d661b31" providerId="ADAL" clId="{ABD2F74A-712B-4083-A42A-5FB1F7D04898}" dt="2024-06-04T14:57:03.010" v="3830"/>
          <ac:spMkLst>
            <pc:docMk/>
            <pc:sldMk cId="383467937" sldId="2147480152"/>
            <ac:spMk id="73" creationId="{EB26A24A-697A-6563-96D4-752451E8E9E7}"/>
          </ac:spMkLst>
        </pc:spChg>
        <pc:spChg chg="mod">
          <ac:chgData name="Hugo Liabeuf" userId="a9defb0f-a7f4-478c-b61b-a76d3d661b31" providerId="ADAL" clId="{ABD2F74A-712B-4083-A42A-5FB1F7D04898}" dt="2024-06-04T14:57:03.010" v="3830"/>
          <ac:spMkLst>
            <pc:docMk/>
            <pc:sldMk cId="383467937" sldId="2147480152"/>
            <ac:spMk id="84" creationId="{DBE62C4C-DC2A-81FB-20F3-CBE1613DB159}"/>
          </ac:spMkLst>
        </pc:spChg>
        <pc:spChg chg="add del mod modVis">
          <ac:chgData name="Hugo Liabeuf" userId="a9defb0f-a7f4-478c-b61b-a76d3d661b31" providerId="ADAL" clId="{ABD2F74A-712B-4083-A42A-5FB1F7D04898}" dt="2024-06-04T14:57:12.551" v="3860"/>
          <ac:spMkLst>
            <pc:docMk/>
            <pc:sldMk cId="383467937" sldId="2147480152"/>
            <ac:spMk id="85" creationId="{4C3E83C4-7C87-0979-B6DD-9FEE766E1342}"/>
          </ac:spMkLst>
        </pc:spChg>
        <pc:spChg chg="add del mod modVis">
          <ac:chgData name="Hugo Liabeuf" userId="a9defb0f-a7f4-478c-b61b-a76d3d661b31" providerId="ADAL" clId="{ABD2F74A-712B-4083-A42A-5FB1F7D04898}" dt="2024-06-04T14:57:21.760" v="3888"/>
          <ac:spMkLst>
            <pc:docMk/>
            <pc:sldMk cId="383467937" sldId="2147480152"/>
            <ac:spMk id="86" creationId="{487D8C02-214D-6504-6C40-42F409C25CD7}"/>
          </ac:spMkLst>
        </pc:spChg>
        <pc:grpChg chg="add mod">
          <ac:chgData name="Hugo Liabeuf" userId="a9defb0f-a7f4-478c-b61b-a76d3d661b31" providerId="ADAL" clId="{ABD2F74A-712B-4083-A42A-5FB1F7D04898}" dt="2024-06-04T14:57:58.994" v="3900" actId="1076"/>
          <ac:grpSpMkLst>
            <pc:docMk/>
            <pc:sldMk cId="383467937" sldId="2147480152"/>
            <ac:grpSpMk id="51" creationId="{3DA62555-F831-48E7-6E4C-014AFE8296A9}"/>
          </ac:grpSpMkLst>
        </pc:grpChg>
        <pc:grpChg chg="mod">
          <ac:chgData name="Hugo Liabeuf" userId="a9defb0f-a7f4-478c-b61b-a76d3d661b31" providerId="ADAL" clId="{ABD2F74A-712B-4083-A42A-5FB1F7D04898}" dt="2024-06-04T14:56:57.878" v="3829"/>
          <ac:grpSpMkLst>
            <pc:docMk/>
            <pc:sldMk cId="383467937" sldId="2147480152"/>
            <ac:grpSpMk id="56" creationId="{841F2A99-E562-513A-4B8E-15241A79C7CD}"/>
          </ac:grpSpMkLst>
        </pc:grpChg>
        <pc:grpChg chg="add mod">
          <ac:chgData name="Hugo Liabeuf" userId="a9defb0f-a7f4-478c-b61b-a76d3d661b31" providerId="ADAL" clId="{ABD2F74A-712B-4083-A42A-5FB1F7D04898}" dt="2024-06-04T14:57:58.994" v="3900" actId="1076"/>
          <ac:grpSpMkLst>
            <pc:docMk/>
            <pc:sldMk cId="383467937" sldId="2147480152"/>
            <ac:grpSpMk id="60" creationId="{CB5847ED-4444-906F-A0F0-8BA28A3FD566}"/>
          </ac:grpSpMkLst>
        </pc:grpChg>
        <pc:grpChg chg="mod">
          <ac:chgData name="Hugo Liabeuf" userId="a9defb0f-a7f4-478c-b61b-a76d3d661b31" providerId="ADAL" clId="{ABD2F74A-712B-4083-A42A-5FB1F7D04898}" dt="2024-06-04T14:57:03.010" v="3830"/>
          <ac:grpSpMkLst>
            <pc:docMk/>
            <pc:sldMk cId="383467937" sldId="2147480152"/>
            <ac:grpSpMk id="62" creationId="{27EFC8F1-3D8B-65A4-9EFE-F96A9B4EDCBF}"/>
          </ac:grpSpMkLst>
        </pc:grpChg>
        <pc:grpChg chg="mod">
          <ac:chgData name="Hugo Liabeuf" userId="a9defb0f-a7f4-478c-b61b-a76d3d661b31" providerId="ADAL" clId="{ABD2F74A-712B-4083-A42A-5FB1F7D04898}" dt="2024-06-04T14:57:03.010" v="3830"/>
          <ac:grpSpMkLst>
            <pc:docMk/>
            <pc:sldMk cId="383467937" sldId="2147480152"/>
            <ac:grpSpMk id="63" creationId="{31FA719F-2020-17A6-0416-DB2EFD25A94A}"/>
          </ac:grpSpMkLst>
        </pc:grpChg>
        <pc:grpChg chg="mod">
          <ac:chgData name="Hugo Liabeuf" userId="a9defb0f-a7f4-478c-b61b-a76d3d661b31" providerId="ADAL" clId="{ABD2F74A-712B-4083-A42A-5FB1F7D04898}" dt="2024-06-04T14:57:03.010" v="3830"/>
          <ac:grpSpMkLst>
            <pc:docMk/>
            <pc:sldMk cId="383467937" sldId="2147480152"/>
            <ac:grpSpMk id="64" creationId="{3FD13A8A-DDD0-2B5A-199F-CED8AE3816EE}"/>
          </ac:grpSpMkLst>
        </pc:grpChg>
        <pc:grpChg chg="mod">
          <ac:chgData name="Hugo Liabeuf" userId="a9defb0f-a7f4-478c-b61b-a76d3d661b31" providerId="ADAL" clId="{ABD2F74A-712B-4083-A42A-5FB1F7D04898}" dt="2024-06-04T14:57:03.010" v="3830"/>
          <ac:grpSpMkLst>
            <pc:docMk/>
            <pc:sldMk cId="383467937" sldId="2147480152"/>
            <ac:grpSpMk id="65" creationId="{8612BA04-D7E0-DD96-7117-868FFC609B67}"/>
          </ac:grpSpMkLst>
        </pc:grpChg>
        <pc:graphicFrameChg chg="mod">
          <ac:chgData name="Hugo Liabeuf" userId="a9defb0f-a7f4-478c-b61b-a76d3d661b31" providerId="ADAL" clId="{ABD2F74A-712B-4083-A42A-5FB1F7D04898}" dt="2024-06-04T14:57:21.766" v="3890"/>
          <ac:graphicFrameMkLst>
            <pc:docMk/>
            <pc:sldMk cId="383467937" sldId="2147480152"/>
            <ac:graphicFrameMk id="6" creationId="{752AFE5F-5C43-722D-577E-10E0EEED5012}"/>
          </ac:graphicFrameMkLst>
        </pc:graphicFrameChg>
        <pc:picChg chg="mod">
          <ac:chgData name="Hugo Liabeuf" userId="a9defb0f-a7f4-478c-b61b-a76d3d661b31" providerId="ADAL" clId="{ABD2F74A-712B-4083-A42A-5FB1F7D04898}" dt="2024-06-04T14:56:57.878" v="3829"/>
          <ac:picMkLst>
            <pc:docMk/>
            <pc:sldMk cId="383467937" sldId="2147480152"/>
            <ac:picMk id="58" creationId="{9A685817-FADA-F5CA-C5F2-AF9181C57555}"/>
          </ac:picMkLst>
        </pc:picChg>
        <pc:picChg chg="mod">
          <ac:chgData name="Hugo Liabeuf" userId="a9defb0f-a7f4-478c-b61b-a76d3d661b31" providerId="ADAL" clId="{ABD2F74A-712B-4083-A42A-5FB1F7D04898}" dt="2024-06-04T14:57:03.010" v="3830"/>
          <ac:picMkLst>
            <pc:docMk/>
            <pc:sldMk cId="383467937" sldId="2147480152"/>
            <ac:picMk id="66" creationId="{81BD55CC-A111-40CD-72E9-76F28C37DCB2}"/>
          </ac:picMkLst>
        </pc:picChg>
        <pc:picChg chg="mod">
          <ac:chgData name="Hugo Liabeuf" userId="a9defb0f-a7f4-478c-b61b-a76d3d661b31" providerId="ADAL" clId="{ABD2F74A-712B-4083-A42A-5FB1F7D04898}" dt="2024-06-04T14:57:03.010" v="3830"/>
          <ac:picMkLst>
            <pc:docMk/>
            <pc:sldMk cId="383467937" sldId="2147480152"/>
            <ac:picMk id="68" creationId="{7A3EF997-9086-9354-5F4B-A8E47BCB5AE8}"/>
          </ac:picMkLst>
        </pc:picChg>
        <pc:picChg chg="mod">
          <ac:chgData name="Hugo Liabeuf" userId="a9defb0f-a7f4-478c-b61b-a76d3d661b31" providerId="ADAL" clId="{ABD2F74A-712B-4083-A42A-5FB1F7D04898}" dt="2024-06-04T14:57:03.010" v="3830"/>
          <ac:picMkLst>
            <pc:docMk/>
            <pc:sldMk cId="383467937" sldId="2147480152"/>
            <ac:picMk id="69" creationId="{7E039579-2D70-C393-1BAC-1B7C2DBE3BDC}"/>
          </ac:picMkLst>
        </pc:picChg>
        <pc:picChg chg="mod">
          <ac:chgData name="Hugo Liabeuf" userId="a9defb0f-a7f4-478c-b61b-a76d3d661b31" providerId="ADAL" clId="{ABD2F74A-712B-4083-A42A-5FB1F7D04898}" dt="2024-06-04T14:57:03.010" v="3830"/>
          <ac:picMkLst>
            <pc:docMk/>
            <pc:sldMk cId="383467937" sldId="2147480152"/>
            <ac:picMk id="70" creationId="{0817AAD1-2DA2-04FF-4562-B435396B2D78}"/>
          </ac:picMkLst>
        </pc:picChg>
        <pc:picChg chg="mod">
          <ac:chgData name="Hugo Liabeuf" userId="a9defb0f-a7f4-478c-b61b-a76d3d661b31" providerId="ADAL" clId="{ABD2F74A-712B-4083-A42A-5FB1F7D04898}" dt="2024-06-04T14:57:03.010" v="3830"/>
          <ac:picMkLst>
            <pc:docMk/>
            <pc:sldMk cId="383467937" sldId="2147480152"/>
            <ac:picMk id="72" creationId="{B1D2B9AC-F280-2682-83C8-5AC760DA0D96}"/>
          </ac:picMkLst>
        </pc:picChg>
        <pc:picChg chg="mod">
          <ac:chgData name="Hugo Liabeuf" userId="a9defb0f-a7f4-478c-b61b-a76d3d661b31" providerId="ADAL" clId="{ABD2F74A-712B-4083-A42A-5FB1F7D04898}" dt="2024-06-04T14:57:03.010" v="3830"/>
          <ac:picMkLst>
            <pc:docMk/>
            <pc:sldMk cId="383467937" sldId="2147480152"/>
            <ac:picMk id="74" creationId="{1FA2B446-202E-F25A-EDB9-4B6C6D9D4621}"/>
          </ac:picMkLst>
        </pc:picChg>
        <pc:picChg chg="mod">
          <ac:chgData name="Hugo Liabeuf" userId="a9defb0f-a7f4-478c-b61b-a76d3d661b31" providerId="ADAL" clId="{ABD2F74A-712B-4083-A42A-5FB1F7D04898}" dt="2024-06-04T14:57:03.010" v="3830"/>
          <ac:picMkLst>
            <pc:docMk/>
            <pc:sldMk cId="383467937" sldId="2147480152"/>
            <ac:picMk id="75" creationId="{18F66042-47B8-4387-267A-2BC9A07EDEF0}"/>
          </ac:picMkLst>
        </pc:picChg>
        <pc:picChg chg="mod">
          <ac:chgData name="Hugo Liabeuf" userId="a9defb0f-a7f4-478c-b61b-a76d3d661b31" providerId="ADAL" clId="{ABD2F74A-712B-4083-A42A-5FB1F7D04898}" dt="2024-06-04T14:57:03.010" v="3830"/>
          <ac:picMkLst>
            <pc:docMk/>
            <pc:sldMk cId="383467937" sldId="2147480152"/>
            <ac:picMk id="76" creationId="{7E593E90-4050-9C48-0F0C-0505523DA832}"/>
          </ac:picMkLst>
        </pc:picChg>
        <pc:picChg chg="mod">
          <ac:chgData name="Hugo Liabeuf" userId="a9defb0f-a7f4-478c-b61b-a76d3d661b31" providerId="ADAL" clId="{ABD2F74A-712B-4083-A42A-5FB1F7D04898}" dt="2024-06-04T14:57:03.010" v="3830"/>
          <ac:picMkLst>
            <pc:docMk/>
            <pc:sldMk cId="383467937" sldId="2147480152"/>
            <ac:picMk id="77" creationId="{456411DA-7835-CEC4-D259-CA3BDAC63D28}"/>
          </ac:picMkLst>
        </pc:picChg>
        <pc:picChg chg="mod">
          <ac:chgData name="Hugo Liabeuf" userId="a9defb0f-a7f4-478c-b61b-a76d3d661b31" providerId="ADAL" clId="{ABD2F74A-712B-4083-A42A-5FB1F7D04898}" dt="2024-06-04T14:57:03.010" v="3830"/>
          <ac:picMkLst>
            <pc:docMk/>
            <pc:sldMk cId="383467937" sldId="2147480152"/>
            <ac:picMk id="78" creationId="{53A5912E-622F-E48F-04EE-A79B590334FF}"/>
          </ac:picMkLst>
        </pc:picChg>
        <pc:picChg chg="mod">
          <ac:chgData name="Hugo Liabeuf" userId="a9defb0f-a7f4-478c-b61b-a76d3d661b31" providerId="ADAL" clId="{ABD2F74A-712B-4083-A42A-5FB1F7D04898}" dt="2024-06-04T14:57:03.010" v="3830"/>
          <ac:picMkLst>
            <pc:docMk/>
            <pc:sldMk cId="383467937" sldId="2147480152"/>
            <ac:picMk id="79" creationId="{256F158F-5C53-0B24-54C3-1CF7818ECD94}"/>
          </ac:picMkLst>
        </pc:picChg>
        <pc:picChg chg="mod">
          <ac:chgData name="Hugo Liabeuf" userId="a9defb0f-a7f4-478c-b61b-a76d3d661b31" providerId="ADAL" clId="{ABD2F74A-712B-4083-A42A-5FB1F7D04898}" dt="2024-06-04T14:57:03.010" v="3830"/>
          <ac:picMkLst>
            <pc:docMk/>
            <pc:sldMk cId="383467937" sldId="2147480152"/>
            <ac:picMk id="80" creationId="{32E54E59-9E03-ED02-CC8E-AF75B224A341}"/>
          </ac:picMkLst>
        </pc:picChg>
        <pc:picChg chg="mod">
          <ac:chgData name="Hugo Liabeuf" userId="a9defb0f-a7f4-478c-b61b-a76d3d661b31" providerId="ADAL" clId="{ABD2F74A-712B-4083-A42A-5FB1F7D04898}" dt="2024-06-04T14:57:03.010" v="3830"/>
          <ac:picMkLst>
            <pc:docMk/>
            <pc:sldMk cId="383467937" sldId="2147480152"/>
            <ac:picMk id="81" creationId="{EDE12B36-64CE-530D-7DDC-8A577B3CF574}"/>
          </ac:picMkLst>
        </pc:picChg>
        <pc:picChg chg="mod">
          <ac:chgData name="Hugo Liabeuf" userId="a9defb0f-a7f4-478c-b61b-a76d3d661b31" providerId="ADAL" clId="{ABD2F74A-712B-4083-A42A-5FB1F7D04898}" dt="2024-06-04T14:57:03.010" v="3830"/>
          <ac:picMkLst>
            <pc:docMk/>
            <pc:sldMk cId="383467937" sldId="2147480152"/>
            <ac:picMk id="82" creationId="{E8B3C53E-72A1-CF0A-82F6-1AA85D87E386}"/>
          </ac:picMkLst>
        </pc:picChg>
        <pc:picChg chg="mod">
          <ac:chgData name="Hugo Liabeuf" userId="a9defb0f-a7f4-478c-b61b-a76d3d661b31" providerId="ADAL" clId="{ABD2F74A-712B-4083-A42A-5FB1F7D04898}" dt="2024-06-04T14:57:03.010" v="3830"/>
          <ac:picMkLst>
            <pc:docMk/>
            <pc:sldMk cId="383467937" sldId="2147480152"/>
            <ac:picMk id="83" creationId="{CFFFBEB8-241F-889F-BA86-CC4A392F5F04}"/>
          </ac:picMkLst>
        </pc:picChg>
      </pc:sldChg>
      <pc:sldChg chg="addSp delSp modSp mod">
        <pc:chgData name="Hugo Liabeuf" userId="a9defb0f-a7f4-478c-b61b-a76d3d661b31" providerId="ADAL" clId="{ABD2F74A-712B-4083-A42A-5FB1F7D04898}" dt="2024-06-05T10:10:18.255" v="18585" actId="207"/>
        <pc:sldMkLst>
          <pc:docMk/>
          <pc:sldMk cId="402746537" sldId="2147480168"/>
        </pc:sldMkLst>
        <pc:spChg chg="mod ord">
          <ac:chgData name="Hugo Liabeuf" userId="a9defb0f-a7f4-478c-b61b-a76d3d661b31" providerId="ADAL" clId="{ABD2F74A-712B-4083-A42A-5FB1F7D04898}" dt="2024-06-05T10:09:51.220" v="18496"/>
          <ac:spMkLst>
            <pc:docMk/>
            <pc:sldMk cId="402746537" sldId="2147480168"/>
            <ac:spMk id="2" creationId="{89A6977E-716E-7000-4FC5-7C3986402B11}"/>
          </ac:spMkLst>
        </pc:spChg>
        <pc:spChg chg="mod">
          <ac:chgData name="Hugo Liabeuf" userId="a9defb0f-a7f4-478c-b61b-a76d3d661b31" providerId="ADAL" clId="{ABD2F74A-712B-4083-A42A-5FB1F7D04898}" dt="2024-06-05T10:09:51.231" v="18511"/>
          <ac:spMkLst>
            <pc:docMk/>
            <pc:sldMk cId="402746537" sldId="2147480168"/>
            <ac:spMk id="3" creationId="{B926D567-524F-4499-A030-E098F89DCD34}"/>
          </ac:spMkLst>
        </pc:spChg>
        <pc:spChg chg="mod">
          <ac:chgData name="Hugo Liabeuf" userId="a9defb0f-a7f4-478c-b61b-a76d3d661b31" providerId="ADAL" clId="{ABD2F74A-712B-4083-A42A-5FB1F7D04898}" dt="2024-06-05T10:09:51.239" v="18517"/>
          <ac:spMkLst>
            <pc:docMk/>
            <pc:sldMk cId="402746537" sldId="2147480168"/>
            <ac:spMk id="4" creationId="{29D8EE84-0518-C846-F8D6-AC3A5E11732B}"/>
          </ac:spMkLst>
        </pc:spChg>
        <pc:spChg chg="mod">
          <ac:chgData name="Hugo Liabeuf" userId="a9defb0f-a7f4-478c-b61b-a76d3d661b31" providerId="ADAL" clId="{ABD2F74A-712B-4083-A42A-5FB1F7D04898}" dt="2024-06-05T10:09:51.237" v="18515"/>
          <ac:spMkLst>
            <pc:docMk/>
            <pc:sldMk cId="402746537" sldId="2147480168"/>
            <ac:spMk id="6" creationId="{B926D567-524F-4499-A030-E098F89DCD34}"/>
          </ac:spMkLst>
        </pc:spChg>
        <pc:spChg chg="del mod ord">
          <ac:chgData name="Hugo Liabeuf" userId="a9defb0f-a7f4-478c-b61b-a76d3d661b31" providerId="ADAL" clId="{ABD2F74A-712B-4083-A42A-5FB1F7D04898}" dt="2024-06-04T15:37:26.572" v="6467" actId="478"/>
          <ac:spMkLst>
            <pc:docMk/>
            <pc:sldMk cId="402746537" sldId="2147480168"/>
            <ac:spMk id="7" creationId="{8A6FC4D8-D2BB-15B6-25F9-1FDAF199D0BC}"/>
          </ac:spMkLst>
        </pc:spChg>
        <pc:spChg chg="mod ord">
          <ac:chgData name="Hugo Liabeuf" userId="a9defb0f-a7f4-478c-b61b-a76d3d661b31" providerId="ADAL" clId="{ABD2F74A-712B-4083-A42A-5FB1F7D04898}" dt="2024-06-05T10:09:51.261" v="18546"/>
          <ac:spMkLst>
            <pc:docMk/>
            <pc:sldMk cId="402746537" sldId="2147480168"/>
            <ac:spMk id="8" creationId="{F3C215D8-3474-4397-8FA4-6DDAE67AFFF7}"/>
          </ac:spMkLst>
        </pc:spChg>
        <pc:spChg chg="del mod ord">
          <ac:chgData name="Hugo Liabeuf" userId="a9defb0f-a7f4-478c-b61b-a76d3d661b31" providerId="ADAL" clId="{ABD2F74A-712B-4083-A42A-5FB1F7D04898}" dt="2024-06-04T15:37:26.572" v="6467" actId="478"/>
          <ac:spMkLst>
            <pc:docMk/>
            <pc:sldMk cId="402746537" sldId="2147480168"/>
            <ac:spMk id="9" creationId="{91E1E16C-1159-AEB1-49A3-C208DFBFFA22}"/>
          </ac:spMkLst>
        </pc:spChg>
        <pc:spChg chg="mod ord">
          <ac:chgData name="Hugo Liabeuf" userId="a9defb0f-a7f4-478c-b61b-a76d3d661b31" providerId="ADAL" clId="{ABD2F74A-712B-4083-A42A-5FB1F7D04898}" dt="2024-06-05T10:09:51.217" v="18494"/>
          <ac:spMkLst>
            <pc:docMk/>
            <pc:sldMk cId="402746537" sldId="2147480168"/>
            <ac:spMk id="13" creationId="{2FF470A5-AA3E-E91E-448A-31A345DE7C5A}"/>
          </ac:spMkLst>
        </pc:spChg>
        <pc:spChg chg="mod ord">
          <ac:chgData name="Hugo Liabeuf" userId="a9defb0f-a7f4-478c-b61b-a76d3d661b31" providerId="ADAL" clId="{ABD2F74A-712B-4083-A42A-5FB1F7D04898}" dt="2024-06-05T10:09:51.242" v="18523"/>
          <ac:spMkLst>
            <pc:docMk/>
            <pc:sldMk cId="402746537" sldId="2147480168"/>
            <ac:spMk id="14" creationId="{7DF2EC95-5294-43CA-9BF9-BA0100D24110}"/>
          </ac:spMkLst>
        </pc:spChg>
        <pc:spChg chg="add del mod ord">
          <ac:chgData name="Hugo Liabeuf" userId="a9defb0f-a7f4-478c-b61b-a76d3d661b31" providerId="ADAL" clId="{ABD2F74A-712B-4083-A42A-5FB1F7D04898}" dt="2024-06-04T15:38:55.058" v="6488" actId="478"/>
          <ac:spMkLst>
            <pc:docMk/>
            <pc:sldMk cId="402746537" sldId="2147480168"/>
            <ac:spMk id="18" creationId="{6149AA66-8D7A-8B9E-5226-319DCFCA853D}"/>
          </ac:spMkLst>
        </pc:spChg>
        <pc:spChg chg="mod ord">
          <ac:chgData name="Hugo Liabeuf" userId="a9defb0f-a7f4-478c-b61b-a76d3d661b31" providerId="ADAL" clId="{ABD2F74A-712B-4083-A42A-5FB1F7D04898}" dt="2024-06-05T10:09:51.261" v="18554"/>
          <ac:spMkLst>
            <pc:docMk/>
            <pc:sldMk cId="402746537" sldId="2147480168"/>
            <ac:spMk id="19" creationId="{C5D35E7E-9EBD-8513-8B0C-F21EB9BA6555}"/>
          </ac:spMkLst>
        </pc:spChg>
        <pc:spChg chg="mod ord">
          <ac:chgData name="Hugo Liabeuf" userId="a9defb0f-a7f4-478c-b61b-a76d3d661b31" providerId="ADAL" clId="{ABD2F74A-712B-4083-A42A-5FB1F7D04898}" dt="2024-06-05T10:09:59.724" v="18580" actId="1076"/>
          <ac:spMkLst>
            <pc:docMk/>
            <pc:sldMk cId="402746537" sldId="2147480168"/>
            <ac:spMk id="21" creationId="{70375E2F-92F8-F29B-85D4-AF2407007966}"/>
          </ac:spMkLst>
        </pc:spChg>
        <pc:spChg chg="add del mod modVis">
          <ac:chgData name="Hugo Liabeuf" userId="a9defb0f-a7f4-478c-b61b-a76d3d661b31" providerId="ADAL" clId="{ABD2F74A-712B-4083-A42A-5FB1F7D04898}" dt="2024-06-04T15:35:23.767" v="4923"/>
          <ac:spMkLst>
            <pc:docMk/>
            <pc:sldMk cId="402746537" sldId="2147480168"/>
            <ac:spMk id="22" creationId="{BA31BF1A-9819-52E8-DC79-55F9E340DEE3}"/>
          </ac:spMkLst>
        </pc:spChg>
        <pc:spChg chg="del">
          <ac:chgData name="Hugo Liabeuf" userId="a9defb0f-a7f4-478c-b61b-a76d3d661b31" providerId="ADAL" clId="{ABD2F74A-712B-4083-A42A-5FB1F7D04898}" dt="2024-06-04T15:35:23.295" v="4562"/>
          <ac:spMkLst>
            <pc:docMk/>
            <pc:sldMk cId="402746537" sldId="2147480168"/>
            <ac:spMk id="23" creationId="{867180A5-4047-FD7B-E1C6-4A23EF81DE1F}"/>
          </ac:spMkLst>
        </pc:spChg>
        <pc:spChg chg="del">
          <ac:chgData name="Hugo Liabeuf" userId="a9defb0f-a7f4-478c-b61b-a76d3d661b31" providerId="ADAL" clId="{ABD2F74A-712B-4083-A42A-5FB1F7D04898}" dt="2024-06-04T15:35:23.320" v="4578"/>
          <ac:spMkLst>
            <pc:docMk/>
            <pc:sldMk cId="402746537" sldId="2147480168"/>
            <ac:spMk id="24" creationId="{D6F3ED67-1B8A-0AC5-161E-458142D4976E}"/>
          </ac:spMkLst>
        </pc:spChg>
        <pc:spChg chg="del">
          <ac:chgData name="Hugo Liabeuf" userId="a9defb0f-a7f4-478c-b61b-a76d3d661b31" providerId="ADAL" clId="{ABD2F74A-712B-4083-A42A-5FB1F7D04898}" dt="2024-06-04T15:35:23.344" v="4593"/>
          <ac:spMkLst>
            <pc:docMk/>
            <pc:sldMk cId="402746537" sldId="2147480168"/>
            <ac:spMk id="25" creationId="{4B0F37CC-4DFE-AC57-9791-8D2C0ABB74EA}"/>
          </ac:spMkLst>
        </pc:spChg>
        <pc:spChg chg="del">
          <ac:chgData name="Hugo Liabeuf" userId="a9defb0f-a7f4-478c-b61b-a76d3d661b31" providerId="ADAL" clId="{ABD2F74A-712B-4083-A42A-5FB1F7D04898}" dt="2024-06-04T15:35:23.344" v="4606"/>
          <ac:spMkLst>
            <pc:docMk/>
            <pc:sldMk cId="402746537" sldId="2147480168"/>
            <ac:spMk id="27" creationId="{EA5A50C6-E48B-1132-4DD7-B1A04FF64CDC}"/>
          </ac:spMkLst>
        </pc:spChg>
        <pc:spChg chg="del">
          <ac:chgData name="Hugo Liabeuf" userId="a9defb0f-a7f4-478c-b61b-a76d3d661b31" providerId="ADAL" clId="{ABD2F74A-712B-4083-A42A-5FB1F7D04898}" dt="2024-06-04T15:35:23.371" v="4622"/>
          <ac:spMkLst>
            <pc:docMk/>
            <pc:sldMk cId="402746537" sldId="2147480168"/>
            <ac:spMk id="28" creationId="{449268C7-9903-D37A-69B1-0093DEC7715C}"/>
          </ac:spMkLst>
        </pc:spChg>
        <pc:spChg chg="mod">
          <ac:chgData name="Hugo Liabeuf" userId="a9defb0f-a7f4-478c-b61b-a76d3d661b31" providerId="ADAL" clId="{ABD2F74A-712B-4083-A42A-5FB1F7D04898}" dt="2024-06-05T10:09:51.232" v="18512"/>
          <ac:spMkLst>
            <pc:docMk/>
            <pc:sldMk cId="402746537" sldId="2147480168"/>
            <ac:spMk id="29" creationId="{4C3AE0CF-AE1E-45B8-DED4-9A583B979A16}"/>
          </ac:spMkLst>
        </pc:spChg>
        <pc:spChg chg="del">
          <ac:chgData name="Hugo Liabeuf" userId="a9defb0f-a7f4-478c-b61b-a76d3d661b31" providerId="ADAL" clId="{ABD2F74A-712B-4083-A42A-5FB1F7D04898}" dt="2024-06-04T15:35:23.382" v="4637"/>
          <ac:spMkLst>
            <pc:docMk/>
            <pc:sldMk cId="402746537" sldId="2147480168"/>
            <ac:spMk id="30" creationId="{DE309173-8F5C-CA1C-5E3E-2228CC3987FB}"/>
          </ac:spMkLst>
        </pc:spChg>
        <pc:spChg chg="del">
          <ac:chgData name="Hugo Liabeuf" userId="a9defb0f-a7f4-478c-b61b-a76d3d661b31" providerId="ADAL" clId="{ABD2F74A-712B-4083-A42A-5FB1F7D04898}" dt="2024-06-04T15:35:23.384" v="4650"/>
          <ac:spMkLst>
            <pc:docMk/>
            <pc:sldMk cId="402746537" sldId="2147480168"/>
            <ac:spMk id="31" creationId="{E0031FD4-4F22-2038-5558-92F7B315085E}"/>
          </ac:spMkLst>
        </pc:spChg>
        <pc:spChg chg="del">
          <ac:chgData name="Hugo Liabeuf" userId="a9defb0f-a7f4-478c-b61b-a76d3d661b31" providerId="ADAL" clId="{ABD2F74A-712B-4083-A42A-5FB1F7D04898}" dt="2024-06-04T15:35:23.384" v="4666"/>
          <ac:spMkLst>
            <pc:docMk/>
            <pc:sldMk cId="402746537" sldId="2147480168"/>
            <ac:spMk id="32" creationId="{4387FC90-E82C-3241-20A2-8B65C2955DAD}"/>
          </ac:spMkLst>
        </pc:spChg>
        <pc:spChg chg="del">
          <ac:chgData name="Hugo Liabeuf" userId="a9defb0f-a7f4-478c-b61b-a76d3d661b31" providerId="ADAL" clId="{ABD2F74A-712B-4083-A42A-5FB1F7D04898}" dt="2024-06-04T15:35:23.405" v="4681"/>
          <ac:spMkLst>
            <pc:docMk/>
            <pc:sldMk cId="402746537" sldId="2147480168"/>
            <ac:spMk id="33" creationId="{2A196FD5-CEFF-EFE0-6FFC-D70839CD674F}"/>
          </ac:spMkLst>
        </pc:spChg>
        <pc:spChg chg="add del mod ord replST">
          <ac:chgData name="Hugo Liabeuf" userId="a9defb0f-a7f4-478c-b61b-a76d3d661b31" providerId="ADAL" clId="{ABD2F74A-712B-4083-A42A-5FB1F7D04898}" dt="2024-06-04T15:36:43.209" v="5832"/>
          <ac:spMkLst>
            <pc:docMk/>
            <pc:sldMk cId="402746537" sldId="2147480168"/>
            <ac:spMk id="34" creationId="{391B9D11-A5CA-0458-D654-4A6A606F07A9}"/>
          </ac:spMkLst>
        </pc:spChg>
        <pc:spChg chg="add del mod ord replST">
          <ac:chgData name="Hugo Liabeuf" userId="a9defb0f-a7f4-478c-b61b-a76d3d661b31" providerId="ADAL" clId="{ABD2F74A-712B-4083-A42A-5FB1F7D04898}" dt="2024-06-04T15:36:43.209" v="5830"/>
          <ac:spMkLst>
            <pc:docMk/>
            <pc:sldMk cId="402746537" sldId="2147480168"/>
            <ac:spMk id="35" creationId="{9EEE49BD-5F30-BE08-2E40-C124CB3CEF1B}"/>
          </ac:spMkLst>
        </pc:spChg>
        <pc:spChg chg="add del mod replST">
          <ac:chgData name="Hugo Liabeuf" userId="a9defb0f-a7f4-478c-b61b-a76d3d661b31" providerId="ADAL" clId="{ABD2F74A-712B-4083-A42A-5FB1F7D04898}" dt="2024-06-04T15:36:43.193" v="5828"/>
          <ac:spMkLst>
            <pc:docMk/>
            <pc:sldMk cId="402746537" sldId="2147480168"/>
            <ac:spMk id="36" creationId="{98092CE5-9244-A18C-99EE-2AF337269AAC}"/>
          </ac:spMkLst>
        </pc:spChg>
        <pc:spChg chg="add del mod ord replST">
          <ac:chgData name="Hugo Liabeuf" userId="a9defb0f-a7f4-478c-b61b-a76d3d661b31" providerId="ADAL" clId="{ABD2F74A-712B-4083-A42A-5FB1F7D04898}" dt="2024-06-04T15:36:43.193" v="5827"/>
          <ac:spMkLst>
            <pc:docMk/>
            <pc:sldMk cId="402746537" sldId="2147480168"/>
            <ac:spMk id="37" creationId="{FAC0EFA1-C7D1-3AD6-A90C-04F30E41C732}"/>
          </ac:spMkLst>
        </pc:spChg>
        <pc:spChg chg="add del mod ord replST">
          <ac:chgData name="Hugo Liabeuf" userId="a9defb0f-a7f4-478c-b61b-a76d3d661b31" providerId="ADAL" clId="{ABD2F74A-712B-4083-A42A-5FB1F7D04898}" dt="2024-06-04T15:36:43.193" v="5825"/>
          <ac:spMkLst>
            <pc:docMk/>
            <pc:sldMk cId="402746537" sldId="2147480168"/>
            <ac:spMk id="39" creationId="{166BD8B2-2227-BEE4-489C-5C5CC2828B9E}"/>
          </ac:spMkLst>
        </pc:spChg>
        <pc:spChg chg="add del mod replST">
          <ac:chgData name="Hugo Liabeuf" userId="a9defb0f-a7f4-478c-b61b-a76d3d661b31" providerId="ADAL" clId="{ABD2F74A-712B-4083-A42A-5FB1F7D04898}" dt="2024-06-04T15:36:43.193" v="5823"/>
          <ac:spMkLst>
            <pc:docMk/>
            <pc:sldMk cId="402746537" sldId="2147480168"/>
            <ac:spMk id="40" creationId="{84F97295-6C33-213E-9F27-95CE223D0F7D}"/>
          </ac:spMkLst>
        </pc:spChg>
        <pc:spChg chg="add del mod ord replST">
          <ac:chgData name="Hugo Liabeuf" userId="a9defb0f-a7f4-478c-b61b-a76d3d661b31" providerId="ADAL" clId="{ABD2F74A-712B-4083-A42A-5FB1F7D04898}" dt="2024-06-04T15:36:43.193" v="5822"/>
          <ac:spMkLst>
            <pc:docMk/>
            <pc:sldMk cId="402746537" sldId="2147480168"/>
            <ac:spMk id="41" creationId="{370ED02B-4D45-28AD-4EE4-15B7A528889F}"/>
          </ac:spMkLst>
        </pc:spChg>
        <pc:spChg chg="add del mod ord replST">
          <ac:chgData name="Hugo Liabeuf" userId="a9defb0f-a7f4-478c-b61b-a76d3d661b31" providerId="ADAL" clId="{ABD2F74A-712B-4083-A42A-5FB1F7D04898}" dt="2024-06-04T15:36:43.193" v="5820"/>
          <ac:spMkLst>
            <pc:docMk/>
            <pc:sldMk cId="402746537" sldId="2147480168"/>
            <ac:spMk id="42" creationId="{425E5C76-BE7F-A820-7AD3-3A82E6714629}"/>
          </ac:spMkLst>
        </pc:spChg>
        <pc:spChg chg="add del mod replST">
          <ac:chgData name="Hugo Liabeuf" userId="a9defb0f-a7f4-478c-b61b-a76d3d661b31" providerId="ADAL" clId="{ABD2F74A-712B-4083-A42A-5FB1F7D04898}" dt="2024-06-04T15:36:43.193" v="5818"/>
          <ac:spMkLst>
            <pc:docMk/>
            <pc:sldMk cId="402746537" sldId="2147480168"/>
            <ac:spMk id="44" creationId="{25C69002-A4FA-5996-22E2-5CA781C147F0}"/>
          </ac:spMkLst>
        </pc:spChg>
        <pc:spChg chg="add del mod replST">
          <ac:chgData name="Hugo Liabeuf" userId="a9defb0f-a7f4-478c-b61b-a76d3d661b31" providerId="ADAL" clId="{ABD2F74A-712B-4083-A42A-5FB1F7D04898}" dt="2024-06-04T15:36:01.460" v="5690"/>
          <ac:spMkLst>
            <pc:docMk/>
            <pc:sldMk cId="402746537" sldId="2147480168"/>
            <ac:spMk id="49" creationId="{B926D567-524F-4499-A030-E098F89DCD34}"/>
          </ac:spMkLst>
        </pc:spChg>
        <pc:spChg chg="add del mod modVis">
          <ac:chgData name="Hugo Liabeuf" userId="a9defb0f-a7f4-478c-b61b-a76d3d661b31" providerId="ADAL" clId="{ABD2F74A-712B-4083-A42A-5FB1F7D04898}" dt="2024-06-04T15:35:46.022" v="5515"/>
          <ac:spMkLst>
            <pc:docMk/>
            <pc:sldMk cId="402746537" sldId="2147480168"/>
            <ac:spMk id="50" creationId="{C77CAD58-2984-9B75-B292-A29A83CABD8E}"/>
          </ac:spMkLst>
        </pc:spChg>
        <pc:spChg chg="add del mod replST">
          <ac:chgData name="Hugo Liabeuf" userId="a9defb0f-a7f4-478c-b61b-a76d3d661b31" providerId="ADAL" clId="{ABD2F74A-712B-4083-A42A-5FB1F7D04898}" dt="2024-06-04T15:36:01.455" v="5689"/>
          <ac:spMkLst>
            <pc:docMk/>
            <pc:sldMk cId="402746537" sldId="2147480168"/>
            <ac:spMk id="51" creationId="{B5AB3CE3-9F85-AC5B-F55A-39BFCABC0181}"/>
          </ac:spMkLst>
        </pc:spChg>
        <pc:spChg chg="add del mod modVis">
          <ac:chgData name="Hugo Liabeuf" userId="a9defb0f-a7f4-478c-b61b-a76d3d661b31" providerId="ADAL" clId="{ABD2F74A-712B-4083-A42A-5FB1F7D04898}" dt="2024-06-04T15:35:50.086" v="5682"/>
          <ac:spMkLst>
            <pc:docMk/>
            <pc:sldMk cId="402746537" sldId="2147480168"/>
            <ac:spMk id="54" creationId="{14D98B21-C940-9B6B-BE9E-7EAAC22BCCCE}"/>
          </ac:spMkLst>
        </pc:spChg>
        <pc:spChg chg="mod">
          <ac:chgData name="Hugo Liabeuf" userId="a9defb0f-a7f4-478c-b61b-a76d3d661b31" providerId="ADAL" clId="{ABD2F74A-712B-4083-A42A-5FB1F7D04898}" dt="2024-06-05T10:09:51.242" v="18519"/>
          <ac:spMkLst>
            <pc:docMk/>
            <pc:sldMk cId="402746537" sldId="2147480168"/>
            <ac:spMk id="59" creationId="{B926D567-524F-4499-A030-E098F89DCD34}"/>
          </ac:spMkLst>
        </pc:spChg>
        <pc:spChg chg="mod">
          <ac:chgData name="Hugo Liabeuf" userId="a9defb0f-a7f4-478c-b61b-a76d3d661b31" providerId="ADAL" clId="{ABD2F74A-712B-4083-A42A-5FB1F7D04898}" dt="2024-06-05T10:09:51.242" v="18520"/>
          <ac:spMkLst>
            <pc:docMk/>
            <pc:sldMk cId="402746537" sldId="2147480168"/>
            <ac:spMk id="60" creationId="{B926D567-524F-4499-A030-E098F89DCD34}"/>
          </ac:spMkLst>
        </pc:spChg>
        <pc:spChg chg="add del mod replST">
          <ac:chgData name="Hugo Liabeuf" userId="a9defb0f-a7f4-478c-b61b-a76d3d661b31" providerId="ADAL" clId="{ABD2F74A-712B-4083-A42A-5FB1F7D04898}" dt="2024-06-04T15:37:09.149" v="6361"/>
          <ac:spMkLst>
            <pc:docMk/>
            <pc:sldMk cId="402746537" sldId="2147480168"/>
            <ac:spMk id="63" creationId="{B926D567-524F-4499-A030-E098F89DCD34}"/>
          </ac:spMkLst>
        </pc:spChg>
        <pc:spChg chg="add del mod modVis">
          <ac:chgData name="Hugo Liabeuf" userId="a9defb0f-a7f4-478c-b61b-a76d3d661b31" providerId="ADAL" clId="{ABD2F74A-712B-4083-A42A-5FB1F7D04898}" dt="2024-06-04T15:36:50.924" v="6192"/>
          <ac:spMkLst>
            <pc:docMk/>
            <pc:sldMk cId="402746537" sldId="2147480168"/>
            <ac:spMk id="64" creationId="{BA8E840C-48C3-5B8D-B882-65C7186BF084}"/>
          </ac:spMkLst>
        </pc:spChg>
        <pc:spChg chg="del mod">
          <ac:chgData name="Hugo Liabeuf" userId="a9defb0f-a7f4-478c-b61b-a76d3d661b31" providerId="ADAL" clId="{ABD2F74A-712B-4083-A42A-5FB1F7D04898}" dt="2024-06-04T15:36:43.250" v="5854"/>
          <ac:spMkLst>
            <pc:docMk/>
            <pc:sldMk cId="402746537" sldId="2147480168"/>
            <ac:spMk id="65" creationId="{B926D567-524F-4499-A030-E098F89DCD34}"/>
          </ac:spMkLst>
        </pc:spChg>
        <pc:spChg chg="add del mod replST">
          <ac:chgData name="Hugo Liabeuf" userId="a9defb0f-a7f4-478c-b61b-a76d3d661b31" providerId="ADAL" clId="{ABD2F74A-712B-4083-A42A-5FB1F7D04898}" dt="2024-06-04T15:37:09.149" v="6360"/>
          <ac:spMkLst>
            <pc:docMk/>
            <pc:sldMk cId="402746537" sldId="2147480168"/>
            <ac:spMk id="66" creationId="{7E7C0115-F7C6-3035-BD85-131410594AFD}"/>
          </ac:spMkLst>
        </pc:spChg>
        <pc:spChg chg="add del mod modVis">
          <ac:chgData name="Hugo Liabeuf" userId="a9defb0f-a7f4-478c-b61b-a76d3d661b31" providerId="ADAL" clId="{ABD2F74A-712B-4083-A42A-5FB1F7D04898}" dt="2024-06-04T15:36:56.225" v="6352"/>
          <ac:spMkLst>
            <pc:docMk/>
            <pc:sldMk cId="402746537" sldId="2147480168"/>
            <ac:spMk id="70" creationId="{D70FAFFE-9BB5-A907-2800-AA9576DEB964}"/>
          </ac:spMkLst>
        </pc:spChg>
        <pc:spChg chg="mod">
          <ac:chgData name="Hugo Liabeuf" userId="a9defb0f-a7f4-478c-b61b-a76d3d661b31" providerId="ADAL" clId="{ABD2F74A-712B-4083-A42A-5FB1F7D04898}" dt="2024-06-05T10:09:51.242" v="18521"/>
          <ac:spMkLst>
            <pc:docMk/>
            <pc:sldMk cId="402746537" sldId="2147480168"/>
            <ac:spMk id="75" creationId="{B926D567-524F-4499-A030-E098F89DCD34}"/>
          </ac:spMkLst>
        </pc:spChg>
        <pc:spChg chg="del mod">
          <ac:chgData name="Hugo Liabeuf" userId="a9defb0f-a7f4-478c-b61b-a76d3d661b31" providerId="ADAL" clId="{ABD2F74A-712B-4083-A42A-5FB1F7D04898}" dt="2024-06-04T15:36:43.254" v="5861"/>
          <ac:spMkLst>
            <pc:docMk/>
            <pc:sldMk cId="402746537" sldId="2147480168"/>
            <ac:spMk id="78" creationId="{B926D567-524F-4499-A030-E098F89DCD34}"/>
          </ac:spMkLst>
        </pc:spChg>
        <pc:spChg chg="mod">
          <ac:chgData name="Hugo Liabeuf" userId="a9defb0f-a7f4-478c-b61b-a76d3d661b31" providerId="ADAL" clId="{ABD2F74A-712B-4083-A42A-5FB1F7D04898}" dt="2024-06-05T10:09:51.240" v="18518"/>
          <ac:spMkLst>
            <pc:docMk/>
            <pc:sldMk cId="402746537" sldId="2147480168"/>
            <ac:spMk id="79" creationId="{B926D567-524F-4499-A030-E098F89DCD34}"/>
          </ac:spMkLst>
        </pc:spChg>
        <pc:spChg chg="add mod ord">
          <ac:chgData name="Hugo Liabeuf" userId="a9defb0f-a7f4-478c-b61b-a76d3d661b31" providerId="ADAL" clId="{ABD2F74A-712B-4083-A42A-5FB1F7D04898}" dt="2024-06-05T10:09:59.724" v="18580" actId="1076"/>
          <ac:spMkLst>
            <pc:docMk/>
            <pc:sldMk cId="402746537" sldId="2147480168"/>
            <ac:spMk id="83" creationId="{0319662A-0787-2182-A9DD-7D0B7A44AACC}"/>
          </ac:spMkLst>
        </pc:spChg>
        <pc:spChg chg="add del mod modVis">
          <ac:chgData name="Hugo Liabeuf" userId="a9defb0f-a7f4-478c-b61b-a76d3d661b31" providerId="ADAL" clId="{ABD2F74A-712B-4083-A42A-5FB1F7D04898}" dt="2024-06-04T15:59:42.128" v="11614"/>
          <ac:spMkLst>
            <pc:docMk/>
            <pc:sldMk cId="402746537" sldId="2147480168"/>
            <ac:spMk id="84" creationId="{C5CB61D7-743D-E6E4-8EA8-CE31F5F2853A}"/>
          </ac:spMkLst>
        </pc:spChg>
        <pc:spChg chg="add del mod modVis">
          <ac:chgData name="Hugo Liabeuf" userId="a9defb0f-a7f4-478c-b61b-a76d3d661b31" providerId="ADAL" clId="{ABD2F74A-712B-4083-A42A-5FB1F7D04898}" dt="2024-06-04T15:59:45.792" v="11649"/>
          <ac:spMkLst>
            <pc:docMk/>
            <pc:sldMk cId="402746537" sldId="2147480168"/>
            <ac:spMk id="85" creationId="{30149075-524E-D7BD-CD09-3C86AAB0BF9C}"/>
          </ac:spMkLst>
        </pc:spChg>
        <pc:spChg chg="mod">
          <ac:chgData name="Hugo Liabeuf" userId="a9defb0f-a7f4-478c-b61b-a76d3d661b31" providerId="ADAL" clId="{ABD2F74A-712B-4083-A42A-5FB1F7D04898}" dt="2024-06-04T15:59:50.507" v="11652"/>
          <ac:spMkLst>
            <pc:docMk/>
            <pc:sldMk cId="402746537" sldId="2147480168"/>
            <ac:spMk id="87" creationId="{49E2EF85-E2A9-5995-7DB9-AC6197487EB0}"/>
          </ac:spMkLst>
        </pc:spChg>
        <pc:spChg chg="mod">
          <ac:chgData name="Hugo Liabeuf" userId="a9defb0f-a7f4-478c-b61b-a76d3d661b31" providerId="ADAL" clId="{ABD2F74A-712B-4083-A42A-5FB1F7D04898}" dt="2024-06-05T10:09:51.234" v="18513"/>
          <ac:spMkLst>
            <pc:docMk/>
            <pc:sldMk cId="402746537" sldId="2147480168"/>
            <ac:spMk id="89" creationId="{F1492ADA-60F0-3BB4-A5E5-D2F70F82C0D3}"/>
          </ac:spMkLst>
        </pc:spChg>
        <pc:spChg chg="mod">
          <ac:chgData name="Hugo Liabeuf" userId="a9defb0f-a7f4-478c-b61b-a76d3d661b31" providerId="ADAL" clId="{ABD2F74A-712B-4083-A42A-5FB1F7D04898}" dt="2024-06-04T15:59:50.507" v="11652"/>
          <ac:spMkLst>
            <pc:docMk/>
            <pc:sldMk cId="402746537" sldId="2147480168"/>
            <ac:spMk id="90" creationId="{226F6146-5883-535A-1964-8631DF614C95}"/>
          </ac:spMkLst>
        </pc:spChg>
        <pc:spChg chg="mod">
          <ac:chgData name="Hugo Liabeuf" userId="a9defb0f-a7f4-478c-b61b-a76d3d661b31" providerId="ADAL" clId="{ABD2F74A-712B-4083-A42A-5FB1F7D04898}" dt="2024-06-04T15:59:50.507" v="11652"/>
          <ac:spMkLst>
            <pc:docMk/>
            <pc:sldMk cId="402746537" sldId="2147480168"/>
            <ac:spMk id="92" creationId="{5CB99B64-9024-7130-FCB9-21D523D769BF}"/>
          </ac:spMkLst>
        </pc:spChg>
        <pc:spChg chg="mod">
          <ac:chgData name="Hugo Liabeuf" userId="a9defb0f-a7f4-478c-b61b-a76d3d661b31" providerId="ADAL" clId="{ABD2F74A-712B-4083-A42A-5FB1F7D04898}" dt="2024-06-04T15:59:50.507" v="11652"/>
          <ac:spMkLst>
            <pc:docMk/>
            <pc:sldMk cId="402746537" sldId="2147480168"/>
            <ac:spMk id="94" creationId="{B3BB2794-1390-37A9-A4B6-1D36985753CD}"/>
          </ac:spMkLst>
        </pc:spChg>
        <pc:spChg chg="mod">
          <ac:chgData name="Hugo Liabeuf" userId="a9defb0f-a7f4-478c-b61b-a76d3d661b31" providerId="ADAL" clId="{ABD2F74A-712B-4083-A42A-5FB1F7D04898}" dt="2024-06-05T10:09:51.236" v="18514"/>
          <ac:spMkLst>
            <pc:docMk/>
            <pc:sldMk cId="402746537" sldId="2147480168"/>
            <ac:spMk id="97" creationId="{0866D514-EAE1-A15F-499F-7EF2F95E7353}"/>
          </ac:spMkLst>
        </pc:spChg>
        <pc:spChg chg="mod">
          <ac:chgData name="Hugo Liabeuf" userId="a9defb0f-a7f4-478c-b61b-a76d3d661b31" providerId="ADAL" clId="{ABD2F74A-712B-4083-A42A-5FB1F7D04898}" dt="2024-06-04T15:59:50.507" v="11652"/>
          <ac:spMkLst>
            <pc:docMk/>
            <pc:sldMk cId="402746537" sldId="2147480168"/>
            <ac:spMk id="104" creationId="{2A49A88B-CC89-902E-82AA-9FA5CE1235B2}"/>
          </ac:spMkLst>
        </pc:spChg>
        <pc:spChg chg="mod">
          <ac:chgData name="Hugo Liabeuf" userId="a9defb0f-a7f4-478c-b61b-a76d3d661b31" providerId="ADAL" clId="{ABD2F74A-712B-4083-A42A-5FB1F7D04898}" dt="2024-06-04T15:59:50.507" v="11652"/>
          <ac:spMkLst>
            <pc:docMk/>
            <pc:sldMk cId="402746537" sldId="2147480168"/>
            <ac:spMk id="108" creationId="{A0B3CB76-A8D7-CC0A-4AD0-EBD4D462AB4C}"/>
          </ac:spMkLst>
        </pc:spChg>
        <pc:spChg chg="mod">
          <ac:chgData name="Hugo Liabeuf" userId="a9defb0f-a7f4-478c-b61b-a76d3d661b31" providerId="ADAL" clId="{ABD2F74A-712B-4083-A42A-5FB1F7D04898}" dt="2024-06-04T15:59:50.507" v="11652"/>
          <ac:spMkLst>
            <pc:docMk/>
            <pc:sldMk cId="402746537" sldId="2147480168"/>
            <ac:spMk id="110" creationId="{D05C06FC-B6B0-0DCE-71A8-20AE792C7B0B}"/>
          </ac:spMkLst>
        </pc:spChg>
        <pc:spChg chg="mod ord">
          <ac:chgData name="Hugo Liabeuf" userId="a9defb0f-a7f4-478c-b61b-a76d3d661b31" providerId="ADAL" clId="{ABD2F74A-712B-4083-A42A-5FB1F7D04898}" dt="2024-06-05T10:09:51.242" v="18527"/>
          <ac:spMkLst>
            <pc:docMk/>
            <pc:sldMk cId="402746537" sldId="2147480168"/>
            <ac:spMk id="115" creationId="{C3E3532E-F488-2221-135B-385B96576854}"/>
          </ac:spMkLst>
        </pc:spChg>
        <pc:spChg chg="mod">
          <ac:chgData name="Hugo Liabeuf" userId="a9defb0f-a7f4-478c-b61b-a76d3d661b31" providerId="ADAL" clId="{ABD2F74A-712B-4083-A42A-5FB1F7D04898}" dt="2024-06-04T15:59:50.507" v="11652"/>
          <ac:spMkLst>
            <pc:docMk/>
            <pc:sldMk cId="402746537" sldId="2147480168"/>
            <ac:spMk id="122" creationId="{F66993FF-DC24-72F6-233F-96F385FD4C02}"/>
          </ac:spMkLst>
        </pc:spChg>
        <pc:spChg chg="mod">
          <ac:chgData name="Hugo Liabeuf" userId="a9defb0f-a7f4-478c-b61b-a76d3d661b31" providerId="ADAL" clId="{ABD2F74A-712B-4083-A42A-5FB1F7D04898}" dt="2024-06-04T16:00:08.865" v="11655"/>
          <ac:spMkLst>
            <pc:docMk/>
            <pc:sldMk cId="402746537" sldId="2147480168"/>
            <ac:spMk id="124" creationId="{B030C59B-9489-B224-7130-B4D3374EBDEC}"/>
          </ac:spMkLst>
        </pc:spChg>
        <pc:spChg chg="mod">
          <ac:chgData name="Hugo Liabeuf" userId="a9defb0f-a7f4-478c-b61b-a76d3d661b31" providerId="ADAL" clId="{ABD2F74A-712B-4083-A42A-5FB1F7D04898}" dt="2024-06-04T16:00:08.865" v="11655"/>
          <ac:spMkLst>
            <pc:docMk/>
            <pc:sldMk cId="402746537" sldId="2147480168"/>
            <ac:spMk id="126" creationId="{B6420D60-495D-0C4D-C9A0-DE7221793078}"/>
          </ac:spMkLst>
        </pc:spChg>
        <pc:spChg chg="mod">
          <ac:chgData name="Hugo Liabeuf" userId="a9defb0f-a7f4-478c-b61b-a76d3d661b31" providerId="ADAL" clId="{ABD2F74A-712B-4083-A42A-5FB1F7D04898}" dt="2024-06-04T16:00:08.865" v="11655"/>
          <ac:spMkLst>
            <pc:docMk/>
            <pc:sldMk cId="402746537" sldId="2147480168"/>
            <ac:spMk id="192" creationId="{0CCFC80C-7BC2-C1FD-248B-3038905D5EF0}"/>
          </ac:spMkLst>
        </pc:spChg>
        <pc:spChg chg="mod">
          <ac:chgData name="Hugo Liabeuf" userId="a9defb0f-a7f4-478c-b61b-a76d3d661b31" providerId="ADAL" clId="{ABD2F74A-712B-4083-A42A-5FB1F7D04898}" dt="2024-06-04T16:00:14.306" v="11657" actId="571"/>
          <ac:spMkLst>
            <pc:docMk/>
            <pc:sldMk cId="402746537" sldId="2147480168"/>
            <ac:spMk id="195" creationId="{45F733B6-06B8-B190-9521-E14CDFC5BE1F}"/>
          </ac:spMkLst>
        </pc:spChg>
        <pc:spChg chg="mod">
          <ac:chgData name="Hugo Liabeuf" userId="a9defb0f-a7f4-478c-b61b-a76d3d661b31" providerId="ADAL" clId="{ABD2F74A-712B-4083-A42A-5FB1F7D04898}" dt="2024-06-04T16:00:14.306" v="11657" actId="571"/>
          <ac:spMkLst>
            <pc:docMk/>
            <pc:sldMk cId="402746537" sldId="2147480168"/>
            <ac:spMk id="197" creationId="{F7CF37DC-7481-4885-2AA7-F199009A7D59}"/>
          </ac:spMkLst>
        </pc:spChg>
        <pc:spChg chg="mod">
          <ac:chgData name="Hugo Liabeuf" userId="a9defb0f-a7f4-478c-b61b-a76d3d661b31" providerId="ADAL" clId="{ABD2F74A-712B-4083-A42A-5FB1F7D04898}" dt="2024-06-04T16:00:14.306" v="11657" actId="571"/>
          <ac:spMkLst>
            <pc:docMk/>
            <pc:sldMk cId="402746537" sldId="2147480168"/>
            <ac:spMk id="199" creationId="{24E9009D-49F8-86AE-AA47-70099C56F73B}"/>
          </ac:spMkLst>
        </pc:spChg>
        <pc:spChg chg="add mod ord">
          <ac:chgData name="Hugo Liabeuf" userId="a9defb0f-a7f4-478c-b61b-a76d3d661b31" providerId="ADAL" clId="{ABD2F74A-712B-4083-A42A-5FB1F7D04898}" dt="2024-06-05T10:10:06.669" v="18583" actId="1076"/>
          <ac:spMkLst>
            <pc:docMk/>
            <pc:sldMk cId="402746537" sldId="2147480168"/>
            <ac:spMk id="201" creationId="{0C1364C5-882B-AE49-707A-897ECBBF96B8}"/>
          </ac:spMkLst>
        </pc:spChg>
        <pc:spChg chg="add mod ord">
          <ac:chgData name="Hugo Liabeuf" userId="a9defb0f-a7f4-478c-b61b-a76d3d661b31" providerId="ADAL" clId="{ABD2F74A-712B-4083-A42A-5FB1F7D04898}" dt="2024-06-05T10:10:18.255" v="18585" actId="207"/>
          <ac:spMkLst>
            <pc:docMk/>
            <pc:sldMk cId="402746537" sldId="2147480168"/>
            <ac:spMk id="202" creationId="{E8B215DA-8967-B664-BF70-B705CE2CBBE0}"/>
          </ac:spMkLst>
        </pc:spChg>
        <pc:spChg chg="mod">
          <ac:chgData name="Hugo Liabeuf" userId="a9defb0f-a7f4-478c-b61b-a76d3d661b31" providerId="ADAL" clId="{ABD2F74A-712B-4083-A42A-5FB1F7D04898}" dt="2024-06-05T10:09:51.259" v="18538"/>
          <ac:spMkLst>
            <pc:docMk/>
            <pc:sldMk cId="402746537" sldId="2147480168"/>
            <ac:spMk id="243" creationId="{B926D567-524F-4499-A030-E098F89DCD34}"/>
          </ac:spMkLst>
        </pc:spChg>
        <pc:spChg chg="mod">
          <ac:chgData name="Hugo Liabeuf" userId="a9defb0f-a7f4-478c-b61b-a76d3d661b31" providerId="ADAL" clId="{ABD2F74A-712B-4083-A42A-5FB1F7D04898}" dt="2024-06-05T10:09:51.259" v="18539"/>
          <ac:spMkLst>
            <pc:docMk/>
            <pc:sldMk cId="402746537" sldId="2147480168"/>
            <ac:spMk id="245" creationId="{B926D567-524F-4499-A030-E098F89DCD34}"/>
          </ac:spMkLst>
        </pc:spChg>
        <pc:spChg chg="mod">
          <ac:chgData name="Hugo Liabeuf" userId="a9defb0f-a7f4-478c-b61b-a76d3d661b31" providerId="ADAL" clId="{ABD2F74A-712B-4083-A42A-5FB1F7D04898}" dt="2024-06-05T10:09:51.258" v="18536"/>
          <ac:spMkLst>
            <pc:docMk/>
            <pc:sldMk cId="402746537" sldId="2147480168"/>
            <ac:spMk id="247" creationId="{B926D567-524F-4499-A030-E098F89DCD34}"/>
          </ac:spMkLst>
        </pc:spChg>
        <pc:spChg chg="mod">
          <ac:chgData name="Hugo Liabeuf" userId="a9defb0f-a7f4-478c-b61b-a76d3d661b31" providerId="ADAL" clId="{ABD2F74A-712B-4083-A42A-5FB1F7D04898}" dt="2024-06-05T10:09:51.261" v="18541"/>
          <ac:spMkLst>
            <pc:docMk/>
            <pc:sldMk cId="402746537" sldId="2147480168"/>
            <ac:spMk id="248" creationId="{B926D567-524F-4499-A030-E098F89DCD34}"/>
          </ac:spMkLst>
        </pc:spChg>
        <pc:spChg chg="mod">
          <ac:chgData name="Hugo Liabeuf" userId="a9defb0f-a7f4-478c-b61b-a76d3d661b31" providerId="ADAL" clId="{ABD2F74A-712B-4083-A42A-5FB1F7D04898}" dt="2024-06-05T10:09:51.259" v="18540"/>
          <ac:spMkLst>
            <pc:docMk/>
            <pc:sldMk cId="402746537" sldId="2147480168"/>
            <ac:spMk id="249" creationId="{B926D567-524F-4499-A030-E098F89DCD34}"/>
          </ac:spMkLst>
        </pc:spChg>
        <pc:spChg chg="mod">
          <ac:chgData name="Hugo Liabeuf" userId="a9defb0f-a7f4-478c-b61b-a76d3d661b31" providerId="ADAL" clId="{ABD2F74A-712B-4083-A42A-5FB1F7D04898}" dt="2024-06-05T10:09:51.259" v="18537"/>
          <ac:spMkLst>
            <pc:docMk/>
            <pc:sldMk cId="402746537" sldId="2147480168"/>
            <ac:spMk id="250" creationId="{B926D567-524F-4499-A030-E098F89DCD34}"/>
          </ac:spMkLst>
        </pc:spChg>
        <pc:spChg chg="mod">
          <ac:chgData name="Hugo Liabeuf" userId="a9defb0f-a7f4-478c-b61b-a76d3d661b31" providerId="ADAL" clId="{ABD2F74A-712B-4083-A42A-5FB1F7D04898}" dt="2024-06-05T10:09:51.261" v="18542"/>
          <ac:spMkLst>
            <pc:docMk/>
            <pc:sldMk cId="402746537" sldId="2147480168"/>
            <ac:spMk id="253" creationId="{B926D567-524F-4499-A030-E098F89DCD34}"/>
          </ac:spMkLst>
        </pc:spChg>
        <pc:spChg chg="mod">
          <ac:chgData name="Hugo Liabeuf" userId="a9defb0f-a7f4-478c-b61b-a76d3d661b31" providerId="ADAL" clId="{ABD2F74A-712B-4083-A42A-5FB1F7D04898}" dt="2024-06-05T10:09:51.242" v="18528"/>
          <ac:spMkLst>
            <pc:docMk/>
            <pc:sldMk cId="402746537" sldId="2147480168"/>
            <ac:spMk id="257" creationId="{2663BB55-3454-36E1-87CE-25FEEA157DA7}"/>
          </ac:spMkLst>
        </pc:spChg>
        <pc:spChg chg="mod">
          <ac:chgData name="Hugo Liabeuf" userId="a9defb0f-a7f4-478c-b61b-a76d3d661b31" providerId="ADAL" clId="{ABD2F74A-712B-4083-A42A-5FB1F7D04898}" dt="2024-06-05T10:09:51.242" v="18529"/>
          <ac:spMkLst>
            <pc:docMk/>
            <pc:sldMk cId="402746537" sldId="2147480168"/>
            <ac:spMk id="258" creationId="{7795EFD2-066F-757A-28CC-3941AC7BA9F7}"/>
          </ac:spMkLst>
        </pc:spChg>
        <pc:spChg chg="mod">
          <ac:chgData name="Hugo Liabeuf" userId="a9defb0f-a7f4-478c-b61b-a76d3d661b31" providerId="ADAL" clId="{ABD2F74A-712B-4083-A42A-5FB1F7D04898}" dt="2024-06-05T10:09:51.242" v="18530"/>
          <ac:spMkLst>
            <pc:docMk/>
            <pc:sldMk cId="402746537" sldId="2147480168"/>
            <ac:spMk id="260" creationId="{28C8284D-8828-4B27-42C4-5537510A8153}"/>
          </ac:spMkLst>
        </pc:spChg>
        <pc:spChg chg="mod">
          <ac:chgData name="Hugo Liabeuf" userId="a9defb0f-a7f4-478c-b61b-a76d3d661b31" providerId="ADAL" clId="{ABD2F74A-712B-4083-A42A-5FB1F7D04898}" dt="2024-06-05T10:09:51.242" v="18531"/>
          <ac:spMkLst>
            <pc:docMk/>
            <pc:sldMk cId="402746537" sldId="2147480168"/>
            <ac:spMk id="261" creationId="{0AD0478F-19A8-115B-75E1-87995105F5E7}"/>
          </ac:spMkLst>
        </pc:spChg>
        <pc:spChg chg="mod">
          <ac:chgData name="Hugo Liabeuf" userId="a9defb0f-a7f4-478c-b61b-a76d3d661b31" providerId="ADAL" clId="{ABD2F74A-712B-4083-A42A-5FB1F7D04898}" dt="2024-06-05T10:09:51.242" v="18532"/>
          <ac:spMkLst>
            <pc:docMk/>
            <pc:sldMk cId="402746537" sldId="2147480168"/>
            <ac:spMk id="262" creationId="{64C7DEB0-6B81-6D9C-4010-928FA50AB199}"/>
          </ac:spMkLst>
        </pc:spChg>
        <pc:spChg chg="mod">
          <ac:chgData name="Hugo Liabeuf" userId="a9defb0f-a7f4-478c-b61b-a76d3d661b31" providerId="ADAL" clId="{ABD2F74A-712B-4083-A42A-5FB1F7D04898}" dt="2024-06-05T10:09:51.242" v="18533"/>
          <ac:spMkLst>
            <pc:docMk/>
            <pc:sldMk cId="402746537" sldId="2147480168"/>
            <ac:spMk id="263" creationId="{4653D72F-7E34-B192-45D8-30AE0541CE29}"/>
          </ac:spMkLst>
        </pc:spChg>
        <pc:spChg chg="mod ord">
          <ac:chgData name="Hugo Liabeuf" userId="a9defb0f-a7f4-478c-b61b-a76d3d661b31" providerId="ADAL" clId="{ABD2F74A-712B-4083-A42A-5FB1F7D04898}" dt="2024-06-05T10:09:51.242" v="18535"/>
          <ac:spMkLst>
            <pc:docMk/>
            <pc:sldMk cId="402746537" sldId="2147480168"/>
            <ac:spMk id="265" creationId="{EC7257D5-7967-C68C-5F02-5B001585AFD6}"/>
          </ac:spMkLst>
        </pc:spChg>
        <pc:spChg chg="mod">
          <ac:chgData name="Hugo Liabeuf" userId="a9defb0f-a7f4-478c-b61b-a76d3d661b31" providerId="ADAL" clId="{ABD2F74A-712B-4083-A42A-5FB1F7D04898}" dt="2024-06-05T10:09:51.238" v="18516"/>
          <ac:spMkLst>
            <pc:docMk/>
            <pc:sldMk cId="402746537" sldId="2147480168"/>
            <ac:spMk id="268" creationId="{85F978ED-CC00-6082-B4BC-D5734BD32BCE}"/>
          </ac:spMkLst>
        </pc:spChg>
        <pc:spChg chg="mod ord">
          <ac:chgData name="Hugo Liabeuf" userId="a9defb0f-a7f4-478c-b61b-a76d3d661b31" providerId="ADAL" clId="{ABD2F74A-712B-4083-A42A-5FB1F7D04898}" dt="2024-06-05T10:09:51.261" v="18544"/>
          <ac:spMkLst>
            <pc:docMk/>
            <pc:sldMk cId="402746537" sldId="2147480168"/>
            <ac:spMk id="315" creationId="{23ACDD67-8103-BF0F-7A9C-C7E335F39690}"/>
          </ac:spMkLst>
        </pc:spChg>
        <pc:grpChg chg="add mod ord">
          <ac:chgData name="Hugo Liabeuf" userId="a9defb0f-a7f4-478c-b61b-a76d3d661b31" providerId="ADAL" clId="{ABD2F74A-712B-4083-A42A-5FB1F7D04898}" dt="2024-06-05T10:09:51.277" v="18566"/>
          <ac:grpSpMkLst>
            <pc:docMk/>
            <pc:sldMk cId="402746537" sldId="2147480168"/>
            <ac:grpSpMk id="86" creationId="{6723EF54-9AC3-0B60-975A-924B2519BED9}"/>
          </ac:grpSpMkLst>
        </pc:grpChg>
        <pc:grpChg chg="mod">
          <ac:chgData name="Hugo Liabeuf" userId="a9defb0f-a7f4-478c-b61b-a76d3d661b31" providerId="ADAL" clId="{ABD2F74A-712B-4083-A42A-5FB1F7D04898}" dt="2024-06-04T15:59:50.507" v="11652"/>
          <ac:grpSpMkLst>
            <pc:docMk/>
            <pc:sldMk cId="402746537" sldId="2147480168"/>
            <ac:grpSpMk id="88" creationId="{A41580E2-0D54-1AD1-82B6-18925EFE5614}"/>
          </ac:grpSpMkLst>
        </pc:grpChg>
        <pc:grpChg chg="add mod ord">
          <ac:chgData name="Hugo Liabeuf" userId="a9defb0f-a7f4-478c-b61b-a76d3d661b31" providerId="ADAL" clId="{ABD2F74A-712B-4083-A42A-5FB1F7D04898}" dt="2024-06-05T10:09:51.277" v="18568"/>
          <ac:grpSpMkLst>
            <pc:docMk/>
            <pc:sldMk cId="402746537" sldId="2147480168"/>
            <ac:grpSpMk id="93" creationId="{41CD707C-111E-09C7-1057-8A832C71CC0A}"/>
          </ac:grpSpMkLst>
        </pc:grpChg>
        <pc:grpChg chg="mod">
          <ac:chgData name="Hugo Liabeuf" userId="a9defb0f-a7f4-478c-b61b-a76d3d661b31" providerId="ADAL" clId="{ABD2F74A-712B-4083-A42A-5FB1F7D04898}" dt="2024-06-04T15:59:50.507" v="11652"/>
          <ac:grpSpMkLst>
            <pc:docMk/>
            <pc:sldMk cId="402746537" sldId="2147480168"/>
            <ac:grpSpMk id="96" creationId="{9151E297-A4C4-5BFB-6530-4934F1B9CC93}"/>
          </ac:grpSpMkLst>
        </pc:grpChg>
        <pc:grpChg chg="mod">
          <ac:chgData name="Hugo Liabeuf" userId="a9defb0f-a7f4-478c-b61b-a76d3d661b31" providerId="ADAL" clId="{ABD2F74A-712B-4083-A42A-5FB1F7D04898}" dt="2024-06-04T15:59:50.507" v="11652"/>
          <ac:grpSpMkLst>
            <pc:docMk/>
            <pc:sldMk cId="402746537" sldId="2147480168"/>
            <ac:grpSpMk id="98" creationId="{DC52B974-EFAE-7640-A6AB-8F4FCE2CA863}"/>
          </ac:grpSpMkLst>
        </pc:grpChg>
        <pc:grpChg chg="mod">
          <ac:chgData name="Hugo Liabeuf" userId="a9defb0f-a7f4-478c-b61b-a76d3d661b31" providerId="ADAL" clId="{ABD2F74A-712B-4083-A42A-5FB1F7D04898}" dt="2024-06-04T15:59:50.507" v="11652"/>
          <ac:grpSpMkLst>
            <pc:docMk/>
            <pc:sldMk cId="402746537" sldId="2147480168"/>
            <ac:grpSpMk id="100" creationId="{1296F36B-C7B3-693F-2F1E-AE20961AE687}"/>
          </ac:grpSpMkLst>
        </pc:grpChg>
        <pc:grpChg chg="mod">
          <ac:chgData name="Hugo Liabeuf" userId="a9defb0f-a7f4-478c-b61b-a76d3d661b31" providerId="ADAL" clId="{ABD2F74A-712B-4083-A42A-5FB1F7D04898}" dt="2024-06-04T15:59:50.507" v="11652"/>
          <ac:grpSpMkLst>
            <pc:docMk/>
            <pc:sldMk cId="402746537" sldId="2147480168"/>
            <ac:grpSpMk id="101" creationId="{96F0E99D-78FA-144E-2A94-62840886BB57}"/>
          </ac:grpSpMkLst>
        </pc:grpChg>
        <pc:grpChg chg="add del mod">
          <ac:chgData name="Hugo Liabeuf" userId="a9defb0f-a7f4-478c-b61b-a76d3d661b31" providerId="ADAL" clId="{ABD2F74A-712B-4083-A42A-5FB1F7D04898}" dt="2024-06-04T16:00:16.588" v="11658" actId="478"/>
          <ac:grpSpMkLst>
            <pc:docMk/>
            <pc:sldMk cId="402746537" sldId="2147480168"/>
            <ac:grpSpMk id="123" creationId="{9FAC322C-A014-17D2-8ED8-E102FF559B5C}"/>
          </ac:grpSpMkLst>
        </pc:grpChg>
        <pc:grpChg chg="mod">
          <ac:chgData name="Hugo Liabeuf" userId="a9defb0f-a7f4-478c-b61b-a76d3d661b31" providerId="ADAL" clId="{ABD2F74A-712B-4083-A42A-5FB1F7D04898}" dt="2024-06-04T16:00:08.865" v="11655"/>
          <ac:grpSpMkLst>
            <pc:docMk/>
            <pc:sldMk cId="402746537" sldId="2147480168"/>
            <ac:grpSpMk id="125" creationId="{A9991394-B30C-1388-A92F-9CA9A76EF285}"/>
          </ac:grpSpMkLst>
        </pc:grpChg>
        <pc:grpChg chg="add mod ord">
          <ac:chgData name="Hugo Liabeuf" userId="a9defb0f-a7f4-478c-b61b-a76d3d661b31" providerId="ADAL" clId="{ABD2F74A-712B-4083-A42A-5FB1F7D04898}" dt="2024-06-05T10:09:51.277" v="18570"/>
          <ac:grpSpMkLst>
            <pc:docMk/>
            <pc:sldMk cId="402746537" sldId="2147480168"/>
            <ac:grpSpMk id="194" creationId="{72556F90-D48D-D832-FB61-98399E4D474B}"/>
          </ac:grpSpMkLst>
        </pc:grpChg>
        <pc:grpChg chg="mod">
          <ac:chgData name="Hugo Liabeuf" userId="a9defb0f-a7f4-478c-b61b-a76d3d661b31" providerId="ADAL" clId="{ABD2F74A-712B-4083-A42A-5FB1F7D04898}" dt="2024-06-04T16:00:14.306" v="11657" actId="571"/>
          <ac:grpSpMkLst>
            <pc:docMk/>
            <pc:sldMk cId="402746537" sldId="2147480168"/>
            <ac:grpSpMk id="196" creationId="{87EFBAEA-022D-9ABE-A13F-A2B7786EF8EC}"/>
          </ac:grpSpMkLst>
        </pc:grpChg>
        <pc:graphicFrameChg chg="mod">
          <ac:chgData name="Hugo Liabeuf" userId="a9defb0f-a7f4-478c-b61b-a76d3d661b31" providerId="ADAL" clId="{ABD2F74A-712B-4083-A42A-5FB1F7D04898}" dt="2024-06-05T10:09:51.300" v="18578"/>
          <ac:graphicFrameMkLst>
            <pc:docMk/>
            <pc:sldMk cId="402746537" sldId="2147480168"/>
            <ac:graphicFrameMk id="10" creationId="{C2E40092-DDD0-09DF-9BE3-5CD78D9CDF93}"/>
          </ac:graphicFrameMkLst>
        </pc:graphicFrameChg>
        <pc:graphicFrameChg chg="add del mod ord replST">
          <ac:chgData name="Hugo Liabeuf" userId="a9defb0f-a7f4-478c-b61b-a76d3d661b31" providerId="ADAL" clId="{ABD2F74A-712B-4083-A42A-5FB1F7D04898}" dt="2024-06-04T15:35:27.702" v="5006"/>
          <ac:graphicFrameMkLst>
            <pc:docMk/>
            <pc:sldMk cId="402746537" sldId="2147480168"/>
            <ac:graphicFrameMk id="45" creationId="{9CB669C4-D372-13C0-ADC4-F2973E7F7781}"/>
          </ac:graphicFrameMkLst>
        </pc:graphicFrameChg>
        <pc:graphicFrameChg chg="del">
          <ac:chgData name="Hugo Liabeuf" userId="a9defb0f-a7f4-478c-b61b-a76d3d661b31" providerId="ADAL" clId="{ABD2F74A-712B-4083-A42A-5FB1F7D04898}" dt="2024-06-04T15:35:23.663" v="4824"/>
          <ac:graphicFrameMkLst>
            <pc:docMk/>
            <pc:sldMk cId="402746537" sldId="2147480168"/>
            <ac:graphicFrameMk id="46" creationId="{5F804E94-0CC6-6F9A-C8FA-C8E1A6C63965}"/>
          </ac:graphicFrameMkLst>
        </pc:graphicFrameChg>
        <pc:graphicFrameChg chg="add del mod ord replST">
          <ac:chgData name="Hugo Liabeuf" userId="a9defb0f-a7f4-478c-b61b-a76d3d661b31" providerId="ADAL" clId="{ABD2F74A-712B-4083-A42A-5FB1F7D04898}" dt="2024-06-04T15:35:32.560" v="5186"/>
          <ac:graphicFrameMkLst>
            <pc:docMk/>
            <pc:sldMk cId="402746537" sldId="2147480168"/>
            <ac:graphicFrameMk id="47" creationId="{49482CD7-6B4D-2DAF-28C6-94CE7273AFA9}"/>
          </ac:graphicFrameMkLst>
        </pc:graphicFrameChg>
        <pc:graphicFrameChg chg="add del mod ord replST">
          <ac:chgData name="Hugo Liabeuf" userId="a9defb0f-a7f4-478c-b61b-a76d3d661b31" providerId="ADAL" clId="{ABD2F74A-712B-4083-A42A-5FB1F7D04898}" dt="2024-06-04T15:35:45.941" v="5412"/>
          <ac:graphicFrameMkLst>
            <pc:docMk/>
            <pc:sldMk cId="402746537" sldId="2147480168"/>
            <ac:graphicFrameMk id="48" creationId="{EEEC8111-2FEC-7985-5BEF-3F0D6674FC0D}"/>
          </ac:graphicFrameMkLst>
        </pc:graphicFrameChg>
        <pc:graphicFrameChg chg="add del mod ord replST">
          <ac:chgData name="Hugo Liabeuf" userId="a9defb0f-a7f4-478c-b61b-a76d3d661b31" providerId="ADAL" clId="{ABD2F74A-712B-4083-A42A-5FB1F7D04898}" dt="2024-06-04T15:35:49.991" v="5579"/>
          <ac:graphicFrameMkLst>
            <pc:docMk/>
            <pc:sldMk cId="402746537" sldId="2147480168"/>
            <ac:graphicFrameMk id="53" creationId="{DB24B2BD-45A3-407B-D797-1483A18B8B25}"/>
          </ac:graphicFrameMkLst>
        </pc:graphicFrameChg>
        <pc:graphicFrameChg chg="add del mod ord replST">
          <ac:chgData name="Hugo Liabeuf" userId="a9defb0f-a7f4-478c-b61b-a76d3d661b31" providerId="ADAL" clId="{ABD2F74A-712B-4083-A42A-5FB1F7D04898}" dt="2024-06-04T15:36:01.540" v="5713"/>
          <ac:graphicFrameMkLst>
            <pc:docMk/>
            <pc:sldMk cId="402746537" sldId="2147480168"/>
            <ac:graphicFrameMk id="55" creationId="{40F60985-8C41-CBB4-B37C-CF2EE8D374C3}"/>
          </ac:graphicFrameMkLst>
        </pc:graphicFrameChg>
        <pc:graphicFrameChg chg="add del mod ord replST">
          <ac:chgData name="Hugo Liabeuf" userId="a9defb0f-a7f4-478c-b61b-a76d3d661b31" providerId="ADAL" clId="{ABD2F74A-712B-4083-A42A-5FB1F7D04898}" dt="2024-06-04T15:36:43.269" v="5883"/>
          <ac:graphicFrameMkLst>
            <pc:docMk/>
            <pc:sldMk cId="402746537" sldId="2147480168"/>
            <ac:graphicFrameMk id="57" creationId="{D56FAAFC-D032-BA85-8162-0A230D6F9EA2}"/>
          </ac:graphicFrameMkLst>
        </pc:graphicFrameChg>
        <pc:graphicFrameChg chg="add del mod ord replST">
          <ac:chgData name="Hugo Liabeuf" userId="a9defb0f-a7f4-478c-b61b-a76d3d661b31" providerId="ADAL" clId="{ABD2F74A-712B-4083-A42A-5FB1F7D04898}" dt="2024-06-04T15:36:50.842" v="6104"/>
          <ac:graphicFrameMkLst>
            <pc:docMk/>
            <pc:sldMk cId="402746537" sldId="2147480168"/>
            <ac:graphicFrameMk id="62" creationId="{B15BCE1B-523D-2937-2287-05E2AC094179}"/>
          </ac:graphicFrameMkLst>
        </pc:graphicFrameChg>
        <pc:graphicFrameChg chg="add del mod ord replST">
          <ac:chgData name="Hugo Liabeuf" userId="a9defb0f-a7f4-478c-b61b-a76d3d661b31" providerId="ADAL" clId="{ABD2F74A-712B-4083-A42A-5FB1F7D04898}" dt="2024-06-04T15:36:56.154" v="6266"/>
          <ac:graphicFrameMkLst>
            <pc:docMk/>
            <pc:sldMk cId="402746537" sldId="2147480168"/>
            <ac:graphicFrameMk id="69" creationId="{764469A8-0C6D-248A-E95C-2C72AEA6EECF}"/>
          </ac:graphicFrameMkLst>
        </pc:graphicFrameChg>
        <pc:graphicFrameChg chg="add del mod ord replST">
          <ac:chgData name="Hugo Liabeuf" userId="a9defb0f-a7f4-478c-b61b-a76d3d661b31" providerId="ADAL" clId="{ABD2F74A-712B-4083-A42A-5FB1F7D04898}" dt="2024-06-04T15:37:09.186" v="6382"/>
          <ac:graphicFrameMkLst>
            <pc:docMk/>
            <pc:sldMk cId="402746537" sldId="2147480168"/>
            <ac:graphicFrameMk id="71" creationId="{18DD420F-8CC0-3FE2-390F-D4EC7990FD5D}"/>
          </ac:graphicFrameMkLst>
        </pc:graphicFrameChg>
        <pc:graphicFrameChg chg="add mod ord replST">
          <ac:chgData name="Hugo Liabeuf" userId="a9defb0f-a7f4-478c-b61b-a76d3d661b31" providerId="ADAL" clId="{ABD2F74A-712B-4083-A42A-5FB1F7D04898}" dt="2024-06-05T10:09:51.230" v="18510"/>
          <ac:graphicFrameMkLst>
            <pc:docMk/>
            <pc:sldMk cId="402746537" sldId="2147480168"/>
            <ac:graphicFrameMk id="74" creationId="{FE4711C3-F9CA-E55C-35ED-E7685DEEEF71}"/>
          </ac:graphicFrameMkLst>
        </pc:graphicFrameChg>
        <pc:picChg chg="mod">
          <ac:chgData name="Hugo Liabeuf" userId="a9defb0f-a7f4-478c-b61b-a76d3d661b31" providerId="ADAL" clId="{ABD2F74A-712B-4083-A42A-5FB1F7D04898}" dt="2024-06-04T15:59:50.507" v="11652"/>
          <ac:picMkLst>
            <pc:docMk/>
            <pc:sldMk cId="402746537" sldId="2147480168"/>
            <ac:picMk id="91" creationId="{4DD11E34-7CCF-23A1-5521-BBB6E70045B6}"/>
          </ac:picMkLst>
        </pc:picChg>
        <pc:picChg chg="mod">
          <ac:chgData name="Hugo Liabeuf" userId="a9defb0f-a7f4-478c-b61b-a76d3d661b31" providerId="ADAL" clId="{ABD2F74A-712B-4083-A42A-5FB1F7D04898}" dt="2024-06-04T15:59:50.507" v="11652"/>
          <ac:picMkLst>
            <pc:docMk/>
            <pc:sldMk cId="402746537" sldId="2147480168"/>
            <ac:picMk id="103" creationId="{BB80BC4F-A524-BC8F-CA2E-F7EC738F2EF8}"/>
          </ac:picMkLst>
        </pc:picChg>
        <pc:picChg chg="mod">
          <ac:chgData name="Hugo Liabeuf" userId="a9defb0f-a7f4-478c-b61b-a76d3d661b31" providerId="ADAL" clId="{ABD2F74A-712B-4083-A42A-5FB1F7D04898}" dt="2024-06-04T15:59:50.507" v="11652"/>
          <ac:picMkLst>
            <pc:docMk/>
            <pc:sldMk cId="402746537" sldId="2147480168"/>
            <ac:picMk id="105" creationId="{4B92D07F-D968-C993-31CF-10DF1FE265DB}"/>
          </ac:picMkLst>
        </pc:picChg>
        <pc:picChg chg="mod">
          <ac:chgData name="Hugo Liabeuf" userId="a9defb0f-a7f4-478c-b61b-a76d3d661b31" providerId="ADAL" clId="{ABD2F74A-712B-4083-A42A-5FB1F7D04898}" dt="2024-06-04T15:59:50.507" v="11652"/>
          <ac:picMkLst>
            <pc:docMk/>
            <pc:sldMk cId="402746537" sldId="2147480168"/>
            <ac:picMk id="106" creationId="{7C341AC2-2085-22E6-1AC5-FA0722C107B2}"/>
          </ac:picMkLst>
        </pc:picChg>
        <pc:picChg chg="mod">
          <ac:chgData name="Hugo Liabeuf" userId="a9defb0f-a7f4-478c-b61b-a76d3d661b31" providerId="ADAL" clId="{ABD2F74A-712B-4083-A42A-5FB1F7D04898}" dt="2024-06-04T15:59:50.507" v="11652"/>
          <ac:picMkLst>
            <pc:docMk/>
            <pc:sldMk cId="402746537" sldId="2147480168"/>
            <ac:picMk id="107" creationId="{41908517-A6DD-962C-3CD0-4D43018A2ED4}"/>
          </ac:picMkLst>
        </pc:picChg>
        <pc:picChg chg="mod">
          <ac:chgData name="Hugo Liabeuf" userId="a9defb0f-a7f4-478c-b61b-a76d3d661b31" providerId="ADAL" clId="{ABD2F74A-712B-4083-A42A-5FB1F7D04898}" dt="2024-06-04T15:59:50.507" v="11652"/>
          <ac:picMkLst>
            <pc:docMk/>
            <pc:sldMk cId="402746537" sldId="2147480168"/>
            <ac:picMk id="109" creationId="{817BB93D-D663-745C-8140-75A7C3EE864B}"/>
          </ac:picMkLst>
        </pc:picChg>
        <pc:picChg chg="mod">
          <ac:chgData name="Hugo Liabeuf" userId="a9defb0f-a7f4-478c-b61b-a76d3d661b31" providerId="ADAL" clId="{ABD2F74A-712B-4083-A42A-5FB1F7D04898}" dt="2024-06-04T15:59:50.507" v="11652"/>
          <ac:picMkLst>
            <pc:docMk/>
            <pc:sldMk cId="402746537" sldId="2147480168"/>
            <ac:picMk id="111" creationId="{31C60AE8-A9DF-768D-1606-9F6016A3146F}"/>
          </ac:picMkLst>
        </pc:picChg>
        <pc:picChg chg="mod">
          <ac:chgData name="Hugo Liabeuf" userId="a9defb0f-a7f4-478c-b61b-a76d3d661b31" providerId="ADAL" clId="{ABD2F74A-712B-4083-A42A-5FB1F7D04898}" dt="2024-06-04T15:59:50.507" v="11652"/>
          <ac:picMkLst>
            <pc:docMk/>
            <pc:sldMk cId="402746537" sldId="2147480168"/>
            <ac:picMk id="112" creationId="{703EE02A-CD23-E51D-8028-62D04A357FC3}"/>
          </ac:picMkLst>
        </pc:picChg>
        <pc:picChg chg="mod">
          <ac:chgData name="Hugo Liabeuf" userId="a9defb0f-a7f4-478c-b61b-a76d3d661b31" providerId="ADAL" clId="{ABD2F74A-712B-4083-A42A-5FB1F7D04898}" dt="2024-06-04T15:59:50.507" v="11652"/>
          <ac:picMkLst>
            <pc:docMk/>
            <pc:sldMk cId="402746537" sldId="2147480168"/>
            <ac:picMk id="113" creationId="{56ACC111-4F13-D94B-096E-01F459C355DC}"/>
          </ac:picMkLst>
        </pc:picChg>
        <pc:picChg chg="mod">
          <ac:chgData name="Hugo Liabeuf" userId="a9defb0f-a7f4-478c-b61b-a76d3d661b31" providerId="ADAL" clId="{ABD2F74A-712B-4083-A42A-5FB1F7D04898}" dt="2024-06-04T15:59:50.507" v="11652"/>
          <ac:picMkLst>
            <pc:docMk/>
            <pc:sldMk cId="402746537" sldId="2147480168"/>
            <ac:picMk id="114" creationId="{1EC8F4FE-F7B4-8B9B-5B6A-D0D1F2175BF9}"/>
          </ac:picMkLst>
        </pc:picChg>
        <pc:picChg chg="mod">
          <ac:chgData name="Hugo Liabeuf" userId="a9defb0f-a7f4-478c-b61b-a76d3d661b31" providerId="ADAL" clId="{ABD2F74A-712B-4083-A42A-5FB1F7D04898}" dt="2024-06-04T15:59:50.507" v="11652"/>
          <ac:picMkLst>
            <pc:docMk/>
            <pc:sldMk cId="402746537" sldId="2147480168"/>
            <ac:picMk id="116" creationId="{9532B01F-5306-94BF-94B6-50D36FB81839}"/>
          </ac:picMkLst>
        </pc:picChg>
        <pc:picChg chg="mod">
          <ac:chgData name="Hugo Liabeuf" userId="a9defb0f-a7f4-478c-b61b-a76d3d661b31" providerId="ADAL" clId="{ABD2F74A-712B-4083-A42A-5FB1F7D04898}" dt="2024-06-04T15:59:50.507" v="11652"/>
          <ac:picMkLst>
            <pc:docMk/>
            <pc:sldMk cId="402746537" sldId="2147480168"/>
            <ac:picMk id="117" creationId="{35EAA8B7-37E5-068D-B0D7-AAA3AEC879FC}"/>
          </ac:picMkLst>
        </pc:picChg>
        <pc:picChg chg="mod">
          <ac:chgData name="Hugo Liabeuf" userId="a9defb0f-a7f4-478c-b61b-a76d3d661b31" providerId="ADAL" clId="{ABD2F74A-712B-4083-A42A-5FB1F7D04898}" dt="2024-06-04T15:59:50.507" v="11652"/>
          <ac:picMkLst>
            <pc:docMk/>
            <pc:sldMk cId="402746537" sldId="2147480168"/>
            <ac:picMk id="118" creationId="{F926E6AD-167E-A575-7E6F-D520834C1448}"/>
          </ac:picMkLst>
        </pc:picChg>
        <pc:picChg chg="mod">
          <ac:chgData name="Hugo Liabeuf" userId="a9defb0f-a7f4-478c-b61b-a76d3d661b31" providerId="ADAL" clId="{ABD2F74A-712B-4083-A42A-5FB1F7D04898}" dt="2024-06-04T15:59:50.507" v="11652"/>
          <ac:picMkLst>
            <pc:docMk/>
            <pc:sldMk cId="402746537" sldId="2147480168"/>
            <ac:picMk id="119" creationId="{B7C34568-F17C-17FF-57D4-004383F49209}"/>
          </ac:picMkLst>
        </pc:picChg>
        <pc:picChg chg="mod">
          <ac:chgData name="Hugo Liabeuf" userId="a9defb0f-a7f4-478c-b61b-a76d3d661b31" providerId="ADAL" clId="{ABD2F74A-712B-4083-A42A-5FB1F7D04898}" dt="2024-06-04T15:59:50.507" v="11652"/>
          <ac:picMkLst>
            <pc:docMk/>
            <pc:sldMk cId="402746537" sldId="2147480168"/>
            <ac:picMk id="120" creationId="{D4F2BDBF-1164-23B1-DF31-BE40345940D9}"/>
          </ac:picMkLst>
        </pc:picChg>
        <pc:picChg chg="mod">
          <ac:chgData name="Hugo Liabeuf" userId="a9defb0f-a7f4-478c-b61b-a76d3d661b31" providerId="ADAL" clId="{ABD2F74A-712B-4083-A42A-5FB1F7D04898}" dt="2024-06-04T15:59:50.507" v="11652"/>
          <ac:picMkLst>
            <pc:docMk/>
            <pc:sldMk cId="402746537" sldId="2147480168"/>
            <ac:picMk id="121" creationId="{240D7EEC-0A93-EE06-1743-29592E180DB1}"/>
          </ac:picMkLst>
        </pc:picChg>
        <pc:picChg chg="mod">
          <ac:chgData name="Hugo Liabeuf" userId="a9defb0f-a7f4-478c-b61b-a76d3d661b31" providerId="ADAL" clId="{ABD2F74A-712B-4083-A42A-5FB1F7D04898}" dt="2024-06-04T16:00:08.865" v="11655"/>
          <ac:picMkLst>
            <pc:docMk/>
            <pc:sldMk cId="402746537" sldId="2147480168"/>
            <ac:picMk id="127" creationId="{615D9E5D-F37A-FBF5-E828-AF706543CBFF}"/>
          </ac:picMkLst>
        </pc:picChg>
        <pc:picChg chg="mod">
          <ac:chgData name="Hugo Liabeuf" userId="a9defb0f-a7f4-478c-b61b-a76d3d661b31" providerId="ADAL" clId="{ABD2F74A-712B-4083-A42A-5FB1F7D04898}" dt="2024-06-04T16:00:08.865" v="11655"/>
          <ac:picMkLst>
            <pc:docMk/>
            <pc:sldMk cId="402746537" sldId="2147480168"/>
            <ac:picMk id="193" creationId="{D90ADD8E-DE5C-5FBB-FBF7-F954D45C109F}"/>
          </ac:picMkLst>
        </pc:picChg>
        <pc:picChg chg="mod">
          <ac:chgData name="Hugo Liabeuf" userId="a9defb0f-a7f4-478c-b61b-a76d3d661b31" providerId="ADAL" clId="{ABD2F74A-712B-4083-A42A-5FB1F7D04898}" dt="2024-06-04T16:00:14.306" v="11657" actId="571"/>
          <ac:picMkLst>
            <pc:docMk/>
            <pc:sldMk cId="402746537" sldId="2147480168"/>
            <ac:picMk id="198" creationId="{554E4286-DEE0-F7A5-B753-3EFE13942081}"/>
          </ac:picMkLst>
        </pc:picChg>
        <pc:picChg chg="mod">
          <ac:chgData name="Hugo Liabeuf" userId="a9defb0f-a7f4-478c-b61b-a76d3d661b31" providerId="ADAL" clId="{ABD2F74A-712B-4083-A42A-5FB1F7D04898}" dt="2024-06-04T16:00:14.306" v="11657" actId="571"/>
          <ac:picMkLst>
            <pc:docMk/>
            <pc:sldMk cId="402746537" sldId="2147480168"/>
            <ac:picMk id="200" creationId="{A86A303F-A559-CDFF-C6C6-725BE5D058B3}"/>
          </ac:picMkLst>
        </pc:picChg>
        <pc:cxnChg chg="mod ord">
          <ac:chgData name="Hugo Liabeuf" userId="a9defb0f-a7f4-478c-b61b-a76d3d661b31" providerId="ADAL" clId="{ABD2F74A-712B-4083-A42A-5FB1F7D04898}" dt="2024-06-05T10:09:51.261" v="18550"/>
          <ac:cxnSpMkLst>
            <pc:docMk/>
            <pc:sldMk cId="402746537" sldId="2147480168"/>
            <ac:cxnSpMk id="5" creationId="{7644224D-F300-998B-93E9-99112EF5AF4C}"/>
          </ac:cxnSpMkLst>
        </pc:cxnChg>
        <pc:cxnChg chg="mod ord">
          <ac:chgData name="Hugo Liabeuf" userId="a9defb0f-a7f4-478c-b61b-a76d3d661b31" providerId="ADAL" clId="{ABD2F74A-712B-4083-A42A-5FB1F7D04898}" dt="2024-06-05T10:09:51.242" v="18525"/>
          <ac:cxnSpMkLst>
            <pc:docMk/>
            <pc:sldMk cId="402746537" sldId="2147480168"/>
            <ac:cxnSpMk id="15" creationId="{4859A8C2-EAEA-E16A-6C5C-28154EE99456}"/>
          </ac:cxnSpMkLst>
        </pc:cxnChg>
        <pc:cxnChg chg="mod ord">
          <ac:chgData name="Hugo Liabeuf" userId="a9defb0f-a7f4-478c-b61b-a76d3d661b31" providerId="ADAL" clId="{ABD2F74A-712B-4083-A42A-5FB1F7D04898}" dt="2024-06-05T10:09:51.261" v="18552"/>
          <ac:cxnSpMkLst>
            <pc:docMk/>
            <pc:sldMk cId="402746537" sldId="2147480168"/>
            <ac:cxnSpMk id="16" creationId="{92F81A34-EB6E-CD13-A9E7-471463DAB9BC}"/>
          </ac:cxnSpMkLst>
        </pc:cxnChg>
        <pc:cxnChg chg="mod ord">
          <ac:chgData name="Hugo Liabeuf" userId="a9defb0f-a7f4-478c-b61b-a76d3d661b31" providerId="ADAL" clId="{ABD2F74A-712B-4083-A42A-5FB1F7D04898}" dt="2024-06-05T10:09:51.228" v="18508"/>
          <ac:cxnSpMkLst>
            <pc:docMk/>
            <pc:sldMk cId="402746537" sldId="2147480168"/>
            <ac:cxnSpMk id="20" creationId="{8C1BCE55-D839-9248-6833-F09E519B8B97}"/>
          </ac:cxnSpMkLst>
        </pc:cxnChg>
        <pc:cxnChg chg="mod ord">
          <ac:chgData name="Hugo Liabeuf" userId="a9defb0f-a7f4-478c-b61b-a76d3d661b31" providerId="ADAL" clId="{ABD2F74A-712B-4083-A42A-5FB1F7D04898}" dt="2024-06-05T10:09:51.228" v="18506"/>
          <ac:cxnSpMkLst>
            <pc:docMk/>
            <pc:sldMk cId="402746537" sldId="2147480168"/>
            <ac:cxnSpMk id="26" creationId="{33FB9B15-E8E2-CDB9-4490-A36D50EB2D1C}"/>
          </ac:cxnSpMkLst>
        </pc:cxnChg>
        <pc:cxnChg chg="mod ord">
          <ac:chgData name="Hugo Liabeuf" userId="a9defb0f-a7f4-478c-b61b-a76d3d661b31" providerId="ADAL" clId="{ABD2F74A-712B-4083-A42A-5FB1F7D04898}" dt="2024-06-05T10:09:51.222" v="18498"/>
          <ac:cxnSpMkLst>
            <pc:docMk/>
            <pc:sldMk cId="402746537" sldId="2147480168"/>
            <ac:cxnSpMk id="38" creationId="{9D50D2C7-C7E3-976F-0FA4-E2B26C35F53A}"/>
          </ac:cxnSpMkLst>
        </pc:cxnChg>
        <pc:cxnChg chg="mod ord">
          <ac:chgData name="Hugo Liabeuf" userId="a9defb0f-a7f4-478c-b61b-a76d3d661b31" providerId="ADAL" clId="{ABD2F74A-712B-4083-A42A-5FB1F7D04898}" dt="2024-06-05T10:09:51.227" v="18504"/>
          <ac:cxnSpMkLst>
            <pc:docMk/>
            <pc:sldMk cId="402746537" sldId="2147480168"/>
            <ac:cxnSpMk id="43" creationId="{FD73C053-DC38-8160-EEF8-F5FE40256186}"/>
          </ac:cxnSpMkLst>
        </pc:cxnChg>
        <pc:cxnChg chg="add del mod ord replST">
          <ac:chgData name="Hugo Liabeuf" userId="a9defb0f-a7f4-478c-b61b-a76d3d661b31" providerId="ADAL" clId="{ABD2F74A-712B-4083-A42A-5FB1F7D04898}" dt="2024-06-04T15:36:01.455" v="5688"/>
          <ac:cxnSpMkLst>
            <pc:docMk/>
            <pc:sldMk cId="402746537" sldId="2147480168"/>
            <ac:cxnSpMk id="52" creationId="{4325E355-BEC3-D205-0A26-4058DA29E72A}"/>
          </ac:cxnSpMkLst>
        </pc:cxnChg>
        <pc:cxnChg chg="add del mod ord replST">
          <ac:chgData name="Hugo Liabeuf" userId="a9defb0f-a7f4-478c-b61b-a76d3d661b31" providerId="ADAL" clId="{ABD2F74A-712B-4083-A42A-5FB1F7D04898}" dt="2024-06-04T15:36:56.150" v="6250"/>
          <ac:cxnSpMkLst>
            <pc:docMk/>
            <pc:sldMk cId="402746537" sldId="2147480168"/>
            <ac:cxnSpMk id="67" creationId="{804889DF-FFD8-1DD0-BC92-F533DAA1FC79}"/>
          </ac:cxnSpMkLst>
        </pc:cxnChg>
        <pc:cxnChg chg="add del mod ord replST">
          <ac:chgData name="Hugo Liabeuf" userId="a9defb0f-a7f4-478c-b61b-a76d3d661b31" providerId="ADAL" clId="{ABD2F74A-712B-4083-A42A-5FB1F7D04898}" dt="2024-06-04T15:37:09.149" v="6359"/>
          <ac:cxnSpMkLst>
            <pc:docMk/>
            <pc:sldMk cId="402746537" sldId="2147480168"/>
            <ac:cxnSpMk id="68" creationId="{B1B7CF7F-DA25-FA7E-8F07-C3D3D6B55BAF}"/>
          </ac:cxnSpMkLst>
        </pc:cxnChg>
        <pc:cxnChg chg="add del mod">
          <ac:chgData name="Hugo Liabeuf" userId="a9defb0f-a7f4-478c-b61b-a76d3d661b31" providerId="ADAL" clId="{ABD2F74A-712B-4083-A42A-5FB1F7D04898}" dt="2024-06-04T15:38:22.220" v="6484" actId="478"/>
          <ac:cxnSpMkLst>
            <pc:docMk/>
            <pc:sldMk cId="402746537" sldId="2147480168"/>
            <ac:cxnSpMk id="76" creationId="{E63EDC42-7AE1-E843-D400-04B16CCF36C0}"/>
          </ac:cxnSpMkLst>
        </pc:cxnChg>
        <pc:cxnChg chg="add del mod">
          <ac:chgData name="Hugo Liabeuf" userId="a9defb0f-a7f4-478c-b61b-a76d3d661b31" providerId="ADAL" clId="{ABD2F74A-712B-4083-A42A-5FB1F7D04898}" dt="2024-06-04T15:38:22.220" v="6484" actId="478"/>
          <ac:cxnSpMkLst>
            <pc:docMk/>
            <pc:sldMk cId="402746537" sldId="2147480168"/>
            <ac:cxnSpMk id="77" creationId="{AE03E75C-22BB-0C94-35F7-B6077B27381B}"/>
          </ac:cxnSpMkLst>
        </pc:cxnChg>
        <pc:cxnChg chg="add mod ord">
          <ac:chgData name="Hugo Liabeuf" userId="a9defb0f-a7f4-478c-b61b-a76d3d661b31" providerId="ADAL" clId="{ABD2F74A-712B-4083-A42A-5FB1F7D04898}" dt="2024-06-05T10:09:51.261" v="18558"/>
          <ac:cxnSpMkLst>
            <pc:docMk/>
            <pc:sldMk cId="402746537" sldId="2147480168"/>
            <ac:cxnSpMk id="80" creationId="{895E98DE-14D1-1AA3-67A6-96F19E74167E}"/>
          </ac:cxnSpMkLst>
        </pc:cxnChg>
        <pc:cxnChg chg="add mod ord">
          <ac:chgData name="Hugo Liabeuf" userId="a9defb0f-a7f4-478c-b61b-a76d3d661b31" providerId="ADAL" clId="{ABD2F74A-712B-4083-A42A-5FB1F7D04898}" dt="2024-06-05T10:09:51.261" v="18560"/>
          <ac:cxnSpMkLst>
            <pc:docMk/>
            <pc:sldMk cId="402746537" sldId="2147480168"/>
            <ac:cxnSpMk id="81" creationId="{60CEC56D-1C9C-0E04-9A7A-BAD3780ADE7F}"/>
          </ac:cxnSpMkLst>
        </pc:cxnChg>
        <pc:cxnChg chg="add mod ord">
          <ac:chgData name="Hugo Liabeuf" userId="a9defb0f-a7f4-478c-b61b-a76d3d661b31" providerId="ADAL" clId="{ABD2F74A-712B-4083-A42A-5FB1F7D04898}" dt="2024-06-05T10:09:51.261" v="18562"/>
          <ac:cxnSpMkLst>
            <pc:docMk/>
            <pc:sldMk cId="402746537" sldId="2147480168"/>
            <ac:cxnSpMk id="82" creationId="{4355BE9D-3D11-B35E-7D37-662F5AF93D42}"/>
          </ac:cxnSpMkLst>
        </pc:cxnChg>
        <pc:cxnChg chg="mod ord">
          <ac:chgData name="Hugo Liabeuf" userId="a9defb0f-a7f4-478c-b61b-a76d3d661b31" providerId="ADAL" clId="{ABD2F74A-712B-4083-A42A-5FB1F7D04898}" dt="2024-06-05T10:09:51.225" v="18502"/>
          <ac:cxnSpMkLst>
            <pc:docMk/>
            <pc:sldMk cId="402746537" sldId="2147480168"/>
            <ac:cxnSpMk id="95" creationId="{E2327ADD-5BCF-A9B9-4D6D-669E870E3CD5}"/>
          </ac:cxnSpMkLst>
        </pc:cxnChg>
        <pc:cxnChg chg="mod ord">
          <ac:chgData name="Hugo Liabeuf" userId="a9defb0f-a7f4-478c-b61b-a76d3d661b31" providerId="ADAL" clId="{ABD2F74A-712B-4083-A42A-5FB1F7D04898}" dt="2024-06-05T10:09:51.261" v="18548"/>
          <ac:cxnSpMkLst>
            <pc:docMk/>
            <pc:sldMk cId="402746537" sldId="2147480168"/>
            <ac:cxnSpMk id="99" creationId="{D3BFE252-5B8D-C7D4-D6B8-7D947687E980}"/>
          </ac:cxnSpMkLst>
        </pc:cxnChg>
        <pc:cxnChg chg="del mod ord">
          <ac:chgData name="Hugo Liabeuf" userId="a9defb0f-a7f4-478c-b61b-a76d3d661b31" providerId="ADAL" clId="{ABD2F74A-712B-4083-A42A-5FB1F7D04898}" dt="2024-06-04T15:38:12.861" v="6481" actId="478"/>
          <ac:cxnSpMkLst>
            <pc:docMk/>
            <pc:sldMk cId="402746537" sldId="2147480168"/>
            <ac:cxnSpMk id="102" creationId="{F06FDF65-53F0-5CAB-5CF0-3A4433AF1315}"/>
          </ac:cxnSpMkLst>
        </pc:cxnChg>
        <pc:cxnChg chg="mod ord">
          <ac:chgData name="Hugo Liabeuf" userId="a9defb0f-a7f4-478c-b61b-a76d3d661b31" providerId="ADAL" clId="{ABD2F74A-712B-4083-A42A-5FB1F7D04898}" dt="2024-06-05T10:09:51.223" v="18500"/>
          <ac:cxnSpMkLst>
            <pc:docMk/>
            <pc:sldMk cId="402746537" sldId="2147480168"/>
            <ac:cxnSpMk id="214" creationId="{D3F861DA-549A-FEEB-7A8B-F82D0A7313D0}"/>
          </ac:cxnSpMkLst>
        </pc:cxnChg>
      </pc:sldChg>
      <pc:sldChg chg="delSp add mod">
        <pc:chgData name="Hugo Liabeuf" userId="a9defb0f-a7f4-478c-b61b-a76d3d661b31" providerId="ADAL" clId="{ABD2F74A-712B-4083-A42A-5FB1F7D04898}" dt="2024-06-06T16:25:32.789" v="23614" actId="478"/>
        <pc:sldMkLst>
          <pc:docMk/>
          <pc:sldMk cId="332983751" sldId="2147480172"/>
        </pc:sldMkLst>
        <pc:spChg chg="del">
          <ac:chgData name="Hugo Liabeuf" userId="a9defb0f-a7f4-478c-b61b-a76d3d661b31" providerId="ADAL" clId="{ABD2F74A-712B-4083-A42A-5FB1F7D04898}" dt="2024-06-06T16:25:32.789" v="23614" actId="478"/>
          <ac:spMkLst>
            <pc:docMk/>
            <pc:sldMk cId="332983751" sldId="2147480172"/>
            <ac:spMk id="14" creationId="{BB4CE32B-7593-92D5-B18F-6E0C4636E17D}"/>
          </ac:spMkLst>
        </pc:spChg>
      </pc:sldChg>
      <pc:sldChg chg="addSp delSp modSp del mod">
        <pc:chgData name="Hugo Liabeuf" userId="a9defb0f-a7f4-478c-b61b-a76d3d661b31" providerId="ADAL" clId="{ABD2F74A-712B-4083-A42A-5FB1F7D04898}" dt="2024-06-06T16:25:24.112" v="23612" actId="2696"/>
        <pc:sldMkLst>
          <pc:docMk/>
          <pc:sldMk cId="2710792005" sldId="2147480172"/>
        </pc:sldMkLst>
        <pc:spChg chg="mod ord">
          <ac:chgData name="Hugo Liabeuf" userId="a9defb0f-a7f4-478c-b61b-a76d3d661b31" providerId="ADAL" clId="{ABD2F74A-712B-4083-A42A-5FB1F7D04898}" dt="2024-06-05T15:13:44.219" v="23033" actId="948"/>
          <ac:spMkLst>
            <pc:docMk/>
            <pc:sldMk cId="2710792005" sldId="2147480172"/>
            <ac:spMk id="2" creationId="{84E13208-AA70-4116-9C35-A3E9EE4F8C77}"/>
          </ac:spMkLst>
        </pc:spChg>
        <pc:spChg chg="mod ord">
          <ac:chgData name="Hugo Liabeuf" userId="a9defb0f-a7f4-478c-b61b-a76d3d661b31" providerId="ADAL" clId="{ABD2F74A-712B-4083-A42A-5FB1F7D04898}" dt="2024-06-05T15:13:22.320" v="22414"/>
          <ac:spMkLst>
            <pc:docMk/>
            <pc:sldMk cId="2710792005" sldId="2147480172"/>
            <ac:spMk id="4" creationId="{5B2E696E-88B1-482D-B29E-10A2D5F7E884}"/>
          </ac:spMkLst>
        </pc:spChg>
        <pc:spChg chg="mod ord">
          <ac:chgData name="Hugo Liabeuf" userId="a9defb0f-a7f4-478c-b61b-a76d3d661b31" providerId="ADAL" clId="{ABD2F74A-712B-4083-A42A-5FB1F7D04898}" dt="2024-06-05T15:13:22.320" v="22410"/>
          <ac:spMkLst>
            <pc:docMk/>
            <pc:sldMk cId="2710792005" sldId="2147480172"/>
            <ac:spMk id="9" creationId="{70F238B3-84FB-84C7-2D0B-D69BD7727C80}"/>
          </ac:spMkLst>
        </pc:spChg>
        <pc:spChg chg="mod ord">
          <ac:chgData name="Hugo Liabeuf" userId="a9defb0f-a7f4-478c-b61b-a76d3d661b31" providerId="ADAL" clId="{ABD2F74A-712B-4083-A42A-5FB1F7D04898}" dt="2024-06-05T15:13:22.320" v="22418"/>
          <ac:spMkLst>
            <pc:docMk/>
            <pc:sldMk cId="2710792005" sldId="2147480172"/>
            <ac:spMk id="10" creationId="{8528CD1A-E219-8C40-772D-2F0CC7186B01}"/>
          </ac:spMkLst>
        </pc:spChg>
        <pc:spChg chg="add mod replST">
          <ac:chgData name="Hugo Liabeuf" userId="a9defb0f-a7f4-478c-b61b-a76d3d661b31" providerId="ADAL" clId="{ABD2F74A-712B-4083-A42A-5FB1F7D04898}" dt="2024-06-05T15:13:22.335" v="22451"/>
          <ac:spMkLst>
            <pc:docMk/>
            <pc:sldMk cId="2710792005" sldId="2147480172"/>
            <ac:spMk id="15" creationId="{F9B2D6F0-982B-B677-9637-30E9983E3DC5}"/>
          </ac:spMkLst>
        </pc:spChg>
        <pc:spChg chg="add del mod replST">
          <ac:chgData name="Hugo Liabeuf" userId="a9defb0f-a7f4-478c-b61b-a76d3d661b31" providerId="ADAL" clId="{ABD2F74A-712B-4083-A42A-5FB1F7D04898}" dt="2024-06-04T15:47:52.424" v="10649"/>
          <ac:spMkLst>
            <pc:docMk/>
            <pc:sldMk cId="2710792005" sldId="2147480172"/>
            <ac:spMk id="16" creationId="{06951738-AD01-2B8E-EEFE-6088391E3C70}"/>
          </ac:spMkLst>
        </pc:spChg>
        <pc:spChg chg="add del mod replST">
          <ac:chgData name="Hugo Liabeuf" userId="a9defb0f-a7f4-478c-b61b-a76d3d661b31" providerId="ADAL" clId="{ABD2F74A-712B-4083-A42A-5FB1F7D04898}" dt="2024-06-04T16:01:12.856" v="11906"/>
          <ac:spMkLst>
            <pc:docMk/>
            <pc:sldMk cId="2710792005" sldId="2147480172"/>
            <ac:spMk id="17" creationId="{8164F1B1-0AE6-28D2-E7BD-5F2A1CE3F328}"/>
          </ac:spMkLst>
        </pc:spChg>
        <pc:spChg chg="del mod">
          <ac:chgData name="Hugo Liabeuf" userId="a9defb0f-a7f4-478c-b61b-a76d3d661b31" providerId="ADAL" clId="{ABD2F74A-712B-4083-A42A-5FB1F7D04898}" dt="2024-06-05T09:46:45.170" v="17782"/>
          <ac:spMkLst>
            <pc:docMk/>
            <pc:sldMk cId="2710792005" sldId="2147480172"/>
            <ac:spMk id="18" creationId="{B926D567-524F-4499-A030-E098F89DCD34}"/>
          </ac:spMkLst>
        </pc:spChg>
        <pc:spChg chg="add del mod replST">
          <ac:chgData name="Hugo Liabeuf" userId="a9defb0f-a7f4-478c-b61b-a76d3d661b31" providerId="ADAL" clId="{ABD2F74A-712B-4083-A42A-5FB1F7D04898}" dt="2024-06-04T15:47:52.434" v="10654"/>
          <ac:spMkLst>
            <pc:docMk/>
            <pc:sldMk cId="2710792005" sldId="2147480172"/>
            <ac:spMk id="19" creationId="{0CA512F7-1859-D651-843D-A1A609F62EF7}"/>
          </ac:spMkLst>
        </pc:spChg>
        <pc:spChg chg="add del mod modVis">
          <ac:chgData name="Hugo Liabeuf" userId="a9defb0f-a7f4-478c-b61b-a76d3d661b31" providerId="ADAL" clId="{ABD2F74A-712B-4083-A42A-5FB1F7D04898}" dt="2024-06-05T15:10:10" v="18838"/>
          <ac:spMkLst>
            <pc:docMk/>
            <pc:sldMk cId="2710792005" sldId="2147480172"/>
            <ac:spMk id="19" creationId="{E6065175-FCF7-7511-97CC-58D6885594F7}"/>
          </ac:spMkLst>
        </pc:spChg>
        <pc:spChg chg="add del mod modVis">
          <ac:chgData name="Hugo Liabeuf" userId="a9defb0f-a7f4-478c-b61b-a76d3d661b31" providerId="ADAL" clId="{ABD2F74A-712B-4083-A42A-5FB1F7D04898}" dt="2024-06-05T15:10:11.065" v="18878"/>
          <ac:spMkLst>
            <pc:docMk/>
            <pc:sldMk cId="2710792005" sldId="2147480172"/>
            <ac:spMk id="20" creationId="{0B2FF909-094B-A7EE-F960-650A51C6AEDC}"/>
          </ac:spMkLst>
        </pc:spChg>
        <pc:spChg chg="del mod">
          <ac:chgData name="Hugo Liabeuf" userId="a9defb0f-a7f4-478c-b61b-a76d3d661b31" providerId="ADAL" clId="{ABD2F74A-712B-4083-A42A-5FB1F7D04898}" dt="2024-06-05T09:46:45.170" v="17783"/>
          <ac:spMkLst>
            <pc:docMk/>
            <pc:sldMk cId="2710792005" sldId="2147480172"/>
            <ac:spMk id="20" creationId="{B926D567-524F-4499-A030-E098F89DCD34}"/>
          </ac:spMkLst>
        </pc:spChg>
        <pc:spChg chg="del mod">
          <ac:chgData name="Hugo Liabeuf" userId="a9defb0f-a7f4-478c-b61b-a76d3d661b31" providerId="ADAL" clId="{ABD2F74A-712B-4083-A42A-5FB1F7D04898}" dt="2024-06-05T09:46:45.170" v="17784"/>
          <ac:spMkLst>
            <pc:docMk/>
            <pc:sldMk cId="2710792005" sldId="2147480172"/>
            <ac:spMk id="21" creationId="{B926D567-524F-4499-A030-E098F89DCD34}"/>
          </ac:spMkLst>
        </pc:spChg>
        <pc:spChg chg="add del mod modVis">
          <ac:chgData name="Hugo Liabeuf" userId="a9defb0f-a7f4-478c-b61b-a76d3d661b31" providerId="ADAL" clId="{ABD2F74A-712B-4083-A42A-5FB1F7D04898}" dt="2024-06-05T15:10:40.064" v="19266"/>
          <ac:spMkLst>
            <pc:docMk/>
            <pc:sldMk cId="2710792005" sldId="2147480172"/>
            <ac:spMk id="22" creationId="{3A1CC0F9-A75F-3C54-E858-AF44572F9823}"/>
          </ac:spMkLst>
        </pc:spChg>
        <pc:spChg chg="del mod">
          <ac:chgData name="Hugo Liabeuf" userId="a9defb0f-a7f4-478c-b61b-a76d3d661b31" providerId="ADAL" clId="{ABD2F74A-712B-4083-A42A-5FB1F7D04898}" dt="2024-06-05T09:46:45.170" v="17785"/>
          <ac:spMkLst>
            <pc:docMk/>
            <pc:sldMk cId="2710792005" sldId="2147480172"/>
            <ac:spMk id="22" creationId="{B926D567-524F-4499-A030-E098F89DCD34}"/>
          </ac:spMkLst>
        </pc:spChg>
        <pc:spChg chg="add del mod replST">
          <ac:chgData name="Hugo Liabeuf" userId="a9defb0f-a7f4-478c-b61b-a76d3d661b31" providerId="ADAL" clId="{ABD2F74A-712B-4083-A42A-5FB1F7D04898}" dt="2024-06-05T15:11:18.589" v="20401"/>
          <ac:spMkLst>
            <pc:docMk/>
            <pc:sldMk cId="2710792005" sldId="2147480172"/>
            <ac:spMk id="23" creationId="{B926D567-524F-4499-A030-E098F89DCD34}"/>
          </ac:spMkLst>
        </pc:spChg>
        <pc:spChg chg="del mod">
          <ac:chgData name="Hugo Liabeuf" userId="a9defb0f-a7f4-478c-b61b-a76d3d661b31" providerId="ADAL" clId="{ABD2F74A-712B-4083-A42A-5FB1F7D04898}" dt="2024-06-05T09:46:45.170" v="17787"/>
          <ac:spMkLst>
            <pc:docMk/>
            <pc:sldMk cId="2710792005" sldId="2147480172"/>
            <ac:spMk id="24" creationId="{B926D567-524F-4499-A030-E098F89DCD34}"/>
          </ac:spMkLst>
        </pc:spChg>
        <pc:spChg chg="add del mod replST">
          <ac:chgData name="Hugo Liabeuf" userId="a9defb0f-a7f4-478c-b61b-a76d3d661b31" providerId="ADAL" clId="{ABD2F74A-712B-4083-A42A-5FB1F7D04898}" dt="2024-06-05T15:11:18.589" v="20400"/>
          <ac:spMkLst>
            <pc:docMk/>
            <pc:sldMk cId="2710792005" sldId="2147480172"/>
            <ac:spMk id="24" creationId="{F8A4D2D9-AB54-05FB-264B-5711298697E1}"/>
          </ac:spMkLst>
        </pc:spChg>
        <pc:spChg chg="del mod">
          <ac:chgData name="Hugo Liabeuf" userId="a9defb0f-a7f4-478c-b61b-a76d3d661b31" providerId="ADAL" clId="{ABD2F74A-712B-4083-A42A-5FB1F7D04898}" dt="2024-06-05T09:46:45.170" v="17788"/>
          <ac:spMkLst>
            <pc:docMk/>
            <pc:sldMk cId="2710792005" sldId="2147480172"/>
            <ac:spMk id="25" creationId="{B926D567-524F-4499-A030-E098F89DCD34}"/>
          </ac:spMkLst>
        </pc:spChg>
        <pc:spChg chg="add mod replST">
          <ac:chgData name="Hugo Liabeuf" userId="a9defb0f-a7f4-478c-b61b-a76d3d661b31" providerId="ADAL" clId="{ABD2F74A-712B-4083-A42A-5FB1F7D04898}" dt="2024-06-05T15:13:22.351" v="22452"/>
          <ac:spMkLst>
            <pc:docMk/>
            <pc:sldMk cId="2710792005" sldId="2147480172"/>
            <ac:spMk id="26" creationId="{D24A3DD5-6D57-3DE7-CF7F-75F8C020C0A9}"/>
          </ac:spMkLst>
        </pc:spChg>
        <pc:spChg chg="add del mod replST">
          <ac:chgData name="Hugo Liabeuf" userId="a9defb0f-a7f4-478c-b61b-a76d3d661b31" providerId="ADAL" clId="{ABD2F74A-712B-4083-A42A-5FB1F7D04898}" dt="2024-06-04T15:48:05.023" v="10830"/>
          <ac:spMkLst>
            <pc:docMk/>
            <pc:sldMk cId="2710792005" sldId="2147480172"/>
            <ac:spMk id="27" creationId="{FE3F2564-A9F0-F1E4-EF36-20DC11E09E23}"/>
          </ac:spMkLst>
        </pc:spChg>
        <pc:spChg chg="add mod replST">
          <ac:chgData name="Hugo Liabeuf" userId="a9defb0f-a7f4-478c-b61b-a76d3d661b31" providerId="ADAL" clId="{ABD2F74A-712B-4083-A42A-5FB1F7D04898}" dt="2024-06-05T15:13:22.351" v="22453"/>
          <ac:spMkLst>
            <pc:docMk/>
            <pc:sldMk cId="2710792005" sldId="2147480172"/>
            <ac:spMk id="28" creationId="{F1D230D5-F309-E484-1B81-E558370625C5}"/>
          </ac:spMkLst>
        </pc:spChg>
        <pc:spChg chg="add mod replST">
          <ac:chgData name="Hugo Liabeuf" userId="a9defb0f-a7f4-478c-b61b-a76d3d661b31" providerId="ADAL" clId="{ABD2F74A-712B-4083-A42A-5FB1F7D04898}" dt="2024-06-05T15:13:22.351" v="22454"/>
          <ac:spMkLst>
            <pc:docMk/>
            <pc:sldMk cId="2710792005" sldId="2147480172"/>
            <ac:spMk id="29" creationId="{EC12E3DE-9947-66F4-2C45-A2BA0A2B3E49}"/>
          </ac:spMkLst>
        </pc:spChg>
        <pc:spChg chg="add del mod modVis">
          <ac:chgData name="Hugo Liabeuf" userId="a9defb0f-a7f4-478c-b61b-a76d3d661b31" providerId="ADAL" clId="{ABD2F74A-712B-4083-A42A-5FB1F7D04898}" dt="2024-06-05T15:10:44.571" v="19539"/>
          <ac:spMkLst>
            <pc:docMk/>
            <pc:sldMk cId="2710792005" sldId="2147480172"/>
            <ac:spMk id="30" creationId="{4C6CFFF0-6634-BCAE-4E8E-4BA909887EDD}"/>
          </ac:spMkLst>
        </pc:spChg>
        <pc:spChg chg="add mod replST">
          <ac:chgData name="Hugo Liabeuf" userId="a9defb0f-a7f4-478c-b61b-a76d3d661b31" providerId="ADAL" clId="{ABD2F74A-712B-4083-A42A-5FB1F7D04898}" dt="2024-06-05T15:13:22.351" v="22455"/>
          <ac:spMkLst>
            <pc:docMk/>
            <pc:sldMk cId="2710792005" sldId="2147480172"/>
            <ac:spMk id="33" creationId="{DD652E6F-8EB0-66EA-5B2A-45022C86C13A}"/>
          </ac:spMkLst>
        </pc:spChg>
        <pc:spChg chg="del mod">
          <ac:chgData name="Hugo Liabeuf" userId="a9defb0f-a7f4-478c-b61b-a76d3d661b31" providerId="ADAL" clId="{ABD2F74A-712B-4083-A42A-5FB1F7D04898}" dt="2024-06-05T09:46:45.170" v="17789"/>
          <ac:spMkLst>
            <pc:docMk/>
            <pc:sldMk cId="2710792005" sldId="2147480172"/>
            <ac:spMk id="34" creationId="{B926D567-524F-4499-A030-E098F89DCD34}"/>
          </ac:spMkLst>
        </pc:spChg>
        <pc:spChg chg="add del mod modVis">
          <ac:chgData name="Hugo Liabeuf" userId="a9defb0f-a7f4-478c-b61b-a76d3d661b31" providerId="ADAL" clId="{ABD2F74A-712B-4083-A42A-5FB1F7D04898}" dt="2024-06-05T15:10:59.942" v="19887"/>
          <ac:spMkLst>
            <pc:docMk/>
            <pc:sldMk cId="2710792005" sldId="2147480172"/>
            <ac:spMk id="34" creationId="{F494B9B6-55A7-5AEB-4D91-763261CCD89D}"/>
          </ac:spMkLst>
        </pc:spChg>
        <pc:spChg chg="add del mod replST">
          <ac:chgData name="Hugo Liabeuf" userId="a9defb0f-a7f4-478c-b61b-a76d3d661b31" providerId="ADAL" clId="{ABD2F74A-712B-4083-A42A-5FB1F7D04898}" dt="2024-06-05T15:11:20" v="20560"/>
          <ac:spMkLst>
            <pc:docMk/>
            <pc:sldMk cId="2710792005" sldId="2147480172"/>
            <ac:spMk id="35" creationId="{B926D567-524F-4499-A030-E098F89DCD34}"/>
          </ac:spMkLst>
        </pc:spChg>
        <pc:spChg chg="add del mod replST">
          <ac:chgData name="Hugo Liabeuf" userId="a9defb0f-a7f4-478c-b61b-a76d3d661b31" providerId="ADAL" clId="{ABD2F74A-712B-4083-A42A-5FB1F7D04898}" dt="2024-06-05T15:11:20" v="20559"/>
          <ac:spMkLst>
            <pc:docMk/>
            <pc:sldMk cId="2710792005" sldId="2147480172"/>
            <ac:spMk id="36" creationId="{7506F7CE-9E6E-8AC1-93D3-5B19DD168529}"/>
          </ac:spMkLst>
        </pc:spChg>
        <pc:spChg chg="add del mod modVis">
          <ac:chgData name="Hugo Liabeuf" userId="a9defb0f-a7f4-478c-b61b-a76d3d661b31" providerId="ADAL" clId="{ABD2F74A-712B-4083-A42A-5FB1F7D04898}" dt="2024-06-05T15:11:06.728" v="20165"/>
          <ac:spMkLst>
            <pc:docMk/>
            <pc:sldMk cId="2710792005" sldId="2147480172"/>
            <ac:spMk id="39" creationId="{534EE435-7391-175B-2D1F-EA67BA2A871E}"/>
          </ac:spMkLst>
        </pc:spChg>
        <pc:spChg chg="add del mod modVis">
          <ac:chgData name="Hugo Liabeuf" userId="a9defb0f-a7f4-478c-b61b-a76d3d661b31" providerId="ADAL" clId="{ABD2F74A-712B-4083-A42A-5FB1F7D04898}" dt="2024-06-05T15:11:12.370" v="20395"/>
          <ac:spMkLst>
            <pc:docMk/>
            <pc:sldMk cId="2710792005" sldId="2147480172"/>
            <ac:spMk id="41" creationId="{B2680AD5-528E-5DF3-CC8D-17BA68328639}"/>
          </ac:spMkLst>
        </pc:spChg>
        <pc:spChg chg="add del mod modVis">
          <ac:chgData name="Hugo Liabeuf" userId="a9defb0f-a7f4-478c-b61b-a76d3d661b31" providerId="ADAL" clId="{ABD2F74A-712B-4083-A42A-5FB1F7D04898}" dt="2024-06-05T15:11:18.773" v="20554"/>
          <ac:spMkLst>
            <pc:docMk/>
            <pc:sldMk cId="2710792005" sldId="2147480172"/>
            <ac:spMk id="43" creationId="{E9A39674-B04D-440D-4913-2C99ED3BB855}"/>
          </ac:spMkLst>
        </pc:spChg>
        <pc:spChg chg="add mod replST">
          <ac:chgData name="Hugo Liabeuf" userId="a9defb0f-a7f4-478c-b61b-a76d3d661b31" providerId="ADAL" clId="{ABD2F74A-712B-4083-A42A-5FB1F7D04898}" dt="2024-06-05T15:13:22.351" v="22456"/>
          <ac:spMkLst>
            <pc:docMk/>
            <pc:sldMk cId="2710792005" sldId="2147480172"/>
            <ac:spMk id="45" creationId="{00BE26AC-DDEF-4FB0-06E3-25C5317C1F05}"/>
          </ac:spMkLst>
        </pc:spChg>
        <pc:spChg chg="add mod replST">
          <ac:chgData name="Hugo Liabeuf" userId="a9defb0f-a7f4-478c-b61b-a76d3d661b31" providerId="ADAL" clId="{ABD2F74A-712B-4083-A42A-5FB1F7D04898}" dt="2024-06-05T15:13:22.351" v="22457"/>
          <ac:spMkLst>
            <pc:docMk/>
            <pc:sldMk cId="2710792005" sldId="2147480172"/>
            <ac:spMk id="46" creationId="{A04B88BF-4914-0143-58F8-561B32BAA8F3}"/>
          </ac:spMkLst>
        </pc:spChg>
        <pc:spChg chg="add mod replST">
          <ac:chgData name="Hugo Liabeuf" userId="a9defb0f-a7f4-478c-b61b-a76d3d661b31" providerId="ADAL" clId="{ABD2F74A-712B-4083-A42A-5FB1F7D04898}" dt="2024-06-05T15:13:40.015" v="22968"/>
          <ac:spMkLst>
            <pc:docMk/>
            <pc:sldMk cId="2710792005" sldId="2147480172"/>
            <ac:spMk id="47" creationId="{7955C530-3BAA-B707-1BFE-06280BA683CD}"/>
          </ac:spMkLst>
        </pc:spChg>
        <pc:spChg chg="add mod replST">
          <ac:chgData name="Hugo Liabeuf" userId="a9defb0f-a7f4-478c-b61b-a76d3d661b31" providerId="ADAL" clId="{ABD2F74A-712B-4083-A42A-5FB1F7D04898}" dt="2024-06-05T15:13:40.015" v="22976"/>
          <ac:spMkLst>
            <pc:docMk/>
            <pc:sldMk cId="2710792005" sldId="2147480172"/>
            <ac:spMk id="48" creationId="{3A1ECD36-88DE-6F5F-D252-1ACF22FC0A6B}"/>
          </ac:spMkLst>
        </pc:spChg>
        <pc:spChg chg="add mod replST">
          <ac:chgData name="Hugo Liabeuf" userId="a9defb0f-a7f4-478c-b61b-a76d3d661b31" providerId="ADAL" clId="{ABD2F74A-712B-4083-A42A-5FB1F7D04898}" dt="2024-06-05T15:13:40.015" v="22984"/>
          <ac:spMkLst>
            <pc:docMk/>
            <pc:sldMk cId="2710792005" sldId="2147480172"/>
            <ac:spMk id="49" creationId="{2BEF8691-2063-6C1D-C8EF-BD6BA31CE238}"/>
          </ac:spMkLst>
        </pc:spChg>
        <pc:spChg chg="add mod replST">
          <ac:chgData name="Hugo Liabeuf" userId="a9defb0f-a7f4-478c-b61b-a76d3d661b31" providerId="ADAL" clId="{ABD2F74A-712B-4083-A42A-5FB1F7D04898}" dt="2024-06-05T15:13:40.031" v="22992"/>
          <ac:spMkLst>
            <pc:docMk/>
            <pc:sldMk cId="2710792005" sldId="2147480172"/>
            <ac:spMk id="50" creationId="{5D9DF8A3-398E-CBEC-759E-74D7936BC852}"/>
          </ac:spMkLst>
        </pc:spChg>
        <pc:spChg chg="add del mod modVis">
          <ac:chgData name="Hugo Liabeuf" userId="a9defb0f-a7f4-478c-b61b-a76d3d661b31" providerId="ADAL" clId="{ABD2F74A-712B-4083-A42A-5FB1F7D04898}" dt="2024-06-05T15:11:20.192" v="20708"/>
          <ac:spMkLst>
            <pc:docMk/>
            <pc:sldMk cId="2710792005" sldId="2147480172"/>
            <ac:spMk id="51" creationId="{2CA309C3-917F-A3A6-A748-2A9D6E3453B6}"/>
          </ac:spMkLst>
        </pc:spChg>
        <pc:spChg chg="add del mod ord replST">
          <ac:chgData name="Hugo Liabeuf" userId="a9defb0f-a7f4-478c-b61b-a76d3d661b31" providerId="ADAL" clId="{ABD2F74A-712B-4083-A42A-5FB1F7D04898}" dt="2024-06-05T09:00:04.815" v="17199"/>
          <ac:spMkLst>
            <pc:docMk/>
            <pc:sldMk cId="2710792005" sldId="2147480172"/>
            <ac:spMk id="51" creationId="{AC7FBA63-6E03-44A4-3E10-D3BDEF93C9E4}"/>
          </ac:spMkLst>
        </pc:spChg>
        <pc:spChg chg="add mod replST">
          <ac:chgData name="Hugo Liabeuf" userId="a9defb0f-a7f4-478c-b61b-a76d3d661b31" providerId="ADAL" clId="{ABD2F74A-712B-4083-A42A-5FB1F7D04898}" dt="2024-06-05T15:13:40.031" v="23000"/>
          <ac:spMkLst>
            <pc:docMk/>
            <pc:sldMk cId="2710792005" sldId="2147480172"/>
            <ac:spMk id="52" creationId="{8B5E8ACA-DDD4-A82E-C019-CB4D476EDA3E}"/>
          </ac:spMkLst>
        </pc:spChg>
        <pc:spChg chg="add mod ord replST">
          <ac:chgData name="Hugo Liabeuf" userId="a9defb0f-a7f4-478c-b61b-a76d3d661b31" providerId="ADAL" clId="{ABD2F74A-712B-4083-A42A-5FB1F7D04898}" dt="2024-06-05T15:13:40.031" v="23012"/>
          <ac:spMkLst>
            <pc:docMk/>
            <pc:sldMk cId="2710792005" sldId="2147480172"/>
            <ac:spMk id="53" creationId="{EBFFF237-8371-B340-E301-9DC72E3FDDF5}"/>
          </ac:spMkLst>
        </pc:spChg>
        <pc:spChg chg="mod">
          <ac:chgData name="Hugo Liabeuf" userId="a9defb0f-a7f4-478c-b61b-a76d3d661b31" providerId="ADAL" clId="{ABD2F74A-712B-4083-A42A-5FB1F7D04898}" dt="2024-06-05T15:13:44.250" v="23059"/>
          <ac:spMkLst>
            <pc:docMk/>
            <pc:sldMk cId="2710792005" sldId="2147480172"/>
            <ac:spMk id="60" creationId="{BCE5E507-7D06-8D2E-6DEA-6E269AE124B9}"/>
          </ac:spMkLst>
        </pc:spChg>
        <pc:spChg chg="mod">
          <ac:chgData name="Hugo Liabeuf" userId="a9defb0f-a7f4-478c-b61b-a76d3d661b31" providerId="ADAL" clId="{ABD2F74A-712B-4083-A42A-5FB1F7D04898}" dt="2024-06-05T15:13:44.266" v="23085"/>
          <ac:spMkLst>
            <pc:docMk/>
            <pc:sldMk cId="2710792005" sldId="2147480172"/>
            <ac:spMk id="61" creationId="{EF344034-BBFF-BABA-7A46-9729D13202C9}"/>
          </ac:spMkLst>
        </pc:spChg>
        <pc:spChg chg="mod">
          <ac:chgData name="Hugo Liabeuf" userId="a9defb0f-a7f4-478c-b61b-a76d3d661b31" providerId="ADAL" clId="{ABD2F74A-712B-4083-A42A-5FB1F7D04898}" dt="2024-06-05T15:13:44.281" v="23111"/>
          <ac:spMkLst>
            <pc:docMk/>
            <pc:sldMk cId="2710792005" sldId="2147480172"/>
            <ac:spMk id="62" creationId="{B7D8552D-A755-2793-6C63-CC8BA3696306}"/>
          </ac:spMkLst>
        </pc:spChg>
        <pc:spChg chg="mod">
          <ac:chgData name="Hugo Liabeuf" userId="a9defb0f-a7f4-478c-b61b-a76d3d661b31" providerId="ADAL" clId="{ABD2F74A-712B-4083-A42A-5FB1F7D04898}" dt="2024-06-05T15:13:44.298" v="23137"/>
          <ac:spMkLst>
            <pc:docMk/>
            <pc:sldMk cId="2710792005" sldId="2147480172"/>
            <ac:spMk id="63" creationId="{67B41AC7-5FAF-D304-A79E-D3DA8745F504}"/>
          </ac:spMkLst>
        </pc:spChg>
        <pc:spChg chg="mod">
          <ac:chgData name="Hugo Liabeuf" userId="a9defb0f-a7f4-478c-b61b-a76d3d661b31" providerId="ADAL" clId="{ABD2F74A-712B-4083-A42A-5FB1F7D04898}" dt="2024-06-05T15:13:44.298" v="23163"/>
          <ac:spMkLst>
            <pc:docMk/>
            <pc:sldMk cId="2710792005" sldId="2147480172"/>
            <ac:spMk id="64" creationId="{1709261E-9FA1-1825-9F1C-C05DF46675B8}"/>
          </ac:spMkLst>
        </pc:spChg>
        <pc:spChg chg="mod">
          <ac:chgData name="Hugo Liabeuf" userId="a9defb0f-a7f4-478c-b61b-a76d3d661b31" providerId="ADAL" clId="{ABD2F74A-712B-4083-A42A-5FB1F7D04898}" dt="2024-06-05T15:13:44.321" v="23189"/>
          <ac:spMkLst>
            <pc:docMk/>
            <pc:sldMk cId="2710792005" sldId="2147480172"/>
            <ac:spMk id="65" creationId="{A43FE94B-B97F-1860-CD5A-6757C71366C2}"/>
          </ac:spMkLst>
        </pc:spChg>
        <pc:spChg chg="add mod replST">
          <ac:chgData name="Hugo Liabeuf" userId="a9defb0f-a7f4-478c-b61b-a76d3d661b31" providerId="ADAL" clId="{ABD2F74A-712B-4083-A42A-5FB1F7D04898}" dt="2024-06-05T15:13:44.219" v="23027"/>
          <ac:spMkLst>
            <pc:docMk/>
            <pc:sldMk cId="2710792005" sldId="2147480172"/>
            <ac:spMk id="66" creationId="{880A09B3-9CA8-4F76-EAB8-0329BE76EBD6}"/>
          </ac:spMkLst>
        </pc:spChg>
        <pc:spChg chg="del mod ord">
          <ac:chgData name="Hugo Liabeuf" userId="a9defb0f-a7f4-478c-b61b-a76d3d661b31" providerId="ADAL" clId="{ABD2F74A-712B-4083-A42A-5FB1F7D04898}" dt="2024-06-04T15:45:04.139" v="9294"/>
          <ac:spMkLst>
            <pc:docMk/>
            <pc:sldMk cId="2710792005" sldId="2147480172"/>
            <ac:spMk id="67" creationId="{996ED929-DA39-A527-F86B-7A7C619D315F}"/>
          </ac:spMkLst>
        </pc:spChg>
        <pc:spChg chg="del mod ord">
          <ac:chgData name="Hugo Liabeuf" userId="a9defb0f-a7f4-478c-b61b-a76d3d661b31" providerId="ADAL" clId="{ABD2F74A-712B-4083-A42A-5FB1F7D04898}" dt="2024-06-04T15:45:04.139" v="9310"/>
          <ac:spMkLst>
            <pc:docMk/>
            <pc:sldMk cId="2710792005" sldId="2147480172"/>
            <ac:spMk id="68" creationId="{125C8DED-6F01-AB10-3045-3946F881DB8D}"/>
          </ac:spMkLst>
        </pc:spChg>
        <pc:spChg chg="add mod replST">
          <ac:chgData name="Hugo Liabeuf" userId="a9defb0f-a7f4-478c-b61b-a76d3d661b31" providerId="ADAL" clId="{ABD2F74A-712B-4083-A42A-5FB1F7D04898}" dt="2024-06-05T15:13:44.219" v="23028"/>
          <ac:spMkLst>
            <pc:docMk/>
            <pc:sldMk cId="2710792005" sldId="2147480172"/>
            <ac:spMk id="69" creationId="{82F911CB-0A25-E3A0-B68E-C8D8F2A36665}"/>
          </ac:spMkLst>
        </pc:spChg>
        <pc:spChg chg="add mod replST">
          <ac:chgData name="Hugo Liabeuf" userId="a9defb0f-a7f4-478c-b61b-a76d3d661b31" providerId="ADAL" clId="{ABD2F74A-712B-4083-A42A-5FB1F7D04898}" dt="2024-06-05T15:13:44.219" v="23029"/>
          <ac:spMkLst>
            <pc:docMk/>
            <pc:sldMk cId="2710792005" sldId="2147480172"/>
            <ac:spMk id="70" creationId="{45D89EFD-4AF9-E4C3-3909-13268E599626}"/>
          </ac:spMkLst>
        </pc:spChg>
        <pc:spChg chg="add mod replST">
          <ac:chgData name="Hugo Liabeuf" userId="a9defb0f-a7f4-478c-b61b-a76d3d661b31" providerId="ADAL" clId="{ABD2F74A-712B-4083-A42A-5FB1F7D04898}" dt="2024-06-05T15:13:44.219" v="23030"/>
          <ac:spMkLst>
            <pc:docMk/>
            <pc:sldMk cId="2710792005" sldId="2147480172"/>
            <ac:spMk id="71" creationId="{C7A6585E-8560-061B-6DA0-FA48BC901910}"/>
          </ac:spMkLst>
        </pc:spChg>
        <pc:spChg chg="del mod">
          <ac:chgData name="Hugo Liabeuf" userId="a9defb0f-a7f4-478c-b61b-a76d3d661b31" providerId="ADAL" clId="{ABD2F74A-712B-4083-A42A-5FB1F7D04898}" dt="2024-06-04T15:45:04.157" v="9325"/>
          <ac:spMkLst>
            <pc:docMk/>
            <pc:sldMk cId="2710792005" sldId="2147480172"/>
            <ac:spMk id="72" creationId="{225D1A7A-B3EC-4182-6CEC-882758B4369A}"/>
          </ac:spMkLst>
        </pc:spChg>
        <pc:spChg chg="del mod">
          <ac:chgData name="Hugo Liabeuf" userId="a9defb0f-a7f4-478c-b61b-a76d3d661b31" providerId="ADAL" clId="{ABD2F74A-712B-4083-A42A-5FB1F7D04898}" dt="2024-06-04T15:45:04.006" v="9243"/>
          <ac:spMkLst>
            <pc:docMk/>
            <pc:sldMk cId="2710792005" sldId="2147480172"/>
            <ac:spMk id="73" creationId="{B926D567-524F-4499-A030-E098F89DCD34}"/>
          </ac:spMkLst>
        </pc:spChg>
        <pc:spChg chg="del mod">
          <ac:chgData name="Hugo Liabeuf" userId="a9defb0f-a7f4-478c-b61b-a76d3d661b31" providerId="ADAL" clId="{ABD2F74A-712B-4083-A42A-5FB1F7D04898}" dt="2024-06-04T15:45:04.006" v="9242"/>
          <ac:spMkLst>
            <pc:docMk/>
            <pc:sldMk cId="2710792005" sldId="2147480172"/>
            <ac:spMk id="74" creationId="{FA97099B-CBA4-7469-856C-ABFF1610CCA0}"/>
          </ac:spMkLst>
        </pc:spChg>
        <pc:spChg chg="add del mod replST">
          <ac:chgData name="Hugo Liabeuf" userId="a9defb0f-a7f4-478c-b61b-a76d3d661b31" providerId="ADAL" clId="{ABD2F74A-712B-4083-A42A-5FB1F7D04898}" dt="2024-06-05T09:00:04.815" v="17200"/>
          <ac:spMkLst>
            <pc:docMk/>
            <pc:sldMk cId="2710792005" sldId="2147480172"/>
            <ac:spMk id="76" creationId="{97AB6163-1DDD-97AD-0CE6-BC9B798CF6D5}"/>
          </ac:spMkLst>
        </pc:spChg>
        <pc:spChg chg="add mod replST">
          <ac:chgData name="Hugo Liabeuf" userId="a9defb0f-a7f4-478c-b61b-a76d3d661b31" providerId="ADAL" clId="{ABD2F74A-712B-4083-A42A-5FB1F7D04898}" dt="2024-06-05T15:13:44.219" v="23031"/>
          <ac:spMkLst>
            <pc:docMk/>
            <pc:sldMk cId="2710792005" sldId="2147480172"/>
            <ac:spMk id="77" creationId="{CA60CA01-BC61-6C55-1C36-14DA788AAB11}"/>
          </ac:spMkLst>
        </pc:spChg>
        <pc:spChg chg="add mod replST">
          <ac:chgData name="Hugo Liabeuf" userId="a9defb0f-a7f4-478c-b61b-a76d3d661b31" providerId="ADAL" clId="{ABD2F74A-712B-4083-A42A-5FB1F7D04898}" dt="2024-06-05T15:13:44.219" v="23032"/>
          <ac:spMkLst>
            <pc:docMk/>
            <pc:sldMk cId="2710792005" sldId="2147480172"/>
            <ac:spMk id="78" creationId="{4415A80B-DCBA-74A7-7C4E-1973B9DFD8A8}"/>
          </ac:spMkLst>
        </pc:spChg>
        <pc:spChg chg="add del mod modVis">
          <ac:chgData name="Hugo Liabeuf" userId="a9defb0f-a7f4-478c-b61b-a76d3d661b31" providerId="ADAL" clId="{ABD2F74A-712B-4083-A42A-5FB1F7D04898}" dt="2024-06-04T15:43:00.778" v="7018"/>
          <ac:spMkLst>
            <pc:docMk/>
            <pc:sldMk cId="2710792005" sldId="2147480172"/>
            <ac:spMk id="79" creationId="{974C4712-7079-361D-9B84-435BD088EC2C}"/>
          </ac:spMkLst>
        </pc:spChg>
        <pc:spChg chg="add del mod ord replST">
          <ac:chgData name="Hugo Liabeuf" userId="a9defb0f-a7f4-478c-b61b-a76d3d661b31" providerId="ADAL" clId="{ABD2F74A-712B-4083-A42A-5FB1F7D04898}" dt="2024-06-04T15:44:30.922" v="8853"/>
          <ac:spMkLst>
            <pc:docMk/>
            <pc:sldMk cId="2710792005" sldId="2147480172"/>
            <ac:spMk id="82" creationId="{FC728806-442A-3862-7A74-9AD0A880B111}"/>
          </ac:spMkLst>
        </pc:spChg>
        <pc:spChg chg="add del mod ord replST">
          <ac:chgData name="Hugo Liabeuf" userId="a9defb0f-a7f4-478c-b61b-a76d3d661b31" providerId="ADAL" clId="{ABD2F74A-712B-4083-A42A-5FB1F7D04898}" dt="2024-06-04T15:44:30.944" v="8869"/>
          <ac:spMkLst>
            <pc:docMk/>
            <pc:sldMk cId="2710792005" sldId="2147480172"/>
            <ac:spMk id="83" creationId="{20425ED3-7293-62AD-E2FE-D7BB6B49410A}"/>
          </ac:spMkLst>
        </pc:spChg>
        <pc:spChg chg="add del mod replST">
          <ac:chgData name="Hugo Liabeuf" userId="a9defb0f-a7f4-478c-b61b-a76d3d661b31" providerId="ADAL" clId="{ABD2F74A-712B-4083-A42A-5FB1F7D04898}" dt="2024-06-04T15:44:30.957" v="8884"/>
          <ac:spMkLst>
            <pc:docMk/>
            <pc:sldMk cId="2710792005" sldId="2147480172"/>
            <ac:spMk id="84" creationId="{CECEBC50-A214-3C48-7839-C22B56FC6CA5}"/>
          </ac:spMkLst>
        </pc:spChg>
        <pc:spChg chg="add del mod ord replST">
          <ac:chgData name="Hugo Liabeuf" userId="a9defb0f-a7f4-478c-b61b-a76d3d661b31" providerId="ADAL" clId="{ABD2F74A-712B-4083-A42A-5FB1F7D04898}" dt="2024-06-04T15:44:30.962" v="8897"/>
          <ac:spMkLst>
            <pc:docMk/>
            <pc:sldMk cId="2710792005" sldId="2147480172"/>
            <ac:spMk id="85" creationId="{A0423EE4-C927-990A-6DA7-61E5B36DEBC6}"/>
          </ac:spMkLst>
        </pc:spChg>
        <pc:spChg chg="add del mod ord replST">
          <ac:chgData name="Hugo Liabeuf" userId="a9defb0f-a7f4-478c-b61b-a76d3d661b31" providerId="ADAL" clId="{ABD2F74A-712B-4083-A42A-5FB1F7D04898}" dt="2024-06-04T15:44:30.982" v="8913"/>
          <ac:spMkLst>
            <pc:docMk/>
            <pc:sldMk cId="2710792005" sldId="2147480172"/>
            <ac:spMk id="86" creationId="{C510AD5E-0861-06D6-5353-4F1054594D6A}"/>
          </ac:spMkLst>
        </pc:spChg>
        <pc:spChg chg="add del mod replST">
          <ac:chgData name="Hugo Liabeuf" userId="a9defb0f-a7f4-478c-b61b-a76d3d661b31" providerId="ADAL" clId="{ABD2F74A-712B-4083-A42A-5FB1F7D04898}" dt="2024-06-04T15:44:30.991" v="8928"/>
          <ac:spMkLst>
            <pc:docMk/>
            <pc:sldMk cId="2710792005" sldId="2147480172"/>
            <ac:spMk id="87" creationId="{C283594D-2A8F-E1E3-E4DA-6007E8FF9615}"/>
          </ac:spMkLst>
        </pc:spChg>
        <pc:spChg chg="add del mod ord replST">
          <ac:chgData name="Hugo Liabeuf" userId="a9defb0f-a7f4-478c-b61b-a76d3d661b31" providerId="ADAL" clId="{ABD2F74A-712B-4083-A42A-5FB1F7D04898}" dt="2024-06-04T15:44:30.993" v="8941"/>
          <ac:spMkLst>
            <pc:docMk/>
            <pc:sldMk cId="2710792005" sldId="2147480172"/>
            <ac:spMk id="88" creationId="{8BC1104B-3B8F-C457-B914-B497E844B65B}"/>
          </ac:spMkLst>
        </pc:spChg>
        <pc:spChg chg="add del mod ord replST">
          <ac:chgData name="Hugo Liabeuf" userId="a9defb0f-a7f4-478c-b61b-a76d3d661b31" providerId="ADAL" clId="{ABD2F74A-712B-4083-A42A-5FB1F7D04898}" dt="2024-06-04T15:44:31.010" v="8957"/>
          <ac:spMkLst>
            <pc:docMk/>
            <pc:sldMk cId="2710792005" sldId="2147480172"/>
            <ac:spMk id="89" creationId="{D31D6646-D478-79A2-9369-19B915596565}"/>
          </ac:spMkLst>
        </pc:spChg>
        <pc:spChg chg="add del mod replST">
          <ac:chgData name="Hugo Liabeuf" userId="a9defb0f-a7f4-478c-b61b-a76d3d661b31" providerId="ADAL" clId="{ABD2F74A-712B-4083-A42A-5FB1F7D04898}" dt="2024-06-04T15:44:31.019" v="8972"/>
          <ac:spMkLst>
            <pc:docMk/>
            <pc:sldMk cId="2710792005" sldId="2147480172"/>
            <ac:spMk id="90" creationId="{93785029-F5D8-002A-08DF-151CDE1EEA1B}"/>
          </ac:spMkLst>
        </pc:spChg>
        <pc:spChg chg="add del mod replST">
          <ac:chgData name="Hugo Liabeuf" userId="a9defb0f-a7f4-478c-b61b-a76d3d661b31" providerId="ADAL" clId="{ABD2F74A-712B-4083-A42A-5FB1F7D04898}" dt="2024-06-05T09:46:47.739" v="17969"/>
          <ac:spMkLst>
            <pc:docMk/>
            <pc:sldMk cId="2710792005" sldId="2147480172"/>
            <ac:spMk id="91" creationId="{B926D567-524F-4499-A030-E098F89DCD34}"/>
          </ac:spMkLst>
        </pc:spChg>
        <pc:spChg chg="add del mod modVis">
          <ac:chgData name="Hugo Liabeuf" userId="a9defb0f-a7f4-478c-b61b-a76d3d661b31" providerId="ADAL" clId="{ABD2F74A-712B-4083-A42A-5FB1F7D04898}" dt="2024-06-04T15:43:38.606" v="7693"/>
          <ac:spMkLst>
            <pc:docMk/>
            <pc:sldMk cId="2710792005" sldId="2147480172"/>
            <ac:spMk id="92" creationId="{CD41FE64-00C1-C514-1C93-40008AE5F6B4}"/>
          </ac:spMkLst>
        </pc:spChg>
        <pc:spChg chg="add del mod replST">
          <ac:chgData name="Hugo Liabeuf" userId="a9defb0f-a7f4-478c-b61b-a76d3d661b31" providerId="ADAL" clId="{ABD2F74A-712B-4083-A42A-5FB1F7D04898}" dt="2024-06-05T09:46:47.739" v="17976"/>
          <ac:spMkLst>
            <pc:docMk/>
            <pc:sldMk cId="2710792005" sldId="2147480172"/>
            <ac:spMk id="93" creationId="{B926D567-524F-4499-A030-E098F89DCD34}"/>
          </ac:spMkLst>
        </pc:spChg>
        <pc:spChg chg="mod ord">
          <ac:chgData name="Hugo Liabeuf" userId="a9defb0f-a7f4-478c-b61b-a76d3d661b31" providerId="ADAL" clId="{ABD2F74A-712B-4083-A42A-5FB1F7D04898}" dt="2024-06-05T15:13:22.320" v="22408"/>
          <ac:spMkLst>
            <pc:docMk/>
            <pc:sldMk cId="2710792005" sldId="2147480172"/>
            <ac:spMk id="94" creationId="{31230233-1BDB-2634-5118-A96794BE4D9A}"/>
          </ac:spMkLst>
        </pc:spChg>
        <pc:spChg chg="mod ord">
          <ac:chgData name="Hugo Liabeuf" userId="a9defb0f-a7f4-478c-b61b-a76d3d661b31" providerId="ADAL" clId="{ABD2F74A-712B-4083-A42A-5FB1F7D04898}" dt="2024-06-05T15:13:22.320" v="22406"/>
          <ac:spMkLst>
            <pc:docMk/>
            <pc:sldMk cId="2710792005" sldId="2147480172"/>
            <ac:spMk id="95" creationId="{D19489C9-8145-F0D5-5DD5-06FBAF3B3AF5}"/>
          </ac:spMkLst>
        </pc:spChg>
        <pc:spChg chg="add del mod ord replST">
          <ac:chgData name="Hugo Liabeuf" userId="a9defb0f-a7f4-478c-b61b-a76d3d661b31" providerId="ADAL" clId="{ABD2F74A-712B-4083-A42A-5FB1F7D04898}" dt="2024-06-04T15:47:15.190" v="9928"/>
          <ac:spMkLst>
            <pc:docMk/>
            <pc:sldMk cId="2710792005" sldId="2147480172"/>
            <ac:spMk id="102" creationId="{084EA06B-FB97-87A1-955D-5FD67AF5558D}"/>
          </ac:spMkLst>
        </pc:spChg>
        <pc:spChg chg="add del mod ord replST">
          <ac:chgData name="Hugo Liabeuf" userId="a9defb0f-a7f4-478c-b61b-a76d3d661b31" providerId="ADAL" clId="{ABD2F74A-712B-4083-A42A-5FB1F7D04898}" dt="2024-06-04T15:47:15.190" v="9944"/>
          <ac:spMkLst>
            <pc:docMk/>
            <pc:sldMk cId="2710792005" sldId="2147480172"/>
            <ac:spMk id="103" creationId="{F8E15B20-9AA8-1C2A-607F-B4BA98B14E3B}"/>
          </ac:spMkLst>
        </pc:spChg>
        <pc:spChg chg="add del mod replST">
          <ac:chgData name="Hugo Liabeuf" userId="a9defb0f-a7f4-478c-b61b-a76d3d661b31" providerId="ADAL" clId="{ABD2F74A-712B-4083-A42A-5FB1F7D04898}" dt="2024-06-04T15:47:15.209" v="9959"/>
          <ac:spMkLst>
            <pc:docMk/>
            <pc:sldMk cId="2710792005" sldId="2147480172"/>
            <ac:spMk id="104" creationId="{4FB1B2A9-D599-B37A-1013-099E2921F207}"/>
          </ac:spMkLst>
        </pc:spChg>
        <pc:spChg chg="add del mod ord replST">
          <ac:chgData name="Hugo Liabeuf" userId="a9defb0f-a7f4-478c-b61b-a76d3d661b31" providerId="ADAL" clId="{ABD2F74A-712B-4083-A42A-5FB1F7D04898}" dt="2024-06-04T15:47:15.229" v="9972"/>
          <ac:spMkLst>
            <pc:docMk/>
            <pc:sldMk cId="2710792005" sldId="2147480172"/>
            <ac:spMk id="105" creationId="{B8CE0761-653E-D3D9-E4A9-FB6FF1511912}"/>
          </ac:spMkLst>
        </pc:spChg>
        <pc:spChg chg="add del mod ord replST">
          <ac:chgData name="Hugo Liabeuf" userId="a9defb0f-a7f4-478c-b61b-a76d3d661b31" providerId="ADAL" clId="{ABD2F74A-712B-4083-A42A-5FB1F7D04898}" dt="2024-06-04T15:47:15.229" v="9988"/>
          <ac:spMkLst>
            <pc:docMk/>
            <pc:sldMk cId="2710792005" sldId="2147480172"/>
            <ac:spMk id="106" creationId="{78C04511-EB22-B9E8-CCD0-8A5384ABD82E}"/>
          </ac:spMkLst>
        </pc:spChg>
        <pc:spChg chg="add del mod replST">
          <ac:chgData name="Hugo Liabeuf" userId="a9defb0f-a7f4-478c-b61b-a76d3d661b31" providerId="ADAL" clId="{ABD2F74A-712B-4083-A42A-5FB1F7D04898}" dt="2024-06-04T15:47:15.247" v="10003"/>
          <ac:spMkLst>
            <pc:docMk/>
            <pc:sldMk cId="2710792005" sldId="2147480172"/>
            <ac:spMk id="109" creationId="{030D680C-6846-3E01-0124-F7449E9DD82A}"/>
          </ac:spMkLst>
        </pc:spChg>
        <pc:spChg chg="add del mod ord replST">
          <ac:chgData name="Hugo Liabeuf" userId="a9defb0f-a7f4-478c-b61b-a76d3d661b31" providerId="ADAL" clId="{ABD2F74A-712B-4083-A42A-5FB1F7D04898}" dt="2024-06-04T15:47:15.247" v="10016"/>
          <ac:spMkLst>
            <pc:docMk/>
            <pc:sldMk cId="2710792005" sldId="2147480172"/>
            <ac:spMk id="110" creationId="{C711CB2C-022A-6392-3797-4F79F55B5242}"/>
          </ac:spMkLst>
        </pc:spChg>
        <pc:spChg chg="add del mod ord replST">
          <ac:chgData name="Hugo Liabeuf" userId="a9defb0f-a7f4-478c-b61b-a76d3d661b31" providerId="ADAL" clId="{ABD2F74A-712B-4083-A42A-5FB1F7D04898}" dt="2024-06-04T15:47:15.263" v="10032"/>
          <ac:spMkLst>
            <pc:docMk/>
            <pc:sldMk cId="2710792005" sldId="2147480172"/>
            <ac:spMk id="111" creationId="{77FEC853-FAAA-2875-948F-A17E5957A526}"/>
          </ac:spMkLst>
        </pc:spChg>
        <pc:spChg chg="add del mod replST">
          <ac:chgData name="Hugo Liabeuf" userId="a9defb0f-a7f4-478c-b61b-a76d3d661b31" providerId="ADAL" clId="{ABD2F74A-712B-4083-A42A-5FB1F7D04898}" dt="2024-06-04T15:47:15.272" v="10047"/>
          <ac:spMkLst>
            <pc:docMk/>
            <pc:sldMk cId="2710792005" sldId="2147480172"/>
            <ac:spMk id="112" creationId="{4B3830C0-E375-F7CE-D15C-B01ECBC05641}"/>
          </ac:spMkLst>
        </pc:spChg>
        <pc:spChg chg="add del mod modVis">
          <ac:chgData name="Hugo Liabeuf" userId="a9defb0f-a7f4-478c-b61b-a76d3d661b31" providerId="ADAL" clId="{ABD2F74A-712B-4083-A42A-5FB1F7D04898}" dt="2024-06-04T15:44:38.255" v="9236"/>
          <ac:spMkLst>
            <pc:docMk/>
            <pc:sldMk cId="2710792005" sldId="2147480172"/>
            <ac:spMk id="114" creationId="{3B239314-DB6C-C015-EC83-CF8987DD68BC}"/>
          </ac:spMkLst>
        </pc:spChg>
        <pc:spChg chg="add del mod modVis">
          <ac:chgData name="Hugo Liabeuf" userId="a9defb0f-a7f4-478c-b61b-a76d3d661b31" providerId="ADAL" clId="{ABD2F74A-712B-4083-A42A-5FB1F7D04898}" dt="2024-06-04T15:45:04.372" v="9576"/>
          <ac:spMkLst>
            <pc:docMk/>
            <pc:sldMk cId="2710792005" sldId="2147480172"/>
            <ac:spMk id="115" creationId="{87188AC4-821B-5AE8-A9E0-2EF9D6640FB0}"/>
          </ac:spMkLst>
        </pc:spChg>
        <pc:spChg chg="del mod ord">
          <ac:chgData name="Hugo Liabeuf" userId="a9defb0f-a7f4-478c-b61b-a76d3d661b31" providerId="ADAL" clId="{ABD2F74A-712B-4083-A42A-5FB1F7D04898}" dt="2024-06-04T15:44:39.595" v="9239" actId="478"/>
          <ac:spMkLst>
            <pc:docMk/>
            <pc:sldMk cId="2710792005" sldId="2147480172"/>
            <ac:spMk id="116" creationId="{58D560E4-9B8D-74E0-30FD-28BC4A6E5BF6}"/>
          </ac:spMkLst>
        </pc:spChg>
        <pc:spChg chg="add del mod ord replST">
          <ac:chgData name="Hugo Liabeuf" userId="a9defb0f-a7f4-478c-b61b-a76d3d661b31" providerId="ADAL" clId="{ABD2F74A-712B-4083-A42A-5FB1F7D04898}" dt="2024-06-05T09:46:45.039" v="17720"/>
          <ac:spMkLst>
            <pc:docMk/>
            <pc:sldMk cId="2710792005" sldId="2147480172"/>
            <ac:spMk id="117" creationId="{FE6590BC-950D-159E-A283-019DA64D69E7}"/>
          </ac:spMkLst>
        </pc:spChg>
        <pc:spChg chg="add del mod ord replST">
          <ac:chgData name="Hugo Liabeuf" userId="a9defb0f-a7f4-478c-b61b-a76d3d661b31" providerId="ADAL" clId="{ABD2F74A-712B-4083-A42A-5FB1F7D04898}" dt="2024-06-05T09:46:45.039" v="17718"/>
          <ac:spMkLst>
            <pc:docMk/>
            <pc:sldMk cId="2710792005" sldId="2147480172"/>
            <ac:spMk id="118" creationId="{EEE62D46-B658-04F6-1D5A-3AEDB63CEECB}"/>
          </ac:spMkLst>
        </pc:spChg>
        <pc:spChg chg="add del mod replST">
          <ac:chgData name="Hugo Liabeuf" userId="a9defb0f-a7f4-478c-b61b-a76d3d661b31" providerId="ADAL" clId="{ABD2F74A-712B-4083-A42A-5FB1F7D04898}" dt="2024-06-05T09:46:45.039" v="17716"/>
          <ac:spMkLst>
            <pc:docMk/>
            <pc:sldMk cId="2710792005" sldId="2147480172"/>
            <ac:spMk id="119" creationId="{EEE2F762-1426-264F-84F3-132CB4763CBD}"/>
          </ac:spMkLst>
        </pc:spChg>
        <pc:spChg chg="add del mod modVis">
          <ac:chgData name="Hugo Liabeuf" userId="a9defb0f-a7f4-478c-b61b-a76d3d661b31" providerId="ADAL" clId="{ABD2F74A-712B-4083-A42A-5FB1F7D04898}" dt="2024-06-04T15:46:55.330" v="9886"/>
          <ac:spMkLst>
            <pc:docMk/>
            <pc:sldMk cId="2710792005" sldId="2147480172"/>
            <ac:spMk id="384" creationId="{4C12540C-E493-7276-AD14-13F4C9B7AEE5}"/>
          </ac:spMkLst>
        </pc:spChg>
        <pc:spChg chg="add del mod ord replST">
          <ac:chgData name="Hugo Liabeuf" userId="a9defb0f-a7f4-478c-b61b-a76d3d661b31" providerId="ADAL" clId="{ABD2F74A-712B-4083-A42A-5FB1F7D04898}" dt="2024-06-04T15:47:29.398" v="10285"/>
          <ac:spMkLst>
            <pc:docMk/>
            <pc:sldMk cId="2710792005" sldId="2147480172"/>
            <ac:spMk id="386" creationId="{8D1A0020-6DE1-9341-FA66-65D98E0A99D7}"/>
          </ac:spMkLst>
        </pc:spChg>
        <pc:spChg chg="add del mod ord replST">
          <ac:chgData name="Hugo Liabeuf" userId="a9defb0f-a7f4-478c-b61b-a76d3d661b31" providerId="ADAL" clId="{ABD2F74A-712B-4083-A42A-5FB1F7D04898}" dt="2024-06-04T15:47:29.413" v="10301"/>
          <ac:spMkLst>
            <pc:docMk/>
            <pc:sldMk cId="2710792005" sldId="2147480172"/>
            <ac:spMk id="387" creationId="{2A0EBEE9-7CA4-8F74-6D3A-B672E52F544F}"/>
          </ac:spMkLst>
        </pc:spChg>
        <pc:spChg chg="add del mod replST">
          <ac:chgData name="Hugo Liabeuf" userId="a9defb0f-a7f4-478c-b61b-a76d3d661b31" providerId="ADAL" clId="{ABD2F74A-712B-4083-A42A-5FB1F7D04898}" dt="2024-06-04T15:47:29.419" v="10316"/>
          <ac:spMkLst>
            <pc:docMk/>
            <pc:sldMk cId="2710792005" sldId="2147480172"/>
            <ac:spMk id="388" creationId="{CF7B0951-B22A-E05C-87D1-C379F84E6961}"/>
          </ac:spMkLst>
        </pc:spChg>
        <pc:spChg chg="add del mod ord replST">
          <ac:chgData name="Hugo Liabeuf" userId="a9defb0f-a7f4-478c-b61b-a76d3d661b31" providerId="ADAL" clId="{ABD2F74A-712B-4083-A42A-5FB1F7D04898}" dt="2024-06-04T15:47:29.428" v="10329"/>
          <ac:spMkLst>
            <pc:docMk/>
            <pc:sldMk cId="2710792005" sldId="2147480172"/>
            <ac:spMk id="389" creationId="{EC189885-3637-9B9C-5729-02C3C5807C5C}"/>
          </ac:spMkLst>
        </pc:spChg>
        <pc:spChg chg="add del mod ord replST">
          <ac:chgData name="Hugo Liabeuf" userId="a9defb0f-a7f4-478c-b61b-a76d3d661b31" providerId="ADAL" clId="{ABD2F74A-712B-4083-A42A-5FB1F7D04898}" dt="2024-06-04T15:47:29.441" v="10345"/>
          <ac:spMkLst>
            <pc:docMk/>
            <pc:sldMk cId="2710792005" sldId="2147480172"/>
            <ac:spMk id="390" creationId="{46D45CFA-1A9F-788A-C48C-A672B89E2F59}"/>
          </ac:spMkLst>
        </pc:spChg>
        <pc:spChg chg="add del mod replST">
          <ac:chgData name="Hugo Liabeuf" userId="a9defb0f-a7f4-478c-b61b-a76d3d661b31" providerId="ADAL" clId="{ABD2F74A-712B-4083-A42A-5FB1F7D04898}" dt="2024-06-04T15:47:29.448" v="10360"/>
          <ac:spMkLst>
            <pc:docMk/>
            <pc:sldMk cId="2710792005" sldId="2147480172"/>
            <ac:spMk id="391" creationId="{B028C83D-477B-0A34-5D09-7C9E09D8747E}"/>
          </ac:spMkLst>
        </pc:spChg>
        <pc:spChg chg="add del mod ord replST">
          <ac:chgData name="Hugo Liabeuf" userId="a9defb0f-a7f4-478c-b61b-a76d3d661b31" providerId="ADAL" clId="{ABD2F74A-712B-4083-A42A-5FB1F7D04898}" dt="2024-06-04T15:47:29.458" v="10373"/>
          <ac:spMkLst>
            <pc:docMk/>
            <pc:sldMk cId="2710792005" sldId="2147480172"/>
            <ac:spMk id="392" creationId="{D5BBBAF2-C4F1-F280-3CB3-39E23F60267F}"/>
          </ac:spMkLst>
        </pc:spChg>
        <pc:spChg chg="add del mod ord replST">
          <ac:chgData name="Hugo Liabeuf" userId="a9defb0f-a7f4-478c-b61b-a76d3d661b31" providerId="ADAL" clId="{ABD2F74A-712B-4083-A42A-5FB1F7D04898}" dt="2024-06-04T15:47:29.468" v="10389"/>
          <ac:spMkLst>
            <pc:docMk/>
            <pc:sldMk cId="2710792005" sldId="2147480172"/>
            <ac:spMk id="393" creationId="{8129EBD5-EFB2-A2AB-D451-370A2FBAB546}"/>
          </ac:spMkLst>
        </pc:spChg>
        <pc:spChg chg="add del mod replST">
          <ac:chgData name="Hugo Liabeuf" userId="a9defb0f-a7f4-478c-b61b-a76d3d661b31" providerId="ADAL" clId="{ABD2F74A-712B-4083-A42A-5FB1F7D04898}" dt="2024-06-04T15:47:29.481" v="10404"/>
          <ac:spMkLst>
            <pc:docMk/>
            <pc:sldMk cId="2710792005" sldId="2147480172"/>
            <ac:spMk id="394" creationId="{19F6D692-1CAB-3A9E-3675-DB906AD50C77}"/>
          </ac:spMkLst>
        </pc:spChg>
        <pc:spChg chg="add del mod ord replST">
          <ac:chgData name="Hugo Liabeuf" userId="a9defb0f-a7f4-478c-b61b-a76d3d661b31" providerId="ADAL" clId="{ABD2F74A-712B-4083-A42A-5FB1F7D04898}" dt="2024-06-05T08:51:29.917" v="13700"/>
          <ac:spMkLst>
            <pc:docMk/>
            <pc:sldMk cId="2710792005" sldId="2147480172"/>
            <ac:spMk id="396" creationId="{ADA31AF9-E7B6-0B48-F685-83F158E73CD8}"/>
          </ac:spMkLst>
        </pc:spChg>
        <pc:spChg chg="add del mod ord replST">
          <ac:chgData name="Hugo Liabeuf" userId="a9defb0f-a7f4-478c-b61b-a76d3d661b31" providerId="ADAL" clId="{ABD2F74A-712B-4083-A42A-5FB1F7D04898}" dt="2024-06-05T08:51:29.948" v="13716"/>
          <ac:spMkLst>
            <pc:docMk/>
            <pc:sldMk cId="2710792005" sldId="2147480172"/>
            <ac:spMk id="397" creationId="{6F429C75-247A-BC66-169E-8D3388833BBB}"/>
          </ac:spMkLst>
        </pc:spChg>
        <pc:spChg chg="add del mod replST">
          <ac:chgData name="Hugo Liabeuf" userId="a9defb0f-a7f4-478c-b61b-a76d3d661b31" providerId="ADAL" clId="{ABD2F74A-712B-4083-A42A-5FB1F7D04898}" dt="2024-06-05T08:51:29.980" v="13731"/>
          <ac:spMkLst>
            <pc:docMk/>
            <pc:sldMk cId="2710792005" sldId="2147480172"/>
            <ac:spMk id="398" creationId="{3EE7E274-C1BD-8359-D221-596EB8C02CD8}"/>
          </ac:spMkLst>
        </pc:spChg>
        <pc:spChg chg="add del mod ord replST">
          <ac:chgData name="Hugo Liabeuf" userId="a9defb0f-a7f4-478c-b61b-a76d3d661b31" providerId="ADAL" clId="{ABD2F74A-712B-4083-A42A-5FB1F7D04898}" dt="2024-06-05T08:51:29.996" v="13744"/>
          <ac:spMkLst>
            <pc:docMk/>
            <pc:sldMk cId="2710792005" sldId="2147480172"/>
            <ac:spMk id="399" creationId="{9F2CA411-4C3A-D460-522A-9D748F32721B}"/>
          </ac:spMkLst>
        </pc:spChg>
        <pc:spChg chg="add del mod ord replST">
          <ac:chgData name="Hugo Liabeuf" userId="a9defb0f-a7f4-478c-b61b-a76d3d661b31" providerId="ADAL" clId="{ABD2F74A-712B-4083-A42A-5FB1F7D04898}" dt="2024-06-05T08:51:30.001" v="13760"/>
          <ac:spMkLst>
            <pc:docMk/>
            <pc:sldMk cId="2710792005" sldId="2147480172"/>
            <ac:spMk id="400" creationId="{6D6531EE-4F93-7333-2568-BE8D19BC1B77}"/>
          </ac:spMkLst>
        </pc:spChg>
        <pc:spChg chg="add del mod replST">
          <ac:chgData name="Hugo Liabeuf" userId="a9defb0f-a7f4-478c-b61b-a76d3d661b31" providerId="ADAL" clId="{ABD2F74A-712B-4083-A42A-5FB1F7D04898}" dt="2024-06-05T08:51:30.034" v="13775"/>
          <ac:spMkLst>
            <pc:docMk/>
            <pc:sldMk cId="2710792005" sldId="2147480172"/>
            <ac:spMk id="401" creationId="{B2BCDDED-2EAC-4E49-3755-9D46CA7E18BE}"/>
          </ac:spMkLst>
        </pc:spChg>
        <pc:spChg chg="add del mod ord replST">
          <ac:chgData name="Hugo Liabeuf" userId="a9defb0f-a7f4-478c-b61b-a76d3d661b31" providerId="ADAL" clId="{ABD2F74A-712B-4083-A42A-5FB1F7D04898}" dt="2024-06-05T08:51:30.034" v="13788"/>
          <ac:spMkLst>
            <pc:docMk/>
            <pc:sldMk cId="2710792005" sldId="2147480172"/>
            <ac:spMk id="402" creationId="{8BE1A700-9239-4A93-7E01-4924F0A88176}"/>
          </ac:spMkLst>
        </pc:spChg>
        <pc:spChg chg="add del mod ord replST">
          <ac:chgData name="Hugo Liabeuf" userId="a9defb0f-a7f4-478c-b61b-a76d3d661b31" providerId="ADAL" clId="{ABD2F74A-712B-4083-A42A-5FB1F7D04898}" dt="2024-06-05T08:51:30.050" v="13804"/>
          <ac:spMkLst>
            <pc:docMk/>
            <pc:sldMk cId="2710792005" sldId="2147480172"/>
            <ac:spMk id="403" creationId="{8D6D78A1-930B-F5CC-72EA-B0D2E05840A9}"/>
          </ac:spMkLst>
        </pc:spChg>
        <pc:spChg chg="add del mod replST">
          <ac:chgData name="Hugo Liabeuf" userId="a9defb0f-a7f4-478c-b61b-a76d3d661b31" providerId="ADAL" clId="{ABD2F74A-712B-4083-A42A-5FB1F7D04898}" dt="2024-06-05T08:51:30.065" v="13819"/>
          <ac:spMkLst>
            <pc:docMk/>
            <pc:sldMk cId="2710792005" sldId="2147480172"/>
            <ac:spMk id="404" creationId="{EC828E05-8080-B649-4828-7F62F18A34A7}"/>
          </ac:spMkLst>
        </pc:spChg>
        <pc:spChg chg="add del mod modVis">
          <ac:chgData name="Hugo Liabeuf" userId="a9defb0f-a7f4-478c-b61b-a76d3d661b31" providerId="ADAL" clId="{ABD2F74A-712B-4083-A42A-5FB1F7D04898}" dt="2024-06-04T16:00:50.347" v="11702"/>
          <ac:spMkLst>
            <pc:docMk/>
            <pc:sldMk cId="2710792005" sldId="2147480172"/>
            <ac:spMk id="413" creationId="{502E2E50-2839-6F3A-218F-B92F3E86059E}"/>
          </ac:spMkLst>
        </pc:spChg>
        <pc:spChg chg="mod">
          <ac:chgData name="Hugo Liabeuf" userId="a9defb0f-a7f4-478c-b61b-a76d3d661b31" providerId="ADAL" clId="{ABD2F74A-712B-4083-A42A-5FB1F7D04898}" dt="2024-06-04T16:00:52.033" v="11705"/>
          <ac:spMkLst>
            <pc:docMk/>
            <pc:sldMk cId="2710792005" sldId="2147480172"/>
            <ac:spMk id="415" creationId="{D05D3C6D-72CD-F94E-5952-D898F86DB2B9}"/>
          </ac:spMkLst>
        </pc:spChg>
        <pc:spChg chg="mod">
          <ac:chgData name="Hugo Liabeuf" userId="a9defb0f-a7f4-478c-b61b-a76d3d661b31" providerId="ADAL" clId="{ABD2F74A-712B-4083-A42A-5FB1F7D04898}" dt="2024-06-04T16:00:52.033" v="11705"/>
          <ac:spMkLst>
            <pc:docMk/>
            <pc:sldMk cId="2710792005" sldId="2147480172"/>
            <ac:spMk id="417" creationId="{E8775508-7FEE-07DB-D690-EA87FA13A861}"/>
          </ac:spMkLst>
        </pc:spChg>
        <pc:spChg chg="mod">
          <ac:chgData name="Hugo Liabeuf" userId="a9defb0f-a7f4-478c-b61b-a76d3d661b31" providerId="ADAL" clId="{ABD2F74A-712B-4083-A42A-5FB1F7D04898}" dt="2024-06-04T16:00:52.033" v="11705"/>
          <ac:spMkLst>
            <pc:docMk/>
            <pc:sldMk cId="2710792005" sldId="2147480172"/>
            <ac:spMk id="419" creationId="{65ACA926-BE4A-819F-855F-D24FFF55F2C4}"/>
          </ac:spMkLst>
        </pc:spChg>
        <pc:spChg chg="mod">
          <ac:chgData name="Hugo Liabeuf" userId="a9defb0f-a7f4-478c-b61b-a76d3d661b31" providerId="ADAL" clId="{ABD2F74A-712B-4083-A42A-5FB1F7D04898}" dt="2024-06-04T16:00:52.033" v="11705"/>
          <ac:spMkLst>
            <pc:docMk/>
            <pc:sldMk cId="2710792005" sldId="2147480172"/>
            <ac:spMk id="421" creationId="{DD111990-9386-8AA2-8982-6952C223F74C}"/>
          </ac:spMkLst>
        </pc:spChg>
        <pc:spChg chg="mod">
          <ac:chgData name="Hugo Liabeuf" userId="a9defb0f-a7f4-478c-b61b-a76d3d661b31" providerId="ADAL" clId="{ABD2F74A-712B-4083-A42A-5FB1F7D04898}" dt="2024-06-04T16:00:52.033" v="11705"/>
          <ac:spMkLst>
            <pc:docMk/>
            <pc:sldMk cId="2710792005" sldId="2147480172"/>
            <ac:spMk id="427" creationId="{92D5D09A-E4A8-86CC-E269-B431DC9C7F14}"/>
          </ac:spMkLst>
        </pc:spChg>
        <pc:spChg chg="mod ord">
          <ac:chgData name="Hugo Liabeuf" userId="a9defb0f-a7f4-478c-b61b-a76d3d661b31" providerId="ADAL" clId="{ABD2F74A-712B-4083-A42A-5FB1F7D04898}" dt="2024-06-05T15:13:22.320" v="22416"/>
          <ac:spMkLst>
            <pc:docMk/>
            <pc:sldMk cId="2710792005" sldId="2147480172"/>
            <ac:spMk id="431" creationId="{7EAE2B14-5C89-816D-62A1-2FCB9EFFFEFA}"/>
          </ac:spMkLst>
        </pc:spChg>
        <pc:spChg chg="mod">
          <ac:chgData name="Hugo Liabeuf" userId="a9defb0f-a7f4-478c-b61b-a76d3d661b31" providerId="ADAL" clId="{ABD2F74A-712B-4083-A42A-5FB1F7D04898}" dt="2024-06-04T16:00:52.033" v="11705"/>
          <ac:spMkLst>
            <pc:docMk/>
            <pc:sldMk cId="2710792005" sldId="2147480172"/>
            <ac:spMk id="432" creationId="{2B046C91-E7CC-1CF3-6BD4-C5DCE382B870}"/>
          </ac:spMkLst>
        </pc:spChg>
        <pc:spChg chg="mod">
          <ac:chgData name="Hugo Liabeuf" userId="a9defb0f-a7f4-478c-b61b-a76d3d661b31" providerId="ADAL" clId="{ABD2F74A-712B-4083-A42A-5FB1F7D04898}" dt="2024-06-04T16:00:52.033" v="11705"/>
          <ac:spMkLst>
            <pc:docMk/>
            <pc:sldMk cId="2710792005" sldId="2147480172"/>
            <ac:spMk id="434" creationId="{D2253981-7EC9-1B99-2816-AA5F17335844}"/>
          </ac:spMkLst>
        </pc:spChg>
        <pc:spChg chg="mod">
          <ac:chgData name="Hugo Liabeuf" userId="a9defb0f-a7f4-478c-b61b-a76d3d661b31" providerId="ADAL" clId="{ABD2F74A-712B-4083-A42A-5FB1F7D04898}" dt="2024-06-04T16:00:52.033" v="11705"/>
          <ac:spMkLst>
            <pc:docMk/>
            <pc:sldMk cId="2710792005" sldId="2147480172"/>
            <ac:spMk id="445" creationId="{F80E054E-FD10-CC82-658A-12830CE9492C}"/>
          </ac:spMkLst>
        </pc:spChg>
        <pc:spChg chg="mod">
          <ac:chgData name="Hugo Liabeuf" userId="a9defb0f-a7f4-478c-b61b-a76d3d661b31" providerId="ADAL" clId="{ABD2F74A-712B-4083-A42A-5FB1F7D04898}" dt="2024-06-04T16:00:52.033" v="11705"/>
          <ac:spMkLst>
            <pc:docMk/>
            <pc:sldMk cId="2710792005" sldId="2147480172"/>
            <ac:spMk id="447" creationId="{AFEFEDF0-9B1B-35AA-5DFB-F75DAF997B9F}"/>
          </ac:spMkLst>
        </pc:spChg>
        <pc:spChg chg="mod">
          <ac:chgData name="Hugo Liabeuf" userId="a9defb0f-a7f4-478c-b61b-a76d3d661b31" providerId="ADAL" clId="{ABD2F74A-712B-4083-A42A-5FB1F7D04898}" dt="2024-06-04T16:00:52.033" v="11705"/>
          <ac:spMkLst>
            <pc:docMk/>
            <pc:sldMk cId="2710792005" sldId="2147480172"/>
            <ac:spMk id="449" creationId="{4786D7B6-EAFE-9866-4E9B-0884FB48269A}"/>
          </ac:spMkLst>
        </pc:spChg>
        <pc:spChg chg="mod">
          <ac:chgData name="Hugo Liabeuf" userId="a9defb0f-a7f4-478c-b61b-a76d3d661b31" providerId="ADAL" clId="{ABD2F74A-712B-4083-A42A-5FB1F7D04898}" dt="2024-06-04T16:00:52.033" v="11705"/>
          <ac:spMkLst>
            <pc:docMk/>
            <pc:sldMk cId="2710792005" sldId="2147480172"/>
            <ac:spMk id="451" creationId="{67F52592-87E5-0D7A-E0EC-3C2BE509FC57}"/>
          </ac:spMkLst>
        </pc:spChg>
        <pc:spChg chg="add del mod modVis">
          <ac:chgData name="Hugo Liabeuf" userId="a9defb0f-a7f4-478c-b61b-a76d3d661b31" providerId="ADAL" clId="{ABD2F74A-712B-4083-A42A-5FB1F7D04898}" dt="2024-06-05T15:11:48.762" v="21256"/>
          <ac:spMkLst>
            <pc:docMk/>
            <pc:sldMk cId="2710792005" sldId="2147480172"/>
            <ac:spMk id="455" creationId="{CD104BBD-DAF2-EE17-7F26-271268ADF67A}"/>
          </ac:spMkLst>
        </pc:spChg>
        <pc:spChg chg="add del mod replST">
          <ac:chgData name="Hugo Liabeuf" userId="a9defb0f-a7f4-478c-b61b-a76d3d661b31" providerId="ADAL" clId="{ABD2F74A-712B-4083-A42A-5FB1F7D04898}" dt="2024-06-05T15:12:02.302" v="21536"/>
          <ac:spMkLst>
            <pc:docMk/>
            <pc:sldMk cId="2710792005" sldId="2147480172"/>
            <ac:spMk id="456" creationId="{B926D567-524F-4499-A030-E098F89DCD34}"/>
          </ac:spMkLst>
        </pc:spChg>
        <pc:spChg chg="add del mod modVis">
          <ac:chgData name="Hugo Liabeuf" userId="a9defb0f-a7f4-478c-b61b-a76d3d661b31" providerId="ADAL" clId="{ABD2F74A-712B-4083-A42A-5FB1F7D04898}" dt="2024-06-05T08:50:59.254" v="13617"/>
          <ac:spMkLst>
            <pc:docMk/>
            <pc:sldMk cId="2710792005" sldId="2147480172"/>
            <ac:spMk id="456" creationId="{E9172B61-4CD5-4325-E624-6FC1BC52CBFE}"/>
          </ac:spMkLst>
        </pc:spChg>
        <pc:spChg chg="add del mod replST">
          <ac:chgData name="Hugo Liabeuf" userId="a9defb0f-a7f4-478c-b61b-a76d3d661b31" providerId="ADAL" clId="{ABD2F74A-712B-4083-A42A-5FB1F7D04898}" dt="2024-06-05T15:12:02.286" v="21535"/>
          <ac:spMkLst>
            <pc:docMk/>
            <pc:sldMk cId="2710792005" sldId="2147480172"/>
            <ac:spMk id="457" creationId="{D8BD9625-E3B2-6F1B-9269-E32825C27725}"/>
          </ac:spMkLst>
        </pc:spChg>
        <pc:spChg chg="add del mod ord replST">
          <ac:chgData name="Hugo Liabeuf" userId="a9defb0f-a7f4-478c-b61b-a76d3d661b31" providerId="ADAL" clId="{ABD2F74A-712B-4083-A42A-5FB1F7D04898}" dt="2024-06-05T09:46:47.689" v="17946"/>
          <ac:spMkLst>
            <pc:docMk/>
            <pc:sldMk cId="2710792005" sldId="2147480172"/>
            <ac:spMk id="458" creationId="{AA65A1FA-8143-F513-7E4E-5809197DBA2F}"/>
          </ac:spMkLst>
        </pc:spChg>
        <pc:spChg chg="add del mod ord replST">
          <ac:chgData name="Hugo Liabeuf" userId="a9defb0f-a7f4-478c-b61b-a76d3d661b31" providerId="ADAL" clId="{ABD2F74A-712B-4083-A42A-5FB1F7D04898}" dt="2024-06-05T09:46:47.689" v="17944"/>
          <ac:spMkLst>
            <pc:docMk/>
            <pc:sldMk cId="2710792005" sldId="2147480172"/>
            <ac:spMk id="459" creationId="{CCB5C1EF-51B6-FB93-47BF-8FB6271F4812}"/>
          </ac:spMkLst>
        </pc:spChg>
        <pc:spChg chg="add del mod replST">
          <ac:chgData name="Hugo Liabeuf" userId="a9defb0f-a7f4-478c-b61b-a76d3d661b31" providerId="ADAL" clId="{ABD2F74A-712B-4083-A42A-5FB1F7D04898}" dt="2024-06-05T09:46:47.689" v="17942"/>
          <ac:spMkLst>
            <pc:docMk/>
            <pc:sldMk cId="2710792005" sldId="2147480172"/>
            <ac:spMk id="460" creationId="{1DB78AEA-148B-FAD8-B495-12ED24CDF526}"/>
          </ac:spMkLst>
        </pc:spChg>
        <pc:spChg chg="add del mod modVis">
          <ac:chgData name="Hugo Liabeuf" userId="a9defb0f-a7f4-478c-b61b-a76d3d661b31" providerId="ADAL" clId="{ABD2F74A-712B-4083-A42A-5FB1F7D04898}" dt="2024-06-05T15:11:54.930" v="21529"/>
          <ac:spMkLst>
            <pc:docMk/>
            <pc:sldMk cId="2710792005" sldId="2147480172"/>
            <ac:spMk id="460" creationId="{D742CBB9-5311-38D5-C7CB-0801A7ACDFE6}"/>
          </ac:spMkLst>
        </pc:spChg>
        <pc:spChg chg="add del mod ord replST">
          <ac:chgData name="Hugo Liabeuf" userId="a9defb0f-a7f4-478c-b61b-a76d3d661b31" providerId="ADAL" clId="{ABD2F74A-712B-4083-A42A-5FB1F7D04898}" dt="2024-06-05T09:46:47.689" v="17941"/>
          <ac:spMkLst>
            <pc:docMk/>
            <pc:sldMk cId="2710792005" sldId="2147480172"/>
            <ac:spMk id="461" creationId="{B9E0F0C0-9F83-DAB5-82C0-5F6B05659881}"/>
          </ac:spMkLst>
        </pc:spChg>
        <pc:spChg chg="add del mod modVis">
          <ac:chgData name="Hugo Liabeuf" userId="a9defb0f-a7f4-478c-b61b-a76d3d661b31" providerId="ADAL" clId="{ABD2F74A-712B-4083-A42A-5FB1F7D04898}" dt="2024-06-05T15:12:02.486" v="21684"/>
          <ac:spMkLst>
            <pc:docMk/>
            <pc:sldMk cId="2710792005" sldId="2147480172"/>
            <ac:spMk id="462" creationId="{2EC29D75-BC47-F7A2-EF13-CD781F95B632}"/>
          </ac:spMkLst>
        </pc:spChg>
        <pc:spChg chg="add del mod ord replST">
          <ac:chgData name="Hugo Liabeuf" userId="a9defb0f-a7f4-478c-b61b-a76d3d661b31" providerId="ADAL" clId="{ABD2F74A-712B-4083-A42A-5FB1F7D04898}" dt="2024-06-05T09:46:47.689" v="17939"/>
          <ac:spMkLst>
            <pc:docMk/>
            <pc:sldMk cId="2710792005" sldId="2147480172"/>
            <ac:spMk id="462" creationId="{7FFFE4F8-CC1B-E747-FCB6-F3989846B27B}"/>
          </ac:spMkLst>
        </pc:spChg>
        <pc:spChg chg="add del mod replST">
          <ac:chgData name="Hugo Liabeuf" userId="a9defb0f-a7f4-478c-b61b-a76d3d661b31" providerId="ADAL" clId="{ABD2F74A-712B-4083-A42A-5FB1F7D04898}" dt="2024-06-05T09:46:47.689" v="17937"/>
          <ac:spMkLst>
            <pc:docMk/>
            <pc:sldMk cId="2710792005" sldId="2147480172"/>
            <ac:spMk id="463" creationId="{20E45E7E-BB7B-2BBE-722A-D0F31FD672BB}"/>
          </ac:spMkLst>
        </pc:spChg>
        <pc:spChg chg="add del mod ord replST">
          <ac:chgData name="Hugo Liabeuf" userId="a9defb0f-a7f4-478c-b61b-a76d3d661b31" providerId="ADAL" clId="{ABD2F74A-712B-4083-A42A-5FB1F7D04898}" dt="2024-06-05T09:46:47.689" v="17936"/>
          <ac:spMkLst>
            <pc:docMk/>
            <pc:sldMk cId="2710792005" sldId="2147480172"/>
            <ac:spMk id="464" creationId="{97C66D83-E81E-7700-67B5-E6C0F405ED22}"/>
          </ac:spMkLst>
        </pc:spChg>
        <pc:spChg chg="add del mod ord replST">
          <ac:chgData name="Hugo Liabeuf" userId="a9defb0f-a7f4-478c-b61b-a76d3d661b31" providerId="ADAL" clId="{ABD2F74A-712B-4083-A42A-5FB1F7D04898}" dt="2024-06-05T09:46:47.689" v="17934"/>
          <ac:spMkLst>
            <pc:docMk/>
            <pc:sldMk cId="2710792005" sldId="2147480172"/>
            <ac:spMk id="465" creationId="{720EB9CA-80E6-089E-2F52-E4C283172CCF}"/>
          </ac:spMkLst>
        </pc:spChg>
        <pc:spChg chg="add del mod modVis">
          <ac:chgData name="Hugo Liabeuf" userId="a9defb0f-a7f4-478c-b61b-a76d3d661b31" providerId="ADAL" clId="{ABD2F74A-712B-4083-A42A-5FB1F7D04898}" dt="2024-06-05T15:12:18.945" v="22245"/>
          <ac:spMkLst>
            <pc:docMk/>
            <pc:sldMk cId="2710792005" sldId="2147480172"/>
            <ac:spMk id="466" creationId="{91B232DB-8078-3C71-D8EE-B334AB96CE28}"/>
          </ac:spMkLst>
        </pc:spChg>
        <pc:spChg chg="add del mod replST">
          <ac:chgData name="Hugo Liabeuf" userId="a9defb0f-a7f4-478c-b61b-a76d3d661b31" providerId="ADAL" clId="{ABD2F74A-712B-4083-A42A-5FB1F7D04898}" dt="2024-06-05T09:46:47.672" v="17932"/>
          <ac:spMkLst>
            <pc:docMk/>
            <pc:sldMk cId="2710792005" sldId="2147480172"/>
            <ac:spMk id="466" creationId="{D16A6B9B-BFA0-571C-F713-B0A18EAC7593}"/>
          </ac:spMkLst>
        </pc:spChg>
        <pc:spChg chg="add del mod modVis">
          <ac:chgData name="Hugo Liabeuf" userId="a9defb0f-a7f4-478c-b61b-a76d3d661b31" providerId="ADAL" clId="{ABD2F74A-712B-4083-A42A-5FB1F7D04898}" dt="2024-06-05T15:13:28.490" v="22886"/>
          <ac:spMkLst>
            <pc:docMk/>
            <pc:sldMk cId="2710792005" sldId="2147480172"/>
            <ac:spMk id="469" creationId="{550E4BB5-D3A6-E92E-4AB5-0533C957352E}"/>
          </ac:spMkLst>
        </pc:spChg>
        <pc:spChg chg="add del mod">
          <ac:chgData name="Hugo Liabeuf" userId="a9defb0f-a7f4-478c-b61b-a76d3d661b31" providerId="ADAL" clId="{ABD2F74A-712B-4083-A42A-5FB1F7D04898}" dt="2024-06-05T08:55:27.412" v="14089" actId="478"/>
          <ac:spMkLst>
            <pc:docMk/>
            <pc:sldMk cId="2710792005" sldId="2147480172"/>
            <ac:spMk id="470" creationId="{09C083B8-DDFD-0B18-C1BA-139449784911}"/>
          </ac:spMkLst>
        </pc:spChg>
        <pc:spChg chg="add del mod modVis">
          <ac:chgData name="Hugo Liabeuf" userId="a9defb0f-a7f4-478c-b61b-a76d3d661b31" providerId="ADAL" clId="{ABD2F74A-712B-4083-A42A-5FB1F7D04898}" dt="2024-06-05T08:56:58.814" v="14485"/>
          <ac:spMkLst>
            <pc:docMk/>
            <pc:sldMk cId="2710792005" sldId="2147480172"/>
            <ac:spMk id="471" creationId="{66EA7BC4-5322-9CEE-320F-8244332F3434}"/>
          </ac:spMkLst>
        </pc:spChg>
        <pc:spChg chg="add mod">
          <ac:chgData name="Hugo Liabeuf" userId="a9defb0f-a7f4-478c-b61b-a76d3d661b31" providerId="ADAL" clId="{ABD2F74A-712B-4083-A42A-5FB1F7D04898}" dt="2024-06-05T15:14:25.023" v="23200" actId="164"/>
          <ac:spMkLst>
            <pc:docMk/>
            <pc:sldMk cId="2710792005" sldId="2147480172"/>
            <ac:spMk id="474" creationId="{0BB62A5E-1C3A-F814-245E-814461AE8E78}"/>
          </ac:spMkLst>
        </pc:spChg>
        <pc:spChg chg="add del mod modVis">
          <ac:chgData name="Hugo Liabeuf" userId="a9defb0f-a7f4-478c-b61b-a76d3d661b31" providerId="ADAL" clId="{ABD2F74A-712B-4083-A42A-5FB1F7D04898}" dt="2024-06-05T08:59:28.406" v="16841"/>
          <ac:spMkLst>
            <pc:docMk/>
            <pc:sldMk cId="2710792005" sldId="2147480172"/>
            <ac:spMk id="474" creationId="{92EB5214-D593-2564-A30C-1FBE1E9C7373}"/>
          </ac:spMkLst>
        </pc:spChg>
        <pc:spChg chg="add mod">
          <ac:chgData name="Hugo Liabeuf" userId="a9defb0f-a7f4-478c-b61b-a76d3d661b31" providerId="ADAL" clId="{ABD2F74A-712B-4083-A42A-5FB1F7D04898}" dt="2024-06-05T15:14:25.023" v="23200" actId="164"/>
          <ac:spMkLst>
            <pc:docMk/>
            <pc:sldMk cId="2710792005" sldId="2147480172"/>
            <ac:spMk id="475" creationId="{6FC95F84-0B70-295D-1831-5519BF8E884F}"/>
          </ac:spMkLst>
        </pc:spChg>
        <pc:spChg chg="add mod ord">
          <ac:chgData name="Hugo Liabeuf" userId="a9defb0f-a7f4-478c-b61b-a76d3d661b31" providerId="ADAL" clId="{ABD2F74A-712B-4083-A42A-5FB1F7D04898}" dt="2024-06-05T15:15:54.752" v="23224" actId="1038"/>
          <ac:spMkLst>
            <pc:docMk/>
            <pc:sldMk cId="2710792005" sldId="2147480172"/>
            <ac:spMk id="478" creationId="{8D9FDF46-401C-12E9-230D-A34391267AB2}"/>
          </ac:spMkLst>
        </pc:spChg>
        <pc:spChg chg="add mod ord">
          <ac:chgData name="Hugo Liabeuf" userId="a9defb0f-a7f4-478c-b61b-a76d3d661b31" providerId="ADAL" clId="{ABD2F74A-712B-4083-A42A-5FB1F7D04898}" dt="2024-06-05T15:15:54.752" v="23224" actId="1038"/>
          <ac:spMkLst>
            <pc:docMk/>
            <pc:sldMk cId="2710792005" sldId="2147480172"/>
            <ac:spMk id="479" creationId="{5FF0FEB4-7467-4CB4-1499-0C0367EEBED2}"/>
          </ac:spMkLst>
        </pc:spChg>
        <pc:spChg chg="add del mod modVis">
          <ac:chgData name="Hugo Liabeuf" userId="a9defb0f-a7f4-478c-b61b-a76d3d661b31" providerId="ADAL" clId="{ABD2F74A-712B-4083-A42A-5FB1F7D04898}" dt="2024-06-05T09:46:45.291" v="17929"/>
          <ac:spMkLst>
            <pc:docMk/>
            <pc:sldMk cId="2710792005" sldId="2147480172"/>
            <ac:spMk id="480" creationId="{2F4D5572-4371-4739-A097-06D7BBF937BA}"/>
          </ac:spMkLst>
        </pc:spChg>
        <pc:grpChg chg="add mod ord">
          <ac:chgData name="Hugo Liabeuf" userId="a9defb0f-a7f4-478c-b61b-a76d3d661b31" providerId="ADAL" clId="{ABD2F74A-712B-4083-A42A-5FB1F7D04898}" dt="2024-06-05T15:13:22.351" v="22474"/>
          <ac:grpSpMkLst>
            <pc:docMk/>
            <pc:sldMk cId="2710792005" sldId="2147480172"/>
            <ac:grpSpMk id="414" creationId="{FB17A11E-C980-8580-7E8C-CB067C2219C1}"/>
          </ac:grpSpMkLst>
        </pc:grpChg>
        <pc:grpChg chg="mod">
          <ac:chgData name="Hugo Liabeuf" userId="a9defb0f-a7f4-478c-b61b-a76d3d661b31" providerId="ADAL" clId="{ABD2F74A-712B-4083-A42A-5FB1F7D04898}" dt="2024-06-04T16:00:52.033" v="11705"/>
          <ac:grpSpMkLst>
            <pc:docMk/>
            <pc:sldMk cId="2710792005" sldId="2147480172"/>
            <ac:grpSpMk id="416" creationId="{F50B1D89-11C8-73EB-5EBB-B3CF7DFF6AF1}"/>
          </ac:grpSpMkLst>
        </pc:grpChg>
        <pc:grpChg chg="add mod ord">
          <ac:chgData name="Hugo Liabeuf" userId="a9defb0f-a7f4-478c-b61b-a76d3d661b31" providerId="ADAL" clId="{ABD2F74A-712B-4083-A42A-5FB1F7D04898}" dt="2024-06-05T15:13:22.351" v="22476"/>
          <ac:grpSpMkLst>
            <pc:docMk/>
            <pc:sldMk cId="2710792005" sldId="2147480172"/>
            <ac:grpSpMk id="420" creationId="{574CA891-6F21-167E-D916-3FDFDF4355EB}"/>
          </ac:grpSpMkLst>
        </pc:grpChg>
        <pc:grpChg chg="mod">
          <ac:chgData name="Hugo Liabeuf" userId="a9defb0f-a7f4-478c-b61b-a76d3d661b31" providerId="ADAL" clId="{ABD2F74A-712B-4083-A42A-5FB1F7D04898}" dt="2024-06-04T16:00:52.033" v="11705"/>
          <ac:grpSpMkLst>
            <pc:docMk/>
            <pc:sldMk cId="2710792005" sldId="2147480172"/>
            <ac:grpSpMk id="422" creationId="{7BD1379D-5611-D168-46B9-0C1ACD0F182B}"/>
          </ac:grpSpMkLst>
        </pc:grpChg>
        <pc:grpChg chg="mod">
          <ac:chgData name="Hugo Liabeuf" userId="a9defb0f-a7f4-478c-b61b-a76d3d661b31" providerId="ADAL" clId="{ABD2F74A-712B-4083-A42A-5FB1F7D04898}" dt="2024-06-04T16:00:52.033" v="11705"/>
          <ac:grpSpMkLst>
            <pc:docMk/>
            <pc:sldMk cId="2710792005" sldId="2147480172"/>
            <ac:grpSpMk id="423" creationId="{01A26DCD-9330-0B3E-F129-F3339E8D00DC}"/>
          </ac:grpSpMkLst>
        </pc:grpChg>
        <pc:grpChg chg="mod">
          <ac:chgData name="Hugo Liabeuf" userId="a9defb0f-a7f4-478c-b61b-a76d3d661b31" providerId="ADAL" clId="{ABD2F74A-712B-4083-A42A-5FB1F7D04898}" dt="2024-06-04T16:00:52.033" v="11705"/>
          <ac:grpSpMkLst>
            <pc:docMk/>
            <pc:sldMk cId="2710792005" sldId="2147480172"/>
            <ac:grpSpMk id="424" creationId="{76BAE378-50E6-536C-1FE4-209075AB93BB}"/>
          </ac:grpSpMkLst>
        </pc:grpChg>
        <pc:grpChg chg="mod">
          <ac:chgData name="Hugo Liabeuf" userId="a9defb0f-a7f4-478c-b61b-a76d3d661b31" providerId="ADAL" clId="{ABD2F74A-712B-4083-A42A-5FB1F7D04898}" dt="2024-06-04T16:00:52.033" v="11705"/>
          <ac:grpSpMkLst>
            <pc:docMk/>
            <pc:sldMk cId="2710792005" sldId="2147480172"/>
            <ac:grpSpMk id="425" creationId="{CB69BACD-2FEF-48E9-1290-FD8D5B9491F8}"/>
          </ac:grpSpMkLst>
        </pc:grpChg>
        <pc:grpChg chg="add mod ord">
          <ac:chgData name="Hugo Liabeuf" userId="a9defb0f-a7f4-478c-b61b-a76d3d661b31" providerId="ADAL" clId="{ABD2F74A-712B-4083-A42A-5FB1F7D04898}" dt="2024-06-05T15:13:22.351" v="22478"/>
          <ac:grpSpMkLst>
            <pc:docMk/>
            <pc:sldMk cId="2710792005" sldId="2147480172"/>
            <ac:grpSpMk id="446" creationId="{CE60905B-70C7-C6A5-F859-6D4D2B45B1CA}"/>
          </ac:grpSpMkLst>
        </pc:grpChg>
        <pc:grpChg chg="mod">
          <ac:chgData name="Hugo Liabeuf" userId="a9defb0f-a7f4-478c-b61b-a76d3d661b31" providerId="ADAL" clId="{ABD2F74A-712B-4083-A42A-5FB1F7D04898}" dt="2024-06-04T16:00:52.033" v="11705"/>
          <ac:grpSpMkLst>
            <pc:docMk/>
            <pc:sldMk cId="2710792005" sldId="2147480172"/>
            <ac:grpSpMk id="448" creationId="{A282922C-9AD8-65F0-A9F4-E3FAB5E44B80}"/>
          </ac:grpSpMkLst>
        </pc:grpChg>
        <pc:grpChg chg="add mod">
          <ac:chgData name="Hugo Liabeuf" userId="a9defb0f-a7f4-478c-b61b-a76d3d661b31" providerId="ADAL" clId="{ABD2F74A-712B-4083-A42A-5FB1F7D04898}" dt="2024-06-05T15:15:33.805" v="23217" actId="1076"/>
          <ac:grpSpMkLst>
            <pc:docMk/>
            <pc:sldMk cId="2710792005" sldId="2147480172"/>
            <ac:grpSpMk id="476" creationId="{D0A729D2-3D8F-062C-5181-8AEE9F20E2DC}"/>
          </ac:grpSpMkLst>
        </pc:grpChg>
        <pc:graphicFrameChg chg="mod">
          <ac:chgData name="Hugo Liabeuf" userId="a9defb0f-a7f4-478c-b61b-a76d3d661b31" providerId="ADAL" clId="{ABD2F74A-712B-4083-A42A-5FB1F7D04898}" dt="2024-06-05T15:13:44.363" v="23193"/>
          <ac:graphicFrameMkLst>
            <pc:docMk/>
            <pc:sldMk cId="2710792005" sldId="2147480172"/>
            <ac:graphicFrameMk id="7" creationId="{41EABC86-5A72-4793-82A5-A6A26A1B8109}"/>
          </ac:graphicFrameMkLst>
        </pc:graphicFrameChg>
        <pc:graphicFrameChg chg="add del mod replST">
          <ac:chgData name="Hugo Liabeuf" userId="a9defb0f-a7f4-478c-b61b-a76d3d661b31" providerId="ADAL" clId="{ABD2F74A-712B-4083-A42A-5FB1F7D04898}" dt="2024-06-04T15:43:00.668" v="6826"/>
          <ac:graphicFrameMkLst>
            <pc:docMk/>
            <pc:sldMk cId="2710792005" sldId="2147480172"/>
            <ac:graphicFrameMk id="14" creationId="{D2F32F05-F095-B835-8C45-9F0E0063E2C3}"/>
          </ac:graphicFrameMkLst>
        </pc:graphicFrameChg>
        <pc:graphicFrameChg chg="add del mod ord replST">
          <ac:chgData name="Hugo Liabeuf" userId="a9defb0f-a7f4-478c-b61b-a76d3d661b31" providerId="ADAL" clId="{ABD2F74A-712B-4083-A42A-5FB1F7D04898}" dt="2024-06-05T15:10:44.488" v="19435"/>
          <ac:graphicFrameMkLst>
            <pc:docMk/>
            <pc:sldMk cId="2710792005" sldId="2147480172"/>
            <ac:graphicFrameMk id="27" creationId="{150E4AA1-8C27-3108-5B84-DC05AFA51DA9}"/>
          </ac:graphicFrameMkLst>
        </pc:graphicFrameChg>
        <pc:graphicFrameChg chg="add del mod ord replST">
          <ac:chgData name="Hugo Liabeuf" userId="a9defb0f-a7f4-478c-b61b-a76d3d661b31" providerId="ADAL" clId="{ABD2F74A-712B-4083-A42A-5FB1F7D04898}" dt="2024-06-05T15:10:59.850" v="19779"/>
          <ac:graphicFrameMkLst>
            <pc:docMk/>
            <pc:sldMk cId="2710792005" sldId="2147480172"/>
            <ac:graphicFrameMk id="32" creationId="{E7FF81A8-F35F-FCAE-D17F-507EE107510A}"/>
          </ac:graphicFrameMkLst>
        </pc:graphicFrameChg>
        <pc:graphicFrameChg chg="add del mod ord replST">
          <ac:chgData name="Hugo Liabeuf" userId="a9defb0f-a7f4-478c-b61b-a76d3d661b31" providerId="ADAL" clId="{ABD2F74A-712B-4083-A42A-5FB1F7D04898}" dt="2024-06-05T15:11:06.645" v="20057"/>
          <ac:graphicFrameMkLst>
            <pc:docMk/>
            <pc:sldMk cId="2710792005" sldId="2147480172"/>
            <ac:graphicFrameMk id="38" creationId="{DE6FA4AB-A984-C913-FB6F-E1F890E2A3F6}"/>
          </ac:graphicFrameMkLst>
        </pc:graphicFrameChg>
        <pc:graphicFrameChg chg="add del mod ord replST">
          <ac:chgData name="Hugo Liabeuf" userId="a9defb0f-a7f4-478c-b61b-a76d3d661b31" providerId="ADAL" clId="{ABD2F74A-712B-4083-A42A-5FB1F7D04898}" dt="2024-06-05T15:11:18.705" v="20450"/>
          <ac:graphicFrameMkLst>
            <pc:docMk/>
            <pc:sldMk cId="2710792005" sldId="2147480172"/>
            <ac:graphicFrameMk id="40" creationId="{CF6D1762-B556-6C71-C926-1309638B8E4F}"/>
          </ac:graphicFrameMkLst>
        </pc:graphicFrameChg>
        <pc:graphicFrameChg chg="add del mod ord replST">
          <ac:chgData name="Hugo Liabeuf" userId="a9defb0f-a7f4-478c-b61b-a76d3d661b31" providerId="ADAL" clId="{ABD2F74A-712B-4083-A42A-5FB1F7D04898}" dt="2024-06-05T15:12:09.289" v="21746"/>
          <ac:graphicFrameMkLst>
            <pc:docMk/>
            <pc:sldMk cId="2710792005" sldId="2147480172"/>
            <ac:graphicFrameMk id="42" creationId="{DDBE5B59-597C-7779-B9C0-509DA972491B}"/>
          </ac:graphicFrameMkLst>
        </pc:graphicFrameChg>
        <pc:graphicFrameChg chg="add del mod ord replST">
          <ac:chgData name="Hugo Liabeuf" userId="a9defb0f-a7f4-478c-b61b-a76d3d661b31" providerId="ADAL" clId="{ABD2F74A-712B-4083-A42A-5FB1F7D04898}" dt="2024-06-05T15:11:20.091" v="20608"/>
          <ac:graphicFrameMkLst>
            <pc:docMk/>
            <pc:sldMk cId="2710792005" sldId="2147480172"/>
            <ac:graphicFrameMk id="44" creationId="{B515EE4D-611D-DF35-12A2-57EEA581CBAB}"/>
          </ac:graphicFrameMkLst>
        </pc:graphicFrameChg>
        <pc:graphicFrameChg chg="add del mod ord replST">
          <ac:chgData name="Hugo Liabeuf" userId="a9defb0f-a7f4-478c-b61b-a76d3d661b31" providerId="ADAL" clId="{ABD2F74A-712B-4083-A42A-5FB1F7D04898}" dt="2024-06-04T15:43:05.130" v="7113"/>
          <ac:graphicFrameMkLst>
            <pc:docMk/>
            <pc:sldMk cId="2710792005" sldId="2147480172"/>
            <ac:graphicFrameMk id="80" creationId="{C475F166-6676-8D08-AC5A-03DEF3479483}"/>
          </ac:graphicFrameMkLst>
        </pc:graphicFrameChg>
        <pc:graphicFrameChg chg="add del mod ord replST">
          <ac:chgData name="Hugo Liabeuf" userId="a9defb0f-a7f4-478c-b61b-a76d3d661b31" providerId="ADAL" clId="{ABD2F74A-712B-4083-A42A-5FB1F7D04898}" dt="2024-06-04T15:43:38.516" v="7544"/>
          <ac:graphicFrameMkLst>
            <pc:docMk/>
            <pc:sldMk cId="2710792005" sldId="2147480172"/>
            <ac:graphicFrameMk id="81" creationId="{311C294A-0C57-1DDB-E8BE-DB1A0F88B333}"/>
          </ac:graphicFrameMkLst>
        </pc:graphicFrameChg>
        <pc:graphicFrameChg chg="add del mod ord replST">
          <ac:chgData name="Hugo Liabeuf" userId="a9defb0f-a7f4-478c-b61b-a76d3d661b31" providerId="ADAL" clId="{ABD2F74A-712B-4083-A42A-5FB1F7D04898}" dt="2024-06-04T15:43:45.985" v="7797"/>
          <ac:graphicFrameMkLst>
            <pc:docMk/>
            <pc:sldMk cId="2710792005" sldId="2147480172"/>
            <ac:graphicFrameMk id="96" creationId="{6CEF6248-51AE-40CD-B82F-3FBDE355C434}"/>
          </ac:graphicFrameMkLst>
        </pc:graphicFrameChg>
        <pc:graphicFrameChg chg="add del mod ord replST">
          <ac:chgData name="Hugo Liabeuf" userId="a9defb0f-a7f4-478c-b61b-a76d3d661b31" providerId="ADAL" clId="{ABD2F74A-712B-4083-A42A-5FB1F7D04898}" dt="2024-06-04T15:43:59.526" v="8006"/>
          <ac:graphicFrameMkLst>
            <pc:docMk/>
            <pc:sldMk cId="2710792005" sldId="2147480172"/>
            <ac:graphicFrameMk id="97" creationId="{30314E53-BC3D-637F-CB3B-7CF872782B1E}"/>
          </ac:graphicFrameMkLst>
        </pc:graphicFrameChg>
        <pc:graphicFrameChg chg="add del mod ord replST">
          <ac:chgData name="Hugo Liabeuf" userId="a9defb0f-a7f4-478c-b61b-a76d3d661b31" providerId="ADAL" clId="{ABD2F74A-712B-4083-A42A-5FB1F7D04898}" dt="2024-06-04T15:44:07.208" v="8215"/>
          <ac:graphicFrameMkLst>
            <pc:docMk/>
            <pc:sldMk cId="2710792005" sldId="2147480172"/>
            <ac:graphicFrameMk id="98" creationId="{21A07C42-A58C-8EC8-C794-61AF0E6B40FB}"/>
          </ac:graphicFrameMkLst>
        </pc:graphicFrameChg>
        <pc:graphicFrameChg chg="add del mod ord replST">
          <ac:chgData name="Hugo Liabeuf" userId="a9defb0f-a7f4-478c-b61b-a76d3d661b31" providerId="ADAL" clId="{ABD2F74A-712B-4083-A42A-5FB1F7D04898}" dt="2024-06-04T15:44:14.596" v="8451"/>
          <ac:graphicFrameMkLst>
            <pc:docMk/>
            <pc:sldMk cId="2710792005" sldId="2147480172"/>
            <ac:graphicFrameMk id="99" creationId="{60435B46-E24E-00C9-9289-41BFD4992976}"/>
          </ac:graphicFrameMkLst>
        </pc:graphicFrameChg>
        <pc:graphicFrameChg chg="add del mod ord replST">
          <ac:chgData name="Hugo Liabeuf" userId="a9defb0f-a7f4-478c-b61b-a76d3d661b31" providerId="ADAL" clId="{ABD2F74A-712B-4083-A42A-5FB1F7D04898}" dt="2024-06-04T15:44:21.719" v="8687"/>
          <ac:graphicFrameMkLst>
            <pc:docMk/>
            <pc:sldMk cId="2710792005" sldId="2147480172"/>
            <ac:graphicFrameMk id="100" creationId="{31577F4B-1A6E-843A-F220-71C4C581D689}"/>
          </ac:graphicFrameMkLst>
        </pc:graphicFrameChg>
        <pc:graphicFrameChg chg="add del mod ord replST">
          <ac:chgData name="Hugo Liabeuf" userId="a9defb0f-a7f4-478c-b61b-a76d3d661b31" providerId="ADAL" clId="{ABD2F74A-712B-4083-A42A-5FB1F7D04898}" dt="2024-06-04T15:44:31.091" v="9048"/>
          <ac:graphicFrameMkLst>
            <pc:docMk/>
            <pc:sldMk cId="2710792005" sldId="2147480172"/>
            <ac:graphicFrameMk id="101" creationId="{B764B56C-460F-7F07-7E3E-5914338218A2}"/>
          </ac:graphicFrameMkLst>
        </pc:graphicFrameChg>
        <pc:graphicFrameChg chg="del mod ord">
          <ac:chgData name="Hugo Liabeuf" userId="a9defb0f-a7f4-478c-b61b-a76d3d661b31" providerId="ADAL" clId="{ABD2F74A-712B-4083-A42A-5FB1F7D04898}" dt="2024-06-04T15:45:04.272" v="9433"/>
          <ac:graphicFrameMkLst>
            <pc:docMk/>
            <pc:sldMk cId="2710792005" sldId="2147480172"/>
            <ac:graphicFrameMk id="107" creationId="{B8CF1885-6FEE-C456-B9BC-B09E341863C1}"/>
          </ac:graphicFrameMkLst>
        </pc:graphicFrameChg>
        <pc:graphicFrameChg chg="add del mod ord replST">
          <ac:chgData name="Hugo Liabeuf" userId="a9defb0f-a7f4-478c-b61b-a76d3d661b31" providerId="ADAL" clId="{ABD2F74A-712B-4083-A42A-5FB1F7D04898}" dt="2024-06-04T15:47:15.326" v="10123"/>
          <ac:graphicFrameMkLst>
            <pc:docMk/>
            <pc:sldMk cId="2710792005" sldId="2147480172"/>
            <ac:graphicFrameMk id="113" creationId="{657D1D5A-20E1-9E0A-12FB-499E230D26EF}"/>
          </ac:graphicFrameMkLst>
        </pc:graphicFrameChg>
        <pc:graphicFrameChg chg="add del mod ord replST">
          <ac:chgData name="Hugo Liabeuf" userId="a9defb0f-a7f4-478c-b61b-a76d3d661b31" providerId="ADAL" clId="{ABD2F74A-712B-4083-A42A-5FB1F7D04898}" dt="2024-06-04T15:46:55.218" v="9741"/>
          <ac:graphicFrameMkLst>
            <pc:docMk/>
            <pc:sldMk cId="2710792005" sldId="2147480172"/>
            <ac:graphicFrameMk id="120" creationId="{9BA53C5A-6243-1FE5-AB03-C2CE378EADF3}"/>
          </ac:graphicFrameMkLst>
        </pc:graphicFrameChg>
        <pc:graphicFrameChg chg="add del mod ord replST">
          <ac:chgData name="Hugo Liabeuf" userId="a9defb0f-a7f4-478c-b61b-a76d3d661b31" providerId="ADAL" clId="{ABD2F74A-712B-4083-A42A-5FB1F7D04898}" dt="2024-06-05T08:50:59.067" v="13468"/>
          <ac:graphicFrameMkLst>
            <pc:docMk/>
            <pc:sldMk cId="2710792005" sldId="2147480172"/>
            <ac:graphicFrameMk id="385" creationId="{F6747728-E761-7093-2D15-C9342C3AEFB8}"/>
          </ac:graphicFrameMkLst>
        </pc:graphicFrameChg>
        <pc:graphicFrameChg chg="add del mod ord replST">
          <ac:chgData name="Hugo Liabeuf" userId="a9defb0f-a7f4-478c-b61b-a76d3d661b31" providerId="ADAL" clId="{ABD2F74A-712B-4083-A42A-5FB1F7D04898}" dt="2024-06-04T15:47:29.541" v="10480"/>
          <ac:graphicFrameMkLst>
            <pc:docMk/>
            <pc:sldMk cId="2710792005" sldId="2147480172"/>
            <ac:graphicFrameMk id="395" creationId="{C3DFE892-6152-C778-F2BB-ED489F9C6B4E}"/>
          </ac:graphicFrameMkLst>
        </pc:graphicFrameChg>
        <pc:graphicFrameChg chg="add del mod ord replST">
          <ac:chgData name="Hugo Liabeuf" userId="a9defb0f-a7f4-478c-b61b-a76d3d661b31" providerId="ADAL" clId="{ABD2F74A-712B-4083-A42A-5FB1F7D04898}" dt="2024-06-04T15:47:52.465" v="10662"/>
          <ac:graphicFrameMkLst>
            <pc:docMk/>
            <pc:sldMk cId="2710792005" sldId="2147480172"/>
            <ac:graphicFrameMk id="405" creationId="{5CA65C23-FB34-FD33-67A3-46878FA47049}"/>
          </ac:graphicFrameMkLst>
        </pc:graphicFrameChg>
        <pc:graphicFrameChg chg="add del mod ord replST">
          <ac:chgData name="Hugo Liabeuf" userId="a9defb0f-a7f4-478c-b61b-a76d3d661b31" providerId="ADAL" clId="{ABD2F74A-712B-4083-A42A-5FB1F7D04898}" dt="2024-06-04T15:48:05.044" v="10834"/>
          <ac:graphicFrameMkLst>
            <pc:docMk/>
            <pc:sldMk cId="2710792005" sldId="2147480172"/>
            <ac:graphicFrameMk id="406" creationId="{C8F84572-EFB8-1F9C-6FD3-E6FC661349BC}"/>
          </ac:graphicFrameMkLst>
        </pc:graphicFrameChg>
        <pc:graphicFrameChg chg="add del mod ord replST">
          <ac:chgData name="Hugo Liabeuf" userId="a9defb0f-a7f4-478c-b61b-a76d3d661b31" providerId="ADAL" clId="{ABD2F74A-712B-4083-A42A-5FB1F7D04898}" dt="2024-06-04T16:01:11.770" v="11737"/>
          <ac:graphicFrameMkLst>
            <pc:docMk/>
            <pc:sldMk cId="2710792005" sldId="2147480172"/>
            <ac:graphicFrameMk id="407" creationId="{CD26777C-C00F-E9E4-017F-838C6BE1CE3A}"/>
          </ac:graphicFrameMkLst>
        </pc:graphicFrameChg>
        <pc:graphicFrameChg chg="add del mod ord replST">
          <ac:chgData name="Hugo Liabeuf" userId="a9defb0f-a7f4-478c-b61b-a76d3d661b31" providerId="ADAL" clId="{ABD2F74A-712B-4083-A42A-5FB1F7D04898}" dt="2024-06-05T15:11:48.662" v="21152"/>
          <ac:graphicFrameMkLst>
            <pc:docMk/>
            <pc:sldMk cId="2710792005" sldId="2147480172"/>
            <ac:graphicFrameMk id="453" creationId="{4A9827B2-D320-A559-864A-CBEFC10D1BD6}"/>
          </ac:graphicFrameMkLst>
        </pc:graphicFrameChg>
        <pc:graphicFrameChg chg="add del mod ord replST">
          <ac:chgData name="Hugo Liabeuf" userId="a9defb0f-a7f4-478c-b61b-a76d3d661b31" providerId="ADAL" clId="{ABD2F74A-712B-4083-A42A-5FB1F7D04898}" dt="2024-06-04T16:01:12.873" v="11914"/>
          <ac:graphicFrameMkLst>
            <pc:docMk/>
            <pc:sldMk cId="2710792005" sldId="2147480172"/>
            <ac:graphicFrameMk id="453" creationId="{8BCFD9F2-31F4-A3C8-C4B9-FD3C444432AD}"/>
          </ac:graphicFrameMkLst>
        </pc:graphicFrameChg>
        <pc:graphicFrameChg chg="add del mod ord replST">
          <ac:chgData name="Hugo Liabeuf" userId="a9defb0f-a7f4-478c-b61b-a76d3d661b31" providerId="ADAL" clId="{ABD2F74A-712B-4083-A42A-5FB1F7D04898}" dt="2024-06-05T08:51:30.134" v="13883"/>
          <ac:graphicFrameMkLst>
            <pc:docMk/>
            <pc:sldMk cId="2710792005" sldId="2147480172"/>
            <ac:graphicFrameMk id="454" creationId="{5EB67140-0B41-2F2B-AAA6-5381758EE178}"/>
          </ac:graphicFrameMkLst>
        </pc:graphicFrameChg>
        <pc:graphicFrameChg chg="add del mod ord replST">
          <ac:chgData name="Hugo Liabeuf" userId="a9defb0f-a7f4-478c-b61b-a76d3d661b31" providerId="ADAL" clId="{ABD2F74A-712B-4083-A42A-5FB1F7D04898}" dt="2024-06-05T08:56:58.581" v="14252"/>
          <ac:graphicFrameMkLst>
            <pc:docMk/>
            <pc:sldMk cId="2710792005" sldId="2147480172"/>
            <ac:graphicFrameMk id="457" creationId="{7D2E5DC5-3F83-8203-DBEE-AACDC2B9A7E2}"/>
          </ac:graphicFrameMkLst>
        </pc:graphicFrameChg>
        <pc:graphicFrameChg chg="add del mod ord replST">
          <ac:chgData name="Hugo Liabeuf" userId="a9defb0f-a7f4-478c-b61b-a76d3d661b31" providerId="ADAL" clId="{ABD2F74A-712B-4083-A42A-5FB1F7D04898}" dt="2024-06-05T15:11:54.804" v="21425"/>
          <ac:graphicFrameMkLst>
            <pc:docMk/>
            <pc:sldMk cId="2710792005" sldId="2147480172"/>
            <ac:graphicFrameMk id="459" creationId="{D1DB2389-578E-647B-8794-CD9C243D5326}"/>
          </ac:graphicFrameMkLst>
        </pc:graphicFrameChg>
        <pc:graphicFrameChg chg="add del mod ord replST">
          <ac:chgData name="Hugo Liabeuf" userId="a9defb0f-a7f4-478c-b61b-a76d3d661b31" providerId="ADAL" clId="{ABD2F74A-712B-4083-A42A-5FB1F7D04898}" dt="2024-06-05T15:12:02.402" v="21584"/>
          <ac:graphicFrameMkLst>
            <pc:docMk/>
            <pc:sldMk cId="2710792005" sldId="2147480172"/>
            <ac:graphicFrameMk id="461" creationId="{C61498E4-9B11-2D16-D2D2-BC21B010ADAE}"/>
          </ac:graphicFrameMkLst>
        </pc:graphicFrameChg>
        <pc:graphicFrameChg chg="add del mod ord replST">
          <ac:chgData name="Hugo Liabeuf" userId="a9defb0f-a7f4-478c-b61b-a76d3d661b31" providerId="ADAL" clId="{ABD2F74A-712B-4083-A42A-5FB1F7D04898}" dt="2024-06-05T15:12:18.863" v="22129"/>
          <ac:graphicFrameMkLst>
            <pc:docMk/>
            <pc:sldMk cId="2710792005" sldId="2147480172"/>
            <ac:graphicFrameMk id="463" creationId="{0FAA27A6-951B-BF78-07A2-042915190E68}"/>
          </ac:graphicFrameMkLst>
        </pc:graphicFrameChg>
        <pc:graphicFrameChg chg="add del mod ord replST">
          <ac:chgData name="Hugo Liabeuf" userId="a9defb0f-a7f4-478c-b61b-a76d3d661b31" providerId="ADAL" clId="{ABD2F74A-712B-4083-A42A-5FB1F7D04898}" dt="2024-06-05T15:12:12.032" v="21906"/>
          <ac:graphicFrameMkLst>
            <pc:docMk/>
            <pc:sldMk cId="2710792005" sldId="2147480172"/>
            <ac:graphicFrameMk id="464" creationId="{3F68F3E8-E7A7-C80B-9553-4DD1B733E7EF}"/>
          </ac:graphicFrameMkLst>
        </pc:graphicFrameChg>
        <pc:graphicFrameChg chg="add del mod ord replST">
          <ac:chgData name="Hugo Liabeuf" userId="a9defb0f-a7f4-478c-b61b-a76d3d661b31" providerId="ADAL" clId="{ABD2F74A-712B-4083-A42A-5FB1F7D04898}" dt="2024-06-05T15:12:18.789" v="22107"/>
          <ac:graphicFrameMkLst>
            <pc:docMk/>
            <pc:sldMk cId="2710792005" sldId="2147480172"/>
            <ac:graphicFrameMk id="465" creationId="{35BABA18-E89B-1B2E-1035-C95F2D48747B}"/>
          </ac:graphicFrameMkLst>
        </pc:graphicFrameChg>
        <pc:graphicFrameChg chg="add del mod ord replST">
          <ac:chgData name="Hugo Liabeuf" userId="a9defb0f-a7f4-478c-b61b-a76d3d661b31" providerId="ADAL" clId="{ABD2F74A-712B-4083-A42A-5FB1F7D04898}" dt="2024-06-05T08:59:28.269" v="16690"/>
          <ac:graphicFrameMkLst>
            <pc:docMk/>
            <pc:sldMk cId="2710792005" sldId="2147480172"/>
            <ac:graphicFrameMk id="467" creationId="{64447073-1590-2607-2D41-3073A5C2ADCA}"/>
          </ac:graphicFrameMkLst>
        </pc:graphicFrameChg>
        <pc:graphicFrameChg chg="add mod ord replST">
          <ac:chgData name="Hugo Liabeuf" userId="a9defb0f-a7f4-478c-b61b-a76d3d661b31" providerId="ADAL" clId="{ABD2F74A-712B-4083-A42A-5FB1F7D04898}" dt="2024-06-05T15:13:22.335" v="22450"/>
          <ac:graphicFrameMkLst>
            <pc:docMk/>
            <pc:sldMk cId="2710792005" sldId="2147480172"/>
            <ac:graphicFrameMk id="467" creationId="{894395F2-367A-DA08-01F5-415B22FEECD4}"/>
          </ac:graphicFrameMkLst>
        </pc:graphicFrameChg>
        <pc:graphicFrameChg chg="add mod ord replST">
          <ac:chgData name="Hugo Liabeuf" userId="a9defb0f-a7f4-478c-b61b-a76d3d661b31" providerId="ADAL" clId="{ABD2F74A-712B-4083-A42A-5FB1F7D04898}" dt="2024-06-05T15:13:22.351" v="22484"/>
          <ac:graphicFrameMkLst>
            <pc:docMk/>
            <pc:sldMk cId="2710792005" sldId="2147480172"/>
            <ac:graphicFrameMk id="468" creationId="{B1A4E903-B2FE-5EA2-76BC-BB249D1D5769}"/>
          </ac:graphicFrameMkLst>
        </pc:graphicFrameChg>
        <pc:graphicFrameChg chg="add del mod ord replST">
          <ac:chgData name="Hugo Liabeuf" userId="a9defb0f-a7f4-478c-b61b-a76d3d661b31" providerId="ADAL" clId="{ABD2F74A-712B-4083-A42A-5FB1F7D04898}" dt="2024-06-05T09:46:45.186" v="17810"/>
          <ac:graphicFrameMkLst>
            <pc:docMk/>
            <pc:sldMk cId="2710792005" sldId="2147480172"/>
            <ac:graphicFrameMk id="472" creationId="{319B828D-7C0C-4D51-A10D-071DF82D9707}"/>
          </ac:graphicFrameMkLst>
        </pc:graphicFrameChg>
        <pc:graphicFrameChg chg="add del mod ord replST">
          <ac:chgData name="Hugo Liabeuf" userId="a9defb0f-a7f4-478c-b61b-a76d3d661b31" providerId="ADAL" clId="{ABD2F74A-712B-4083-A42A-5FB1F7D04898}" dt="2024-06-05T08:59:53.918" v="16868"/>
          <ac:graphicFrameMkLst>
            <pc:docMk/>
            <pc:sldMk cId="2710792005" sldId="2147480172"/>
            <ac:graphicFrameMk id="475" creationId="{D3272919-AC44-9EB0-F156-BBA6B281F67A}"/>
          </ac:graphicFrameMkLst>
        </pc:graphicFrameChg>
        <pc:graphicFrameChg chg="add del mod ord replST">
          <ac:chgData name="Hugo Liabeuf" userId="a9defb0f-a7f4-478c-b61b-a76d3d661b31" providerId="ADAL" clId="{ABD2F74A-712B-4083-A42A-5FB1F7D04898}" dt="2024-06-05T08:59:59.198" v="17045"/>
          <ac:graphicFrameMkLst>
            <pc:docMk/>
            <pc:sldMk cId="2710792005" sldId="2147480172"/>
            <ac:graphicFrameMk id="476" creationId="{DD9952F8-3A97-694B-66B8-1F661736BB8C}"/>
          </ac:graphicFrameMkLst>
        </pc:graphicFrameChg>
        <pc:graphicFrameChg chg="add del mod ord replST">
          <ac:chgData name="Hugo Liabeuf" userId="a9defb0f-a7f4-478c-b61b-a76d3d661b31" providerId="ADAL" clId="{ABD2F74A-712B-4083-A42A-5FB1F7D04898}" dt="2024-06-05T09:46:47.757" v="17998"/>
          <ac:graphicFrameMkLst>
            <pc:docMk/>
            <pc:sldMk cId="2710792005" sldId="2147480172"/>
            <ac:graphicFrameMk id="477" creationId="{093451DF-FAFE-A986-0A4E-641D6F0723CA}"/>
          </ac:graphicFrameMkLst>
        </pc:graphicFrameChg>
        <pc:graphicFrameChg chg="add del mod ord replST">
          <ac:chgData name="Hugo Liabeuf" userId="a9defb0f-a7f4-478c-b61b-a76d3d661b31" providerId="ADAL" clId="{ABD2F74A-712B-4083-A42A-5FB1F7D04898}" dt="2024-06-05T15:10:39.949" v="19162"/>
          <ac:graphicFrameMkLst>
            <pc:docMk/>
            <pc:sldMk cId="2710792005" sldId="2147480172"/>
            <ac:graphicFrameMk id="481" creationId="{6F636E56-A55D-2F22-225D-03213DDE6D40}"/>
          </ac:graphicFrameMkLst>
        </pc:graphicFrameChg>
        <pc:graphicFrameChg chg="add del mod ord replST">
          <ac:chgData name="Hugo Liabeuf" userId="a9defb0f-a7f4-478c-b61b-a76d3d661b31" providerId="ADAL" clId="{ABD2F74A-712B-4083-A42A-5FB1F7D04898}" dt="2024-06-05T15:07:57.135" v="18648"/>
          <ac:graphicFrameMkLst>
            <pc:docMk/>
            <pc:sldMk cId="2710792005" sldId="2147480172"/>
            <ac:graphicFrameMk id="482" creationId="{35F8E9BC-D66F-DC20-B492-277A489CBDBC}"/>
          </ac:graphicFrameMkLst>
        </pc:graphicFrameChg>
        <pc:graphicFrameChg chg="add del mod ord replST">
          <ac:chgData name="Hugo Liabeuf" userId="a9defb0f-a7f4-478c-b61b-a76d3d661b31" providerId="ADAL" clId="{ABD2F74A-712B-4083-A42A-5FB1F7D04898}" dt="2024-06-05T15:11:12.253" v="20287"/>
          <ac:graphicFrameMkLst>
            <pc:docMk/>
            <pc:sldMk cId="2710792005" sldId="2147480172"/>
            <ac:graphicFrameMk id="483" creationId="{AFA25219-234B-56CC-9DB7-3E6CA8D7CEC8}"/>
          </ac:graphicFrameMkLst>
        </pc:graphicFrameChg>
        <pc:picChg chg="mod">
          <ac:chgData name="Hugo Liabeuf" userId="a9defb0f-a7f4-478c-b61b-a76d3d661b31" providerId="ADAL" clId="{ABD2F74A-712B-4083-A42A-5FB1F7D04898}" dt="2024-06-04T16:00:52.033" v="11705"/>
          <ac:picMkLst>
            <pc:docMk/>
            <pc:sldMk cId="2710792005" sldId="2147480172"/>
            <ac:picMk id="418" creationId="{3E26C773-5686-775E-54C8-92A1971AA494}"/>
          </ac:picMkLst>
        </pc:picChg>
        <pc:picChg chg="mod">
          <ac:chgData name="Hugo Liabeuf" userId="a9defb0f-a7f4-478c-b61b-a76d3d661b31" providerId="ADAL" clId="{ABD2F74A-712B-4083-A42A-5FB1F7D04898}" dt="2024-06-04T16:00:52.033" v="11705"/>
          <ac:picMkLst>
            <pc:docMk/>
            <pc:sldMk cId="2710792005" sldId="2147480172"/>
            <ac:picMk id="426" creationId="{2D97B5CC-4C7C-BBD2-53A5-1C9C6D09915B}"/>
          </ac:picMkLst>
        </pc:picChg>
        <pc:picChg chg="mod">
          <ac:chgData name="Hugo Liabeuf" userId="a9defb0f-a7f4-478c-b61b-a76d3d661b31" providerId="ADAL" clId="{ABD2F74A-712B-4083-A42A-5FB1F7D04898}" dt="2024-06-04T16:00:52.033" v="11705"/>
          <ac:picMkLst>
            <pc:docMk/>
            <pc:sldMk cId="2710792005" sldId="2147480172"/>
            <ac:picMk id="428" creationId="{64B2EB45-4C1C-4F7A-696E-207169DCE78D}"/>
          </ac:picMkLst>
        </pc:picChg>
        <pc:picChg chg="mod">
          <ac:chgData name="Hugo Liabeuf" userId="a9defb0f-a7f4-478c-b61b-a76d3d661b31" providerId="ADAL" clId="{ABD2F74A-712B-4083-A42A-5FB1F7D04898}" dt="2024-06-04T16:00:52.033" v="11705"/>
          <ac:picMkLst>
            <pc:docMk/>
            <pc:sldMk cId="2710792005" sldId="2147480172"/>
            <ac:picMk id="429" creationId="{7153B1BF-DEB3-220F-4DA2-860241F4536E}"/>
          </ac:picMkLst>
        </pc:picChg>
        <pc:picChg chg="mod">
          <ac:chgData name="Hugo Liabeuf" userId="a9defb0f-a7f4-478c-b61b-a76d3d661b31" providerId="ADAL" clId="{ABD2F74A-712B-4083-A42A-5FB1F7D04898}" dt="2024-06-04T16:00:52.033" v="11705"/>
          <ac:picMkLst>
            <pc:docMk/>
            <pc:sldMk cId="2710792005" sldId="2147480172"/>
            <ac:picMk id="430" creationId="{E88F16B6-6F49-14A7-023D-B13605C7F22D}"/>
          </ac:picMkLst>
        </pc:picChg>
        <pc:picChg chg="mod">
          <ac:chgData name="Hugo Liabeuf" userId="a9defb0f-a7f4-478c-b61b-a76d3d661b31" providerId="ADAL" clId="{ABD2F74A-712B-4083-A42A-5FB1F7D04898}" dt="2024-06-04T16:00:52.033" v="11705"/>
          <ac:picMkLst>
            <pc:docMk/>
            <pc:sldMk cId="2710792005" sldId="2147480172"/>
            <ac:picMk id="433" creationId="{05A2E646-243E-4187-EFA9-7E46EC9DDA19}"/>
          </ac:picMkLst>
        </pc:picChg>
        <pc:picChg chg="mod">
          <ac:chgData name="Hugo Liabeuf" userId="a9defb0f-a7f4-478c-b61b-a76d3d661b31" providerId="ADAL" clId="{ABD2F74A-712B-4083-A42A-5FB1F7D04898}" dt="2024-06-04T16:00:52.033" v="11705"/>
          <ac:picMkLst>
            <pc:docMk/>
            <pc:sldMk cId="2710792005" sldId="2147480172"/>
            <ac:picMk id="435" creationId="{E1A6C957-88A0-B9BC-AE4B-F07E6250F29A}"/>
          </ac:picMkLst>
        </pc:picChg>
        <pc:picChg chg="mod">
          <ac:chgData name="Hugo Liabeuf" userId="a9defb0f-a7f4-478c-b61b-a76d3d661b31" providerId="ADAL" clId="{ABD2F74A-712B-4083-A42A-5FB1F7D04898}" dt="2024-06-04T16:00:52.033" v="11705"/>
          <ac:picMkLst>
            <pc:docMk/>
            <pc:sldMk cId="2710792005" sldId="2147480172"/>
            <ac:picMk id="436" creationId="{DE0ABC52-57E9-1B6C-DD4F-0857B67B76FB}"/>
          </ac:picMkLst>
        </pc:picChg>
        <pc:picChg chg="mod">
          <ac:chgData name="Hugo Liabeuf" userId="a9defb0f-a7f4-478c-b61b-a76d3d661b31" providerId="ADAL" clId="{ABD2F74A-712B-4083-A42A-5FB1F7D04898}" dt="2024-06-04T16:00:52.033" v="11705"/>
          <ac:picMkLst>
            <pc:docMk/>
            <pc:sldMk cId="2710792005" sldId="2147480172"/>
            <ac:picMk id="437" creationId="{76A41435-67C9-7668-0A3D-2C9A0EA3E8BE}"/>
          </ac:picMkLst>
        </pc:picChg>
        <pc:picChg chg="mod">
          <ac:chgData name="Hugo Liabeuf" userId="a9defb0f-a7f4-478c-b61b-a76d3d661b31" providerId="ADAL" clId="{ABD2F74A-712B-4083-A42A-5FB1F7D04898}" dt="2024-06-04T16:00:52.033" v="11705"/>
          <ac:picMkLst>
            <pc:docMk/>
            <pc:sldMk cId="2710792005" sldId="2147480172"/>
            <ac:picMk id="438" creationId="{DFBA8F62-73D5-C4AC-F29D-389180F20B4E}"/>
          </ac:picMkLst>
        </pc:picChg>
        <pc:picChg chg="mod">
          <ac:chgData name="Hugo Liabeuf" userId="a9defb0f-a7f4-478c-b61b-a76d3d661b31" providerId="ADAL" clId="{ABD2F74A-712B-4083-A42A-5FB1F7D04898}" dt="2024-06-04T16:00:52.033" v="11705"/>
          <ac:picMkLst>
            <pc:docMk/>
            <pc:sldMk cId="2710792005" sldId="2147480172"/>
            <ac:picMk id="439" creationId="{5601C76C-8D69-4B2F-2352-97D454BF2415}"/>
          </ac:picMkLst>
        </pc:picChg>
        <pc:picChg chg="mod">
          <ac:chgData name="Hugo Liabeuf" userId="a9defb0f-a7f4-478c-b61b-a76d3d661b31" providerId="ADAL" clId="{ABD2F74A-712B-4083-A42A-5FB1F7D04898}" dt="2024-06-04T16:00:52.033" v="11705"/>
          <ac:picMkLst>
            <pc:docMk/>
            <pc:sldMk cId="2710792005" sldId="2147480172"/>
            <ac:picMk id="440" creationId="{8C88F5DE-46A7-5D8E-A743-07F2A0F1BEB0}"/>
          </ac:picMkLst>
        </pc:picChg>
        <pc:picChg chg="mod">
          <ac:chgData name="Hugo Liabeuf" userId="a9defb0f-a7f4-478c-b61b-a76d3d661b31" providerId="ADAL" clId="{ABD2F74A-712B-4083-A42A-5FB1F7D04898}" dt="2024-06-04T16:00:52.033" v="11705"/>
          <ac:picMkLst>
            <pc:docMk/>
            <pc:sldMk cId="2710792005" sldId="2147480172"/>
            <ac:picMk id="441" creationId="{85A5566B-32F4-167A-2D52-05A2448CCB08}"/>
          </ac:picMkLst>
        </pc:picChg>
        <pc:picChg chg="mod">
          <ac:chgData name="Hugo Liabeuf" userId="a9defb0f-a7f4-478c-b61b-a76d3d661b31" providerId="ADAL" clId="{ABD2F74A-712B-4083-A42A-5FB1F7D04898}" dt="2024-06-04T16:00:52.033" v="11705"/>
          <ac:picMkLst>
            <pc:docMk/>
            <pc:sldMk cId="2710792005" sldId="2147480172"/>
            <ac:picMk id="442" creationId="{4CA9A9BE-61E7-2A36-60EB-6D16DAAC107F}"/>
          </ac:picMkLst>
        </pc:picChg>
        <pc:picChg chg="mod">
          <ac:chgData name="Hugo Liabeuf" userId="a9defb0f-a7f4-478c-b61b-a76d3d661b31" providerId="ADAL" clId="{ABD2F74A-712B-4083-A42A-5FB1F7D04898}" dt="2024-06-04T16:00:52.033" v="11705"/>
          <ac:picMkLst>
            <pc:docMk/>
            <pc:sldMk cId="2710792005" sldId="2147480172"/>
            <ac:picMk id="443" creationId="{10271520-2D80-D56E-0B7D-92E19ED22497}"/>
          </ac:picMkLst>
        </pc:picChg>
        <pc:picChg chg="mod">
          <ac:chgData name="Hugo Liabeuf" userId="a9defb0f-a7f4-478c-b61b-a76d3d661b31" providerId="ADAL" clId="{ABD2F74A-712B-4083-A42A-5FB1F7D04898}" dt="2024-06-04T16:00:52.033" v="11705"/>
          <ac:picMkLst>
            <pc:docMk/>
            <pc:sldMk cId="2710792005" sldId="2147480172"/>
            <ac:picMk id="444" creationId="{1CEBD614-3B5D-4735-A799-EF160D940C55}"/>
          </ac:picMkLst>
        </pc:picChg>
        <pc:picChg chg="mod">
          <ac:chgData name="Hugo Liabeuf" userId="a9defb0f-a7f4-478c-b61b-a76d3d661b31" providerId="ADAL" clId="{ABD2F74A-712B-4083-A42A-5FB1F7D04898}" dt="2024-06-04T16:00:52.033" v="11705"/>
          <ac:picMkLst>
            <pc:docMk/>
            <pc:sldMk cId="2710792005" sldId="2147480172"/>
            <ac:picMk id="450" creationId="{37B416B3-09B8-C4BF-4ED0-BBCFDFE92028}"/>
          </ac:picMkLst>
        </pc:picChg>
        <pc:picChg chg="mod">
          <ac:chgData name="Hugo Liabeuf" userId="a9defb0f-a7f4-478c-b61b-a76d3d661b31" providerId="ADAL" clId="{ABD2F74A-712B-4083-A42A-5FB1F7D04898}" dt="2024-06-04T16:00:52.033" v="11705"/>
          <ac:picMkLst>
            <pc:docMk/>
            <pc:sldMk cId="2710792005" sldId="2147480172"/>
            <ac:picMk id="452" creationId="{DE699C27-C962-1B2E-0579-3F9E93D8018B}"/>
          </ac:picMkLst>
        </pc:picChg>
        <pc:cxnChg chg="add mod ord replST">
          <ac:chgData name="Hugo Liabeuf" userId="a9defb0f-a7f4-478c-b61b-a76d3d661b31" providerId="ADAL" clId="{ABD2F74A-712B-4083-A42A-5FB1F7D04898}" dt="2024-06-05T15:13:22.335" v="22438"/>
          <ac:cxnSpMkLst>
            <pc:docMk/>
            <pc:sldMk cId="2710792005" sldId="2147480172"/>
            <ac:cxnSpMk id="3" creationId="{9F6586DC-2D75-4061-4E72-5EE1FC55BDA4}"/>
          </ac:cxnSpMkLst>
        </pc:cxnChg>
        <pc:cxnChg chg="add mod ord replST">
          <ac:chgData name="Hugo Liabeuf" userId="a9defb0f-a7f4-478c-b61b-a76d3d661b31" providerId="ADAL" clId="{ABD2F74A-712B-4083-A42A-5FB1F7D04898}" dt="2024-06-05T15:13:22.335" v="22440"/>
          <ac:cxnSpMkLst>
            <pc:docMk/>
            <pc:sldMk cId="2710792005" sldId="2147480172"/>
            <ac:cxnSpMk id="5" creationId="{3413CCA2-0761-1DD0-956E-300EA41FB321}"/>
          </ac:cxnSpMkLst>
        </pc:cxnChg>
        <pc:cxnChg chg="add mod ord replST">
          <ac:chgData name="Hugo Liabeuf" userId="a9defb0f-a7f4-478c-b61b-a76d3d661b31" providerId="ADAL" clId="{ABD2F74A-712B-4083-A42A-5FB1F7D04898}" dt="2024-06-05T15:13:22.335" v="22442"/>
          <ac:cxnSpMkLst>
            <pc:docMk/>
            <pc:sldMk cId="2710792005" sldId="2147480172"/>
            <ac:cxnSpMk id="6" creationId="{A29D34B3-8FC6-2F45-1810-26EE324FD7DB}"/>
          </ac:cxnSpMkLst>
        </pc:cxnChg>
        <pc:cxnChg chg="add mod ord replST">
          <ac:chgData name="Hugo Liabeuf" userId="a9defb0f-a7f4-478c-b61b-a76d3d661b31" providerId="ADAL" clId="{ABD2F74A-712B-4083-A42A-5FB1F7D04898}" dt="2024-06-05T15:13:22.335" v="22444"/>
          <ac:cxnSpMkLst>
            <pc:docMk/>
            <pc:sldMk cId="2710792005" sldId="2147480172"/>
            <ac:cxnSpMk id="8" creationId="{108CD7C5-57E3-07C4-A110-B324389F3BED}"/>
          </ac:cxnSpMkLst>
        </pc:cxnChg>
        <pc:cxnChg chg="mod ord">
          <ac:chgData name="Hugo Liabeuf" userId="a9defb0f-a7f4-478c-b61b-a76d3d661b31" providerId="ADAL" clId="{ABD2F74A-712B-4083-A42A-5FB1F7D04898}" dt="2024-06-05T15:13:33.355" v="22889" actId="14100"/>
          <ac:cxnSpMkLst>
            <pc:docMk/>
            <pc:sldMk cId="2710792005" sldId="2147480172"/>
            <ac:cxnSpMk id="11" creationId="{670DC94F-074C-6359-A9BC-A2C16D11906E}"/>
          </ac:cxnSpMkLst>
        </pc:cxnChg>
        <pc:cxnChg chg="add mod ord replST">
          <ac:chgData name="Hugo Liabeuf" userId="a9defb0f-a7f4-478c-b61b-a76d3d661b31" providerId="ADAL" clId="{ABD2F74A-712B-4083-A42A-5FB1F7D04898}" dt="2024-06-05T15:13:22.335" v="22446"/>
          <ac:cxnSpMkLst>
            <pc:docMk/>
            <pc:sldMk cId="2710792005" sldId="2147480172"/>
            <ac:cxnSpMk id="12" creationId="{1C11FC50-0159-14EB-E976-3B793D9C6C4E}"/>
          </ac:cxnSpMkLst>
        </pc:cxnChg>
        <pc:cxnChg chg="add mod ord replST">
          <ac:chgData name="Hugo Liabeuf" userId="a9defb0f-a7f4-478c-b61b-a76d3d661b31" providerId="ADAL" clId="{ABD2F74A-712B-4083-A42A-5FB1F7D04898}" dt="2024-06-05T15:13:22.335" v="22448"/>
          <ac:cxnSpMkLst>
            <pc:docMk/>
            <pc:sldMk cId="2710792005" sldId="2147480172"/>
            <ac:cxnSpMk id="13" creationId="{0B0F6E08-8442-39CC-D27C-78A7E11247D9}"/>
          </ac:cxnSpMkLst>
        </pc:cxnChg>
        <pc:cxnChg chg="add del mod">
          <ac:chgData name="Hugo Liabeuf" userId="a9defb0f-a7f4-478c-b61b-a76d3d661b31" providerId="ADAL" clId="{ABD2F74A-712B-4083-A42A-5FB1F7D04898}" dt="2024-06-05T15:10:25.611" v="18881" actId="478"/>
          <ac:cxnSpMkLst>
            <pc:docMk/>
            <pc:sldMk cId="2710792005" sldId="2147480172"/>
            <ac:cxnSpMk id="16" creationId="{63168470-F52D-87F4-B4E5-5288C9786420}"/>
          </ac:cxnSpMkLst>
        </pc:cxnChg>
        <pc:cxnChg chg="add del mod">
          <ac:chgData name="Hugo Liabeuf" userId="a9defb0f-a7f4-478c-b61b-a76d3d661b31" providerId="ADAL" clId="{ABD2F74A-712B-4083-A42A-5FB1F7D04898}" dt="2024-06-05T15:10:25.611" v="18881" actId="478"/>
          <ac:cxnSpMkLst>
            <pc:docMk/>
            <pc:sldMk cId="2710792005" sldId="2147480172"/>
            <ac:cxnSpMk id="17" creationId="{1B4C669A-E80C-BE1C-7D2F-B330204DF712}"/>
          </ac:cxnSpMkLst>
        </pc:cxnChg>
        <pc:cxnChg chg="add del mod">
          <ac:chgData name="Hugo Liabeuf" userId="a9defb0f-a7f4-478c-b61b-a76d3d661b31" providerId="ADAL" clId="{ABD2F74A-712B-4083-A42A-5FB1F7D04898}" dt="2024-06-05T15:10:25.611" v="18881" actId="478"/>
          <ac:cxnSpMkLst>
            <pc:docMk/>
            <pc:sldMk cId="2710792005" sldId="2147480172"/>
            <ac:cxnSpMk id="18" creationId="{F2268697-753E-508E-67B2-45431FBA8315}"/>
          </ac:cxnSpMkLst>
        </pc:cxnChg>
        <pc:cxnChg chg="add del mod ord replST">
          <ac:chgData name="Hugo Liabeuf" userId="a9defb0f-a7f4-478c-b61b-a76d3d661b31" providerId="ADAL" clId="{ABD2F74A-712B-4083-A42A-5FB1F7D04898}" dt="2024-06-05T15:11:18.589" v="20399"/>
          <ac:cxnSpMkLst>
            <pc:docMk/>
            <pc:sldMk cId="2710792005" sldId="2147480172"/>
            <ac:cxnSpMk id="25" creationId="{B53EF301-CA30-9250-2580-0CE9784FA4EA}"/>
          </ac:cxnSpMkLst>
        </pc:cxnChg>
        <pc:cxnChg chg="del mod ord">
          <ac:chgData name="Hugo Liabeuf" userId="a9defb0f-a7f4-478c-b61b-a76d3d661b31" providerId="ADAL" clId="{ABD2F74A-712B-4083-A42A-5FB1F7D04898}" dt="2024-06-05T15:08:01.298" v="18752" actId="478"/>
          <ac:cxnSpMkLst>
            <pc:docMk/>
            <pc:sldMk cId="2710792005" sldId="2147480172"/>
            <ac:cxnSpMk id="30" creationId="{31BF0341-89DC-1644-F76F-252CEC9B1307}"/>
          </ac:cxnSpMkLst>
        </pc:cxnChg>
        <pc:cxnChg chg="mod ord">
          <ac:chgData name="Hugo Liabeuf" userId="a9defb0f-a7f4-478c-b61b-a76d3d661b31" providerId="ADAL" clId="{ABD2F74A-712B-4083-A42A-5FB1F7D04898}" dt="2024-06-05T15:13:22.368" v="22488"/>
          <ac:cxnSpMkLst>
            <pc:docMk/>
            <pc:sldMk cId="2710792005" sldId="2147480172"/>
            <ac:cxnSpMk id="31" creationId="{71EFF53A-9D3B-04CE-4F1D-C3F58230E030}"/>
          </ac:cxnSpMkLst>
        </pc:cxnChg>
        <pc:cxnChg chg="del mod ord">
          <ac:chgData name="Hugo Liabeuf" userId="a9defb0f-a7f4-478c-b61b-a76d3d661b31" providerId="ADAL" clId="{ABD2F74A-712B-4083-A42A-5FB1F7D04898}" dt="2024-06-04T15:45:39.381" v="9585" actId="478"/>
          <ac:cxnSpMkLst>
            <pc:docMk/>
            <pc:sldMk cId="2710792005" sldId="2147480172"/>
            <ac:cxnSpMk id="32" creationId="{CF5AF0B5-B7B2-F205-11E7-0A9A08B3898A}"/>
          </ac:cxnSpMkLst>
        </pc:cxnChg>
        <pc:cxnChg chg="del mod ord">
          <ac:chgData name="Hugo Liabeuf" userId="a9defb0f-a7f4-478c-b61b-a76d3d661b31" providerId="ADAL" clId="{ABD2F74A-712B-4083-A42A-5FB1F7D04898}" dt="2024-06-05T09:46:45.170" v="17792"/>
          <ac:cxnSpMkLst>
            <pc:docMk/>
            <pc:sldMk cId="2710792005" sldId="2147480172"/>
            <ac:cxnSpMk id="36" creationId="{933C5570-F267-3053-AFF8-4A91EFB11E15}"/>
          </ac:cxnSpMkLst>
        </pc:cxnChg>
        <pc:cxnChg chg="del mod ord">
          <ac:chgData name="Hugo Liabeuf" userId="a9defb0f-a7f4-478c-b61b-a76d3d661b31" providerId="ADAL" clId="{ABD2F74A-712B-4083-A42A-5FB1F7D04898}" dt="2024-06-05T09:46:45.170" v="17794"/>
          <ac:cxnSpMkLst>
            <pc:docMk/>
            <pc:sldMk cId="2710792005" sldId="2147480172"/>
            <ac:cxnSpMk id="37" creationId="{19360CC4-978B-5B90-BEBD-EED065EBA809}"/>
          </ac:cxnSpMkLst>
        </pc:cxnChg>
        <pc:cxnChg chg="add del mod ord replST">
          <ac:chgData name="Hugo Liabeuf" userId="a9defb0f-a7f4-478c-b61b-a76d3d661b31" providerId="ADAL" clId="{ABD2F74A-712B-4083-A42A-5FB1F7D04898}" dt="2024-06-05T15:11:20" v="20558"/>
          <ac:cxnSpMkLst>
            <pc:docMk/>
            <pc:sldMk cId="2710792005" sldId="2147480172"/>
            <ac:cxnSpMk id="37" creationId="{944BE15D-5923-0366-A721-D6E9296F096A}"/>
          </ac:cxnSpMkLst>
        </pc:cxnChg>
        <pc:cxnChg chg="del mod ord">
          <ac:chgData name="Hugo Liabeuf" userId="a9defb0f-a7f4-478c-b61b-a76d3d661b31" providerId="ADAL" clId="{ABD2F74A-712B-4083-A42A-5FB1F7D04898}" dt="2024-06-05T09:46:45.170" v="17796"/>
          <ac:cxnSpMkLst>
            <pc:docMk/>
            <pc:sldMk cId="2710792005" sldId="2147480172"/>
            <ac:cxnSpMk id="38" creationId="{8E8AA67B-39F4-DF3D-D782-3B80EC93B7B5}"/>
          </ac:cxnSpMkLst>
        </pc:cxnChg>
        <pc:cxnChg chg="del mod ord">
          <ac:chgData name="Hugo Liabeuf" userId="a9defb0f-a7f4-478c-b61b-a76d3d661b31" providerId="ADAL" clId="{ABD2F74A-712B-4083-A42A-5FB1F7D04898}" dt="2024-06-05T09:46:45.186" v="17798"/>
          <ac:cxnSpMkLst>
            <pc:docMk/>
            <pc:sldMk cId="2710792005" sldId="2147480172"/>
            <ac:cxnSpMk id="39" creationId="{BFC814F8-E3F3-35F7-A470-3087BFEDC804}"/>
          </ac:cxnSpMkLst>
        </pc:cxnChg>
        <pc:cxnChg chg="del mod ord">
          <ac:chgData name="Hugo Liabeuf" userId="a9defb0f-a7f4-478c-b61b-a76d3d661b31" providerId="ADAL" clId="{ABD2F74A-712B-4083-A42A-5FB1F7D04898}" dt="2024-06-05T09:46:45.186" v="17800"/>
          <ac:cxnSpMkLst>
            <pc:docMk/>
            <pc:sldMk cId="2710792005" sldId="2147480172"/>
            <ac:cxnSpMk id="40" creationId="{1A36F1AF-C9B6-5DD6-F434-E9BD4CD5430B}"/>
          </ac:cxnSpMkLst>
        </pc:cxnChg>
        <pc:cxnChg chg="del mod ord">
          <ac:chgData name="Hugo Liabeuf" userId="a9defb0f-a7f4-478c-b61b-a76d3d661b31" providerId="ADAL" clId="{ABD2F74A-712B-4083-A42A-5FB1F7D04898}" dt="2024-06-05T09:46:45.186" v="17802"/>
          <ac:cxnSpMkLst>
            <pc:docMk/>
            <pc:sldMk cId="2710792005" sldId="2147480172"/>
            <ac:cxnSpMk id="41" creationId="{47F22579-F28C-A423-D01A-B771BED6DF8C}"/>
          </ac:cxnSpMkLst>
        </pc:cxnChg>
        <pc:cxnChg chg="del mod ord">
          <ac:chgData name="Hugo Liabeuf" userId="a9defb0f-a7f4-478c-b61b-a76d3d661b31" providerId="ADAL" clId="{ABD2F74A-712B-4083-A42A-5FB1F7D04898}" dt="2024-06-05T09:46:45.186" v="17804"/>
          <ac:cxnSpMkLst>
            <pc:docMk/>
            <pc:sldMk cId="2710792005" sldId="2147480172"/>
            <ac:cxnSpMk id="42" creationId="{4F487B29-CA37-E119-35FE-B3CC85E4E5E2}"/>
          </ac:cxnSpMkLst>
        </pc:cxnChg>
        <pc:cxnChg chg="del mod ord">
          <ac:chgData name="Hugo Liabeuf" userId="a9defb0f-a7f4-478c-b61b-a76d3d661b31" providerId="ADAL" clId="{ABD2F74A-712B-4083-A42A-5FB1F7D04898}" dt="2024-06-05T09:46:45.186" v="17806"/>
          <ac:cxnSpMkLst>
            <pc:docMk/>
            <pc:sldMk cId="2710792005" sldId="2147480172"/>
            <ac:cxnSpMk id="43" creationId="{B3E6B630-B95A-6034-1E38-77EDDE22C188}"/>
          </ac:cxnSpMkLst>
        </pc:cxnChg>
        <pc:cxnChg chg="del mod ord">
          <ac:chgData name="Hugo Liabeuf" userId="a9defb0f-a7f4-478c-b61b-a76d3d661b31" providerId="ADAL" clId="{ABD2F74A-712B-4083-A42A-5FB1F7D04898}" dt="2024-06-05T09:46:45.186" v="17808"/>
          <ac:cxnSpMkLst>
            <pc:docMk/>
            <pc:sldMk cId="2710792005" sldId="2147480172"/>
            <ac:cxnSpMk id="44" creationId="{5B9E59DD-31F2-C35A-AD65-804B21ADC31C}"/>
          </ac:cxnSpMkLst>
        </pc:cxnChg>
        <pc:cxnChg chg="mod ord">
          <ac:chgData name="Hugo Liabeuf" userId="a9defb0f-a7f4-478c-b61b-a76d3d661b31" providerId="ADAL" clId="{ABD2F74A-712B-4083-A42A-5FB1F7D04898}" dt="2024-06-05T15:13:44.250" v="23055" actId="16931"/>
          <ac:cxnSpMkLst>
            <pc:docMk/>
            <pc:sldMk cId="2710792005" sldId="2147480172"/>
            <ac:cxnSpMk id="54" creationId="{BEB63B41-1BF4-4994-DF5E-E2375D61CEDC}"/>
          </ac:cxnSpMkLst>
        </pc:cxnChg>
        <pc:cxnChg chg="mod ord">
          <ac:chgData name="Hugo Liabeuf" userId="a9defb0f-a7f4-478c-b61b-a76d3d661b31" providerId="ADAL" clId="{ABD2F74A-712B-4083-A42A-5FB1F7D04898}" dt="2024-06-05T15:13:44.266" v="23081" actId="16931"/>
          <ac:cxnSpMkLst>
            <pc:docMk/>
            <pc:sldMk cId="2710792005" sldId="2147480172"/>
            <ac:cxnSpMk id="55" creationId="{7FE4E388-07F6-F29A-598A-1FA49803B695}"/>
          </ac:cxnSpMkLst>
        </pc:cxnChg>
        <pc:cxnChg chg="mod ord">
          <ac:chgData name="Hugo Liabeuf" userId="a9defb0f-a7f4-478c-b61b-a76d3d661b31" providerId="ADAL" clId="{ABD2F74A-712B-4083-A42A-5FB1F7D04898}" dt="2024-06-05T15:13:44.281" v="23107" actId="16931"/>
          <ac:cxnSpMkLst>
            <pc:docMk/>
            <pc:sldMk cId="2710792005" sldId="2147480172"/>
            <ac:cxnSpMk id="56" creationId="{A9C927F5-ACC1-FCD5-E9E8-5630852B6384}"/>
          </ac:cxnSpMkLst>
        </pc:cxnChg>
        <pc:cxnChg chg="mod ord">
          <ac:chgData name="Hugo Liabeuf" userId="a9defb0f-a7f4-478c-b61b-a76d3d661b31" providerId="ADAL" clId="{ABD2F74A-712B-4083-A42A-5FB1F7D04898}" dt="2024-06-05T15:13:44.298" v="23133" actId="16931"/>
          <ac:cxnSpMkLst>
            <pc:docMk/>
            <pc:sldMk cId="2710792005" sldId="2147480172"/>
            <ac:cxnSpMk id="57" creationId="{78F36FB3-9990-2C99-2816-2A8A076CA06E}"/>
          </ac:cxnSpMkLst>
        </pc:cxnChg>
        <pc:cxnChg chg="mod ord">
          <ac:chgData name="Hugo Liabeuf" userId="a9defb0f-a7f4-478c-b61b-a76d3d661b31" providerId="ADAL" clId="{ABD2F74A-712B-4083-A42A-5FB1F7D04898}" dt="2024-06-05T15:13:44.298" v="23159" actId="16931"/>
          <ac:cxnSpMkLst>
            <pc:docMk/>
            <pc:sldMk cId="2710792005" sldId="2147480172"/>
            <ac:cxnSpMk id="58" creationId="{5F9DCB7C-59A8-F16E-AAF9-EDDE13A5169C}"/>
          </ac:cxnSpMkLst>
        </pc:cxnChg>
        <pc:cxnChg chg="mod ord">
          <ac:chgData name="Hugo Liabeuf" userId="a9defb0f-a7f4-478c-b61b-a76d3d661b31" providerId="ADAL" clId="{ABD2F74A-712B-4083-A42A-5FB1F7D04898}" dt="2024-06-05T15:13:44.321" v="23185" actId="16931"/>
          <ac:cxnSpMkLst>
            <pc:docMk/>
            <pc:sldMk cId="2710792005" sldId="2147480172"/>
            <ac:cxnSpMk id="59" creationId="{515873EB-336D-B24B-5A8F-04006C1CCFA5}"/>
          </ac:cxnSpMkLst>
        </pc:cxnChg>
        <pc:cxnChg chg="del mod ord">
          <ac:chgData name="Hugo Liabeuf" userId="a9defb0f-a7f4-478c-b61b-a76d3d661b31" providerId="ADAL" clId="{ABD2F74A-712B-4083-A42A-5FB1F7D04898}" dt="2024-06-04T15:45:04.006" v="9241"/>
          <ac:cxnSpMkLst>
            <pc:docMk/>
            <pc:sldMk cId="2710792005" sldId="2147480172"/>
            <ac:cxnSpMk id="75" creationId="{5DF36FD8-82C6-B966-482D-729AA6649808}"/>
          </ac:cxnSpMkLst>
        </pc:cxnChg>
        <pc:cxnChg chg="del mod ord">
          <ac:chgData name="Hugo Liabeuf" userId="a9defb0f-a7f4-478c-b61b-a76d3d661b31" providerId="ADAL" clId="{ABD2F74A-712B-4083-A42A-5FB1F7D04898}" dt="2024-06-04T15:45:39.381" v="9585" actId="478"/>
          <ac:cxnSpMkLst>
            <pc:docMk/>
            <pc:sldMk cId="2710792005" sldId="2147480172"/>
            <ac:cxnSpMk id="108" creationId="{BD6396FC-E183-97FF-F51D-57C4B8F0D6CC}"/>
          </ac:cxnSpMkLst>
        </pc:cxnChg>
        <pc:cxnChg chg="add mod ord">
          <ac:chgData name="Hugo Liabeuf" userId="a9defb0f-a7f4-478c-b61b-a76d3d661b31" providerId="ADAL" clId="{ABD2F74A-712B-4083-A42A-5FB1F7D04898}" dt="2024-06-05T15:15:38.930" v="23218" actId="1035"/>
          <ac:cxnSpMkLst>
            <pc:docMk/>
            <pc:sldMk cId="2710792005" sldId="2147480172"/>
            <ac:cxnSpMk id="122" creationId="{370498EB-0DB2-6C80-B2FB-232B9EB8D87B}"/>
          </ac:cxnSpMkLst>
        </pc:cxnChg>
        <pc:cxnChg chg="add mod ord">
          <ac:chgData name="Hugo Liabeuf" userId="a9defb0f-a7f4-478c-b61b-a76d3d661b31" providerId="ADAL" clId="{ABD2F74A-712B-4083-A42A-5FB1F7D04898}" dt="2024-06-05T15:15:08.057" v="23211" actId="554"/>
          <ac:cxnSpMkLst>
            <pc:docMk/>
            <pc:sldMk cId="2710792005" sldId="2147480172"/>
            <ac:cxnSpMk id="125" creationId="{80AD295E-7638-3416-3EC4-023EBDFA2D34}"/>
          </ac:cxnSpMkLst>
        </pc:cxnChg>
        <pc:cxnChg chg="add del mod ord">
          <ac:chgData name="Hugo Liabeuf" userId="a9defb0f-a7f4-478c-b61b-a76d3d661b31" providerId="ADAL" clId="{ABD2F74A-712B-4083-A42A-5FB1F7D04898}" dt="2024-06-05T15:09:28.055" v="18801" actId="478"/>
          <ac:cxnSpMkLst>
            <pc:docMk/>
            <pc:sldMk cId="2710792005" sldId="2147480172"/>
            <ac:cxnSpMk id="126" creationId="{15F94D9B-9969-9588-D573-EB2A13DA7016}"/>
          </ac:cxnSpMkLst>
        </pc:cxnChg>
        <pc:cxnChg chg="add mod ord">
          <ac:chgData name="Hugo Liabeuf" userId="a9defb0f-a7f4-478c-b61b-a76d3d661b31" providerId="ADAL" clId="{ABD2F74A-712B-4083-A42A-5FB1F7D04898}" dt="2024-06-05T15:13:22.351" v="22472"/>
          <ac:cxnSpMkLst>
            <pc:docMk/>
            <pc:sldMk cId="2710792005" sldId="2147480172"/>
            <ac:cxnSpMk id="410" creationId="{4CBE8BA3-2BEB-6B68-7E60-FF706232311C}"/>
          </ac:cxnSpMkLst>
        </pc:cxnChg>
        <pc:cxnChg chg="add del mod ord replST">
          <ac:chgData name="Hugo Liabeuf" userId="a9defb0f-a7f4-478c-b61b-a76d3d661b31" providerId="ADAL" clId="{ABD2F74A-712B-4083-A42A-5FB1F7D04898}" dt="2024-06-05T15:12:02.286" v="21534"/>
          <ac:cxnSpMkLst>
            <pc:docMk/>
            <pc:sldMk cId="2710792005" sldId="2147480172"/>
            <ac:cxnSpMk id="458" creationId="{36B8E366-6871-2DF3-3215-F2609E031406}"/>
          </ac:cxnSpMkLst>
        </pc:cxnChg>
        <pc:cxnChg chg="add mod">
          <ac:chgData name="Hugo Liabeuf" userId="a9defb0f-a7f4-478c-b61b-a76d3d661b31" providerId="ADAL" clId="{ABD2F74A-712B-4083-A42A-5FB1F7D04898}" dt="2024-06-05T15:15:29.426" v="23215" actId="12788"/>
          <ac:cxnSpMkLst>
            <pc:docMk/>
            <pc:sldMk cId="2710792005" sldId="2147480172"/>
            <ac:cxnSpMk id="471" creationId="{EECB529C-931B-E7A1-D319-85D3BB820C65}"/>
          </ac:cxnSpMkLst>
        </pc:cxnChg>
        <pc:cxnChg chg="add mod">
          <ac:chgData name="Hugo Liabeuf" userId="a9defb0f-a7f4-478c-b61b-a76d3d661b31" providerId="ADAL" clId="{ABD2F74A-712B-4083-A42A-5FB1F7D04898}" dt="2024-06-05T15:15:29.674" v="23216" actId="465"/>
          <ac:cxnSpMkLst>
            <pc:docMk/>
            <pc:sldMk cId="2710792005" sldId="2147480172"/>
            <ac:cxnSpMk id="472" creationId="{29D5E364-4152-B4B2-A3F1-364AF648784F}"/>
          </ac:cxnSpMkLst>
        </pc:cxnChg>
        <pc:cxnChg chg="add mod">
          <ac:chgData name="Hugo Liabeuf" userId="a9defb0f-a7f4-478c-b61b-a76d3d661b31" providerId="ADAL" clId="{ABD2F74A-712B-4083-A42A-5FB1F7D04898}" dt="2024-06-05T15:15:29.426" v="23215" actId="12788"/>
          <ac:cxnSpMkLst>
            <pc:docMk/>
            <pc:sldMk cId="2710792005" sldId="2147480172"/>
            <ac:cxnSpMk id="473" creationId="{47840E30-0AC8-46FB-D8E5-FEE3D6B8341A}"/>
          </ac:cxnSpMkLst>
        </pc:cxnChg>
        <pc:cxnChg chg="add mod ord">
          <ac:chgData name="Hugo Liabeuf" userId="a9defb0f-a7f4-478c-b61b-a76d3d661b31" providerId="ADAL" clId="{ABD2F74A-712B-4083-A42A-5FB1F7D04898}" dt="2024-06-05T15:13:22.368" v="22492"/>
          <ac:cxnSpMkLst>
            <pc:docMk/>
            <pc:sldMk cId="2710792005" sldId="2147480172"/>
            <ac:cxnSpMk id="484" creationId="{69D76279-5933-9C00-1FBB-1EDF125CEAF7}"/>
          </ac:cxnSpMkLst>
        </pc:cxnChg>
      </pc:sldChg>
      <pc:sldChg chg="modSp del mod">
        <pc:chgData name="Hugo Liabeuf" userId="a9defb0f-a7f4-478c-b61b-a76d3d661b31" providerId="ADAL" clId="{ABD2F74A-712B-4083-A42A-5FB1F7D04898}" dt="2024-06-04T15:34:59.474" v="4505" actId="47"/>
        <pc:sldMkLst>
          <pc:docMk/>
          <pc:sldMk cId="3114414707" sldId="2147480173"/>
        </pc:sldMkLst>
        <pc:spChg chg="mod">
          <ac:chgData name="Hugo Liabeuf" userId="a9defb0f-a7f4-478c-b61b-a76d3d661b31" providerId="ADAL" clId="{ABD2F74A-712B-4083-A42A-5FB1F7D04898}" dt="2024-06-04T13:43:08.213" v="100" actId="20577"/>
          <ac:spMkLst>
            <pc:docMk/>
            <pc:sldMk cId="3114414707" sldId="2147480173"/>
            <ac:spMk id="18" creationId="{6ACC2B80-D3F4-7178-2292-3BB9F1A7043C}"/>
          </ac:spMkLst>
        </pc:spChg>
      </pc:sldChg>
      <pc:sldChg chg="addSp delSp modSp mod">
        <pc:chgData name="Hugo Liabeuf" userId="a9defb0f-a7f4-478c-b61b-a76d3d661b31" providerId="ADAL" clId="{ABD2F74A-712B-4083-A42A-5FB1F7D04898}" dt="2024-06-04T15:54:51.900" v="11548" actId="207"/>
        <pc:sldMkLst>
          <pc:docMk/>
          <pc:sldMk cId="2592078673" sldId="2147480174"/>
        </pc:sldMkLst>
        <pc:spChg chg="mod ord">
          <ac:chgData name="Hugo Liabeuf" userId="a9defb0f-a7f4-478c-b61b-a76d3d661b31" providerId="ADAL" clId="{ABD2F74A-712B-4083-A42A-5FB1F7D04898}" dt="2024-06-04T14:28:56.629" v="2775"/>
          <ac:spMkLst>
            <pc:docMk/>
            <pc:sldMk cId="2592078673" sldId="2147480174"/>
            <ac:spMk id="3" creationId="{BAD2CBED-384E-4660-CEB4-B3BECBCB12A6}"/>
          </ac:spMkLst>
        </pc:spChg>
        <pc:spChg chg="mod ord">
          <ac:chgData name="Hugo Liabeuf" userId="a9defb0f-a7f4-478c-b61b-a76d3d661b31" providerId="ADAL" clId="{ABD2F74A-712B-4083-A42A-5FB1F7D04898}" dt="2024-06-04T14:28:56.629" v="2777"/>
          <ac:spMkLst>
            <pc:docMk/>
            <pc:sldMk cId="2592078673" sldId="2147480174"/>
            <ac:spMk id="4" creationId="{4B4630DF-014A-267D-A214-AD48B45C029D}"/>
          </ac:spMkLst>
        </pc:spChg>
        <pc:spChg chg="mod ord">
          <ac:chgData name="Hugo Liabeuf" userId="a9defb0f-a7f4-478c-b61b-a76d3d661b31" providerId="ADAL" clId="{ABD2F74A-712B-4083-A42A-5FB1F7D04898}" dt="2024-06-04T14:28:56.629" v="2771"/>
          <ac:spMkLst>
            <pc:docMk/>
            <pc:sldMk cId="2592078673" sldId="2147480174"/>
            <ac:spMk id="5" creationId="{E4289B17-A53F-0074-2AC0-332BFEF9826E}"/>
          </ac:spMkLst>
        </pc:spChg>
        <pc:spChg chg="mod ord">
          <ac:chgData name="Hugo Liabeuf" userId="a9defb0f-a7f4-478c-b61b-a76d3d661b31" providerId="ADAL" clId="{ABD2F74A-712B-4083-A42A-5FB1F7D04898}" dt="2024-06-04T14:28:56.646" v="2785"/>
          <ac:spMkLst>
            <pc:docMk/>
            <pc:sldMk cId="2592078673" sldId="2147480174"/>
            <ac:spMk id="6" creationId="{B2290F76-F9C2-9A99-9990-27F933F720BE}"/>
          </ac:spMkLst>
        </pc:spChg>
        <pc:spChg chg="mod ord">
          <ac:chgData name="Hugo Liabeuf" userId="a9defb0f-a7f4-478c-b61b-a76d3d661b31" providerId="ADAL" clId="{ABD2F74A-712B-4083-A42A-5FB1F7D04898}" dt="2024-06-04T14:28:56.645" v="2779"/>
          <ac:spMkLst>
            <pc:docMk/>
            <pc:sldMk cId="2592078673" sldId="2147480174"/>
            <ac:spMk id="19" creationId="{7C6CD252-CE8C-5C39-A7AE-F1D35B18E3B1}"/>
          </ac:spMkLst>
        </pc:spChg>
        <pc:spChg chg="mod ord">
          <ac:chgData name="Hugo Liabeuf" userId="a9defb0f-a7f4-478c-b61b-a76d3d661b31" providerId="ADAL" clId="{ABD2F74A-712B-4083-A42A-5FB1F7D04898}" dt="2024-06-04T14:29:37.205" v="2814" actId="207"/>
          <ac:spMkLst>
            <pc:docMk/>
            <pc:sldMk cId="2592078673" sldId="2147480174"/>
            <ac:spMk id="20" creationId="{1A84F986-3E80-C62B-0177-44EE6687EEE5}"/>
          </ac:spMkLst>
        </pc:spChg>
        <pc:spChg chg="mod ord">
          <ac:chgData name="Hugo Liabeuf" userId="a9defb0f-a7f4-478c-b61b-a76d3d661b31" providerId="ADAL" clId="{ABD2F74A-712B-4083-A42A-5FB1F7D04898}" dt="2024-06-04T14:29:48.881" v="2815" actId="207"/>
          <ac:spMkLst>
            <pc:docMk/>
            <pc:sldMk cId="2592078673" sldId="2147480174"/>
            <ac:spMk id="21" creationId="{D295192D-BA7D-5BD4-470B-0531D94DC03E}"/>
          </ac:spMkLst>
        </pc:spChg>
        <pc:spChg chg="del mod ord">
          <ac:chgData name="Hugo Liabeuf" userId="a9defb0f-a7f4-478c-b61b-a76d3d661b31" providerId="ADAL" clId="{ABD2F74A-712B-4083-A42A-5FB1F7D04898}" dt="2024-06-04T14:30:15.104" v="2816" actId="478"/>
          <ac:spMkLst>
            <pc:docMk/>
            <pc:sldMk cId="2592078673" sldId="2147480174"/>
            <ac:spMk id="55" creationId="{BCE87DCC-DFFE-1BE0-91DE-F4DCC4AC990F}"/>
          </ac:spMkLst>
        </pc:spChg>
        <pc:spChg chg="add del mod modVis">
          <ac:chgData name="Hugo Liabeuf" userId="a9defb0f-a7f4-478c-b61b-a76d3d661b31" providerId="ADAL" clId="{ABD2F74A-712B-4083-A42A-5FB1F7D04898}" dt="2024-06-04T14:21:42.614" v="2027"/>
          <ac:spMkLst>
            <pc:docMk/>
            <pc:sldMk cId="2592078673" sldId="2147480174"/>
            <ac:spMk id="56" creationId="{B877DD76-1944-1142-BB79-E51969CF6339}"/>
          </ac:spMkLst>
        </pc:spChg>
        <pc:spChg chg="add del mod modVis">
          <ac:chgData name="Hugo Liabeuf" userId="a9defb0f-a7f4-478c-b61b-a76d3d661b31" providerId="ADAL" clId="{ABD2F74A-712B-4083-A42A-5FB1F7D04898}" dt="2024-06-04T14:21:44.181" v="2062"/>
          <ac:spMkLst>
            <pc:docMk/>
            <pc:sldMk cId="2592078673" sldId="2147480174"/>
            <ac:spMk id="57" creationId="{E4118DA4-B39B-B896-BC03-6860E931108B}"/>
          </ac:spMkLst>
        </pc:spChg>
        <pc:spChg chg="add del mod modVis">
          <ac:chgData name="Hugo Liabeuf" userId="a9defb0f-a7f4-478c-b61b-a76d3d661b31" providerId="ADAL" clId="{ABD2F74A-712B-4083-A42A-5FB1F7D04898}" dt="2024-06-04T14:21:46.750" v="2103"/>
          <ac:spMkLst>
            <pc:docMk/>
            <pc:sldMk cId="2592078673" sldId="2147480174"/>
            <ac:spMk id="58" creationId="{3CF7AF5C-C511-3507-5AB4-CE02570DAD09}"/>
          </ac:spMkLst>
        </pc:spChg>
        <pc:spChg chg="add del mod modVis">
          <ac:chgData name="Hugo Liabeuf" userId="a9defb0f-a7f4-478c-b61b-a76d3d661b31" providerId="ADAL" clId="{ABD2F74A-712B-4083-A42A-5FB1F7D04898}" dt="2024-06-04T14:21:49" v="2144"/>
          <ac:spMkLst>
            <pc:docMk/>
            <pc:sldMk cId="2592078673" sldId="2147480174"/>
            <ac:spMk id="59" creationId="{32BD23FC-A7EF-AFF8-51CE-EBD8AC44A559}"/>
          </ac:spMkLst>
        </pc:spChg>
        <pc:spChg chg="add del mod modVis">
          <ac:chgData name="Hugo Liabeuf" userId="a9defb0f-a7f4-478c-b61b-a76d3d661b31" providerId="ADAL" clId="{ABD2F74A-712B-4083-A42A-5FB1F7D04898}" dt="2024-06-04T14:21:50.618" v="2178"/>
          <ac:spMkLst>
            <pc:docMk/>
            <pc:sldMk cId="2592078673" sldId="2147480174"/>
            <ac:spMk id="60" creationId="{EAFA13BE-CB55-1484-BC0B-097367DBAD15}"/>
          </ac:spMkLst>
        </pc:spChg>
        <pc:spChg chg="add del mod modVis">
          <ac:chgData name="Hugo Liabeuf" userId="a9defb0f-a7f4-478c-b61b-a76d3d661b31" providerId="ADAL" clId="{ABD2F74A-712B-4083-A42A-5FB1F7D04898}" dt="2024-06-04T14:21:53.136" v="2225"/>
          <ac:spMkLst>
            <pc:docMk/>
            <pc:sldMk cId="2592078673" sldId="2147480174"/>
            <ac:spMk id="61" creationId="{626AA5F3-6489-859B-3A58-06D2D1A2CD36}"/>
          </ac:spMkLst>
        </pc:spChg>
        <pc:spChg chg="add del mod modVis">
          <ac:chgData name="Hugo Liabeuf" userId="a9defb0f-a7f4-478c-b61b-a76d3d661b31" providerId="ADAL" clId="{ABD2F74A-712B-4083-A42A-5FB1F7D04898}" dt="2024-06-04T14:21:55.554" v="2269"/>
          <ac:spMkLst>
            <pc:docMk/>
            <pc:sldMk cId="2592078673" sldId="2147480174"/>
            <ac:spMk id="62" creationId="{446A143C-C34F-3416-1140-7F685F472E25}"/>
          </ac:spMkLst>
        </pc:spChg>
        <pc:spChg chg="add del mod modVis">
          <ac:chgData name="Hugo Liabeuf" userId="a9defb0f-a7f4-478c-b61b-a76d3d661b31" providerId="ADAL" clId="{ABD2F74A-712B-4083-A42A-5FB1F7D04898}" dt="2024-06-04T14:21:57.085" v="2305"/>
          <ac:spMkLst>
            <pc:docMk/>
            <pc:sldMk cId="2592078673" sldId="2147480174"/>
            <ac:spMk id="63" creationId="{5C4AAE4D-2389-33D3-1038-0E4F776B586C}"/>
          </ac:spMkLst>
        </pc:spChg>
        <pc:spChg chg="add del mod modVis">
          <ac:chgData name="Hugo Liabeuf" userId="a9defb0f-a7f4-478c-b61b-a76d3d661b31" providerId="ADAL" clId="{ABD2F74A-712B-4083-A42A-5FB1F7D04898}" dt="2024-06-04T14:21:59.820" v="2352"/>
          <ac:spMkLst>
            <pc:docMk/>
            <pc:sldMk cId="2592078673" sldId="2147480174"/>
            <ac:spMk id="64" creationId="{7DA673C4-E1E1-B995-1B7F-3BECDB8EED6E}"/>
          </ac:spMkLst>
        </pc:spChg>
        <pc:spChg chg="add del mod modVis">
          <ac:chgData name="Hugo Liabeuf" userId="a9defb0f-a7f4-478c-b61b-a76d3d661b31" providerId="ADAL" clId="{ABD2F74A-712B-4083-A42A-5FB1F7D04898}" dt="2024-06-04T14:22:02.151" v="2381"/>
          <ac:spMkLst>
            <pc:docMk/>
            <pc:sldMk cId="2592078673" sldId="2147480174"/>
            <ac:spMk id="65" creationId="{3EC88415-FA02-2CCA-0C80-B5E0B3AFD1B4}"/>
          </ac:spMkLst>
        </pc:spChg>
        <pc:spChg chg="add del mod modVis">
          <ac:chgData name="Hugo Liabeuf" userId="a9defb0f-a7f4-478c-b61b-a76d3d661b31" providerId="ADAL" clId="{ABD2F74A-712B-4083-A42A-5FB1F7D04898}" dt="2024-06-04T14:22:04.165" v="2409"/>
          <ac:spMkLst>
            <pc:docMk/>
            <pc:sldMk cId="2592078673" sldId="2147480174"/>
            <ac:spMk id="66" creationId="{4EE51658-CBA6-6235-1D92-2200C76AD6EA}"/>
          </ac:spMkLst>
        </pc:spChg>
        <pc:spChg chg="add del mod modVis">
          <ac:chgData name="Hugo Liabeuf" userId="a9defb0f-a7f4-478c-b61b-a76d3d661b31" providerId="ADAL" clId="{ABD2F74A-712B-4083-A42A-5FB1F7D04898}" dt="2024-06-04T14:22:13.911" v="2452"/>
          <ac:spMkLst>
            <pc:docMk/>
            <pc:sldMk cId="2592078673" sldId="2147480174"/>
            <ac:spMk id="67" creationId="{11C03AC8-1803-90AB-C0D5-4CFA94ED94C6}"/>
          </ac:spMkLst>
        </pc:spChg>
        <pc:spChg chg="add del mod modVis">
          <ac:chgData name="Hugo Liabeuf" userId="a9defb0f-a7f4-478c-b61b-a76d3d661b31" providerId="ADAL" clId="{ABD2F74A-712B-4083-A42A-5FB1F7D04898}" dt="2024-06-04T14:22:20.536" v="2480"/>
          <ac:spMkLst>
            <pc:docMk/>
            <pc:sldMk cId="2592078673" sldId="2147480174"/>
            <ac:spMk id="68" creationId="{37E00956-656D-48F8-896B-2D1653B51B76}"/>
          </ac:spMkLst>
        </pc:spChg>
        <pc:spChg chg="add del mod modVis">
          <ac:chgData name="Hugo Liabeuf" userId="a9defb0f-a7f4-478c-b61b-a76d3d661b31" providerId="ADAL" clId="{ABD2F74A-712B-4083-A42A-5FB1F7D04898}" dt="2024-06-04T14:22:23.282" v="2508"/>
          <ac:spMkLst>
            <pc:docMk/>
            <pc:sldMk cId="2592078673" sldId="2147480174"/>
            <ac:spMk id="69" creationId="{A87243C6-EF2E-6383-DD75-AB149AF1FB6E}"/>
          </ac:spMkLst>
        </pc:spChg>
        <pc:spChg chg="add del mod modVis">
          <ac:chgData name="Hugo Liabeuf" userId="a9defb0f-a7f4-478c-b61b-a76d3d661b31" providerId="ADAL" clId="{ABD2F74A-712B-4083-A42A-5FB1F7D04898}" dt="2024-06-04T14:22:26.859" v="2543"/>
          <ac:spMkLst>
            <pc:docMk/>
            <pc:sldMk cId="2592078673" sldId="2147480174"/>
            <ac:spMk id="70" creationId="{1B65CC42-BDFB-F493-B15D-4E217EC5D46B}"/>
          </ac:spMkLst>
        </pc:spChg>
        <pc:spChg chg="add del mod modVis">
          <ac:chgData name="Hugo Liabeuf" userId="a9defb0f-a7f4-478c-b61b-a76d3d661b31" providerId="ADAL" clId="{ABD2F74A-712B-4083-A42A-5FB1F7D04898}" dt="2024-06-04T14:22:28.774" v="2571"/>
          <ac:spMkLst>
            <pc:docMk/>
            <pc:sldMk cId="2592078673" sldId="2147480174"/>
            <ac:spMk id="71" creationId="{99EB1AF4-DD55-8663-93A4-F08E9AC89C4B}"/>
          </ac:spMkLst>
        </pc:spChg>
        <pc:spChg chg="add mod ord">
          <ac:chgData name="Hugo Liabeuf" userId="a9defb0f-a7f4-478c-b61b-a76d3d661b31" providerId="ADAL" clId="{ABD2F74A-712B-4083-A42A-5FB1F7D04898}" dt="2024-06-04T14:29:31.922" v="2813" actId="207"/>
          <ac:spMkLst>
            <pc:docMk/>
            <pc:sldMk cId="2592078673" sldId="2147480174"/>
            <ac:spMk id="90" creationId="{1284260A-5B69-04D1-0831-D394A37A07F7}"/>
          </ac:spMkLst>
        </pc:spChg>
        <pc:spChg chg="add mod ord">
          <ac:chgData name="Hugo Liabeuf" userId="a9defb0f-a7f4-478c-b61b-a76d3d661b31" providerId="ADAL" clId="{ABD2F74A-712B-4083-A42A-5FB1F7D04898}" dt="2024-06-04T14:29:31.922" v="2813" actId="207"/>
          <ac:spMkLst>
            <pc:docMk/>
            <pc:sldMk cId="2592078673" sldId="2147480174"/>
            <ac:spMk id="96" creationId="{C68D210C-B72D-273E-A859-585EA57064A8}"/>
          </ac:spMkLst>
        </pc:spChg>
        <pc:spChg chg="add mod ord">
          <ac:chgData name="Hugo Liabeuf" userId="a9defb0f-a7f4-478c-b61b-a76d3d661b31" providerId="ADAL" clId="{ABD2F74A-712B-4083-A42A-5FB1F7D04898}" dt="2024-06-04T14:29:31.922" v="2813" actId="207"/>
          <ac:spMkLst>
            <pc:docMk/>
            <pc:sldMk cId="2592078673" sldId="2147480174"/>
            <ac:spMk id="102" creationId="{BC2282F3-4FF9-F2A8-47D7-2505DB79C078}"/>
          </ac:spMkLst>
        </pc:spChg>
        <pc:grpChg chg="mod ord">
          <ac:chgData name="Hugo Liabeuf" userId="a9defb0f-a7f4-478c-b61b-a76d3d661b31" providerId="ADAL" clId="{ABD2F74A-712B-4083-A42A-5FB1F7D04898}" dt="2024-06-04T14:28:56.646" v="2787"/>
          <ac:grpSpMkLst>
            <pc:docMk/>
            <pc:sldMk cId="2592078673" sldId="2147480174"/>
            <ac:grpSpMk id="8" creationId="{D7176ECC-3E3F-8C30-9DD4-F69FBF3146FB}"/>
          </ac:grpSpMkLst>
        </pc:grpChg>
        <pc:grpChg chg="mod ord">
          <ac:chgData name="Hugo Liabeuf" userId="a9defb0f-a7f4-478c-b61b-a76d3d661b31" providerId="ADAL" clId="{ABD2F74A-712B-4083-A42A-5FB1F7D04898}" dt="2024-06-04T14:28:56.646" v="2789"/>
          <ac:grpSpMkLst>
            <pc:docMk/>
            <pc:sldMk cId="2592078673" sldId="2147480174"/>
            <ac:grpSpMk id="36" creationId="{08E5A9F1-E0FE-2CD7-68BB-C98CDEB0100A}"/>
          </ac:grpSpMkLst>
        </pc:grpChg>
        <pc:grpChg chg="mod ord">
          <ac:chgData name="Hugo Liabeuf" userId="a9defb0f-a7f4-478c-b61b-a76d3d661b31" providerId="ADAL" clId="{ABD2F74A-712B-4083-A42A-5FB1F7D04898}" dt="2024-06-04T14:28:56.646" v="2791"/>
          <ac:grpSpMkLst>
            <pc:docMk/>
            <pc:sldMk cId="2592078673" sldId="2147480174"/>
            <ac:grpSpMk id="42" creationId="{C1791584-DE14-0DDE-1276-8DC80AF0CBD1}"/>
          </ac:grpSpMkLst>
        </pc:grpChg>
        <pc:graphicFrameChg chg="mod">
          <ac:chgData name="Hugo Liabeuf" userId="a9defb0f-a7f4-478c-b61b-a76d3d661b31" providerId="ADAL" clId="{ABD2F74A-712B-4083-A42A-5FB1F7D04898}" dt="2024-06-04T14:28:56.646" v="2809"/>
          <ac:graphicFrameMkLst>
            <pc:docMk/>
            <pc:sldMk cId="2592078673" sldId="2147480174"/>
            <ac:graphicFrameMk id="7" creationId="{62C3987A-E567-EA74-0662-F6734553A9C9}"/>
          </ac:graphicFrameMkLst>
        </pc:graphicFrameChg>
        <pc:picChg chg="mod ord">
          <ac:chgData name="Hugo Liabeuf" userId="a9defb0f-a7f4-478c-b61b-a76d3d661b31" providerId="ADAL" clId="{ABD2F74A-712B-4083-A42A-5FB1F7D04898}" dt="2024-06-04T15:54:51.900" v="11548" actId="207"/>
          <ac:picMkLst>
            <pc:docMk/>
            <pc:sldMk cId="2592078673" sldId="2147480174"/>
            <ac:picMk id="15" creationId="{260A171C-0CBF-A701-CE4B-50CB98E18CDF}"/>
          </ac:picMkLst>
        </pc:picChg>
        <pc:cxnChg chg="add del mod">
          <ac:chgData name="Hugo Liabeuf" userId="a9defb0f-a7f4-478c-b61b-a76d3d661b31" providerId="ADAL" clId="{ABD2F74A-712B-4083-A42A-5FB1F7D04898}" dt="2024-06-04T14:23:30.603" v="2584" actId="478"/>
          <ac:cxnSpMkLst>
            <pc:docMk/>
            <pc:sldMk cId="2592078673" sldId="2147480174"/>
            <ac:cxnSpMk id="73" creationId="{76D84BA3-D3F9-4494-31C5-8EA47BD07C1C}"/>
          </ac:cxnSpMkLst>
        </pc:cxnChg>
        <pc:cxnChg chg="add del mod">
          <ac:chgData name="Hugo Liabeuf" userId="a9defb0f-a7f4-478c-b61b-a76d3d661b31" providerId="ADAL" clId="{ABD2F74A-712B-4083-A42A-5FB1F7D04898}" dt="2024-06-04T14:23:31.402" v="2585" actId="478"/>
          <ac:cxnSpMkLst>
            <pc:docMk/>
            <pc:sldMk cId="2592078673" sldId="2147480174"/>
            <ac:cxnSpMk id="74" creationId="{B6AB8067-D32D-37C1-B8F0-A9A9FE3E3780}"/>
          </ac:cxnSpMkLst>
        </pc:cxnChg>
        <pc:cxnChg chg="add del mod">
          <ac:chgData name="Hugo Liabeuf" userId="a9defb0f-a7f4-478c-b61b-a76d3d661b31" providerId="ADAL" clId="{ABD2F74A-712B-4083-A42A-5FB1F7D04898}" dt="2024-06-04T14:23:29.524" v="2583" actId="478"/>
          <ac:cxnSpMkLst>
            <pc:docMk/>
            <pc:sldMk cId="2592078673" sldId="2147480174"/>
            <ac:cxnSpMk id="77" creationId="{235CD633-5CDE-4633-C70B-F86CC089C479}"/>
          </ac:cxnSpMkLst>
        </pc:cxnChg>
        <pc:cxnChg chg="add mod ord">
          <ac:chgData name="Hugo Liabeuf" userId="a9defb0f-a7f4-478c-b61b-a76d3d661b31" providerId="ADAL" clId="{ABD2F74A-712B-4083-A42A-5FB1F7D04898}" dt="2024-06-04T14:28:56.646" v="2795"/>
          <ac:cxnSpMkLst>
            <pc:docMk/>
            <pc:sldMk cId="2592078673" sldId="2147480174"/>
            <ac:cxnSpMk id="83" creationId="{73E8C58C-C0CC-CAA7-95A1-97BCDCFDCEAF}"/>
          </ac:cxnSpMkLst>
        </pc:cxnChg>
        <pc:cxnChg chg="add mod ord">
          <ac:chgData name="Hugo Liabeuf" userId="a9defb0f-a7f4-478c-b61b-a76d3d661b31" providerId="ADAL" clId="{ABD2F74A-712B-4083-A42A-5FB1F7D04898}" dt="2024-06-04T14:28:56.646" v="2797"/>
          <ac:cxnSpMkLst>
            <pc:docMk/>
            <pc:sldMk cId="2592078673" sldId="2147480174"/>
            <ac:cxnSpMk id="84" creationId="{A073BB86-369C-2A50-413F-67A50A46948A}"/>
          </ac:cxnSpMkLst>
        </pc:cxnChg>
        <pc:cxnChg chg="add mod ord">
          <ac:chgData name="Hugo Liabeuf" userId="a9defb0f-a7f4-478c-b61b-a76d3d661b31" providerId="ADAL" clId="{ABD2F74A-712B-4083-A42A-5FB1F7D04898}" dt="2024-06-04T14:29:06.428" v="2812" actId="2085"/>
          <ac:cxnSpMkLst>
            <pc:docMk/>
            <pc:sldMk cId="2592078673" sldId="2147480174"/>
            <ac:cxnSpMk id="92" creationId="{706ADAD4-055F-BD01-3F9D-6764F2F0DE10}"/>
          </ac:cxnSpMkLst>
        </pc:cxnChg>
        <pc:cxnChg chg="add mod ord">
          <ac:chgData name="Hugo Liabeuf" userId="a9defb0f-a7f4-478c-b61b-a76d3d661b31" providerId="ADAL" clId="{ABD2F74A-712B-4083-A42A-5FB1F7D04898}" dt="2024-06-04T14:28:56.646" v="2801"/>
          <ac:cxnSpMkLst>
            <pc:docMk/>
            <pc:sldMk cId="2592078673" sldId="2147480174"/>
            <ac:cxnSpMk id="93" creationId="{24611C73-EFB7-BA5E-23D4-0FC66DDA6F3E}"/>
          </ac:cxnSpMkLst>
        </pc:cxnChg>
        <pc:cxnChg chg="add mod ord">
          <ac:chgData name="Hugo Liabeuf" userId="a9defb0f-a7f4-478c-b61b-a76d3d661b31" providerId="ADAL" clId="{ABD2F74A-712B-4083-A42A-5FB1F7D04898}" dt="2024-06-04T14:29:06.428" v="2812" actId="2085"/>
          <ac:cxnSpMkLst>
            <pc:docMk/>
            <pc:sldMk cId="2592078673" sldId="2147480174"/>
            <ac:cxnSpMk id="98" creationId="{73D41C7C-F7C1-F1C7-DC0E-D46A8F10C56E}"/>
          </ac:cxnSpMkLst>
        </pc:cxnChg>
        <pc:cxnChg chg="add mod ord">
          <ac:chgData name="Hugo Liabeuf" userId="a9defb0f-a7f4-478c-b61b-a76d3d661b31" providerId="ADAL" clId="{ABD2F74A-712B-4083-A42A-5FB1F7D04898}" dt="2024-06-04T14:29:02.067" v="2811" actId="2085"/>
          <ac:cxnSpMkLst>
            <pc:docMk/>
            <pc:sldMk cId="2592078673" sldId="2147480174"/>
            <ac:cxnSpMk id="99" creationId="{6C1AF6D6-BC28-3345-B660-DBF72BE00055}"/>
          </ac:cxnSpMkLst>
        </pc:cxnChg>
      </pc:sldChg>
      <pc:sldChg chg="addSp delSp modSp mod ord">
        <pc:chgData name="Hugo Liabeuf" userId="a9defb0f-a7f4-478c-b61b-a76d3d661b31" providerId="ADAL" clId="{ABD2F74A-712B-4083-A42A-5FB1F7D04898}" dt="2024-06-07T07:45:28.900" v="28269" actId="465"/>
        <pc:sldMkLst>
          <pc:docMk/>
          <pc:sldMk cId="3888085572" sldId="2147480175"/>
        </pc:sldMkLst>
        <pc:spChg chg="del">
          <ac:chgData name="Hugo Liabeuf" userId="a9defb0f-a7f4-478c-b61b-a76d3d661b31" providerId="ADAL" clId="{ABD2F74A-712B-4083-A42A-5FB1F7D04898}" dt="2024-06-06T16:30:03.268" v="23690" actId="478"/>
          <ac:spMkLst>
            <pc:docMk/>
            <pc:sldMk cId="3888085572" sldId="2147480175"/>
            <ac:spMk id="3" creationId="{9DD77092-E286-76F4-D9B2-EE54F2292292}"/>
          </ac:spMkLst>
        </pc:spChg>
        <pc:spChg chg="add del mod">
          <ac:chgData name="Hugo Liabeuf" userId="a9defb0f-a7f4-478c-b61b-a76d3d661b31" providerId="ADAL" clId="{ABD2F74A-712B-4083-A42A-5FB1F7D04898}" dt="2024-06-06T16:29:53.492" v="23689" actId="478"/>
          <ac:spMkLst>
            <pc:docMk/>
            <pc:sldMk cId="3888085572" sldId="2147480175"/>
            <ac:spMk id="4" creationId="{A2076C25-1FB5-FF0E-73A4-27450D2F2CCA}"/>
          </ac:spMkLst>
        </pc:spChg>
        <pc:spChg chg="del mod">
          <ac:chgData name="Hugo Liabeuf" userId="a9defb0f-a7f4-478c-b61b-a76d3d661b31" providerId="ADAL" clId="{ABD2F74A-712B-4083-A42A-5FB1F7D04898}" dt="2024-06-07T07:45:18.330" v="28256" actId="478"/>
          <ac:spMkLst>
            <pc:docMk/>
            <pc:sldMk cId="3888085572" sldId="2147480175"/>
            <ac:spMk id="9" creationId="{892989A7-2FCF-D8FB-8C73-648FF7EE05FC}"/>
          </ac:spMkLst>
        </pc:spChg>
        <pc:spChg chg="add mod">
          <ac:chgData name="Hugo Liabeuf" userId="a9defb0f-a7f4-478c-b61b-a76d3d661b31" providerId="ADAL" clId="{ABD2F74A-712B-4083-A42A-5FB1F7D04898}" dt="2024-06-07T07:45:28.900" v="28269" actId="465"/>
          <ac:spMkLst>
            <pc:docMk/>
            <pc:sldMk cId="3888085572" sldId="2147480175"/>
            <ac:spMk id="10" creationId="{19E3C170-69D4-79B8-20B3-FB568194F4A7}"/>
          </ac:spMkLst>
        </pc:spChg>
        <pc:spChg chg="add mod">
          <ac:chgData name="Hugo Liabeuf" userId="a9defb0f-a7f4-478c-b61b-a76d3d661b31" providerId="ADAL" clId="{ABD2F74A-712B-4083-A42A-5FB1F7D04898}" dt="2024-06-07T07:45:14.482" v="28255" actId="14100"/>
          <ac:spMkLst>
            <pc:docMk/>
            <pc:sldMk cId="3888085572" sldId="2147480175"/>
            <ac:spMk id="11" creationId="{D891ABEE-8F80-78BC-4505-B4425809BF97}"/>
          </ac:spMkLst>
        </pc:spChg>
        <pc:graphicFrameChg chg="mod modGraphic">
          <ac:chgData name="Hugo Liabeuf" userId="a9defb0f-a7f4-478c-b61b-a76d3d661b31" providerId="ADAL" clId="{ABD2F74A-712B-4083-A42A-5FB1F7D04898}" dt="2024-06-07T07:45:23.646" v="28268" actId="1036"/>
          <ac:graphicFrameMkLst>
            <pc:docMk/>
            <pc:sldMk cId="3888085572" sldId="2147480175"/>
            <ac:graphicFrameMk id="7" creationId="{891C9CD3-5E3F-D550-BE99-80FE5D28F00E}"/>
          </ac:graphicFrameMkLst>
        </pc:graphicFrameChg>
        <pc:picChg chg="del">
          <ac:chgData name="Hugo Liabeuf" userId="a9defb0f-a7f4-478c-b61b-a76d3d661b31" providerId="ADAL" clId="{ABD2F74A-712B-4083-A42A-5FB1F7D04898}" dt="2024-06-06T16:30:04.261" v="23691" actId="478"/>
          <ac:picMkLst>
            <pc:docMk/>
            <pc:sldMk cId="3888085572" sldId="2147480175"/>
            <ac:picMk id="6" creationId="{BF867A71-9592-9B78-25F4-8B05DBEB2807}"/>
          </ac:picMkLst>
        </pc:picChg>
      </pc:sldChg>
      <pc:sldChg chg="addSp delSp modSp mod">
        <pc:chgData name="Hugo Liabeuf" userId="a9defb0f-a7f4-478c-b61b-a76d3d661b31" providerId="ADAL" clId="{ABD2F74A-712B-4083-A42A-5FB1F7D04898}" dt="2024-06-04T13:59:35.308" v="908"/>
        <pc:sldMkLst>
          <pc:docMk/>
          <pc:sldMk cId="3389593180" sldId="2147480176"/>
        </pc:sldMkLst>
        <pc:spChg chg="mod">
          <ac:chgData name="Hugo Liabeuf" userId="a9defb0f-a7f4-478c-b61b-a76d3d661b31" providerId="ADAL" clId="{ABD2F74A-712B-4083-A42A-5FB1F7D04898}" dt="2024-06-04T13:59:35.255" v="882" actId="948"/>
          <ac:spMkLst>
            <pc:docMk/>
            <pc:sldMk cId="3389593180" sldId="2147480176"/>
            <ac:spMk id="2" creationId="{92210318-F5A5-C801-919E-9F76E39B0714}"/>
          </ac:spMkLst>
        </pc:spChg>
        <pc:spChg chg="del">
          <ac:chgData name="Hugo Liabeuf" userId="a9defb0f-a7f4-478c-b61b-a76d3d661b31" providerId="ADAL" clId="{ABD2F74A-712B-4083-A42A-5FB1F7D04898}" dt="2024-06-04T13:59:16.791" v="831" actId="478"/>
          <ac:spMkLst>
            <pc:docMk/>
            <pc:sldMk cId="3389593180" sldId="2147480176"/>
            <ac:spMk id="5" creationId="{EDF89BD4-61EE-8E86-5AB8-C487E8358B54}"/>
          </ac:spMkLst>
        </pc:spChg>
        <pc:spChg chg="mod">
          <ac:chgData name="Hugo Liabeuf" userId="a9defb0f-a7f4-478c-b61b-a76d3d661b31" providerId="ADAL" clId="{ABD2F74A-712B-4083-A42A-5FB1F7D04898}" dt="2024-06-04T13:59:11.003" v="830" actId="12789"/>
          <ac:spMkLst>
            <pc:docMk/>
            <pc:sldMk cId="3389593180" sldId="2147480176"/>
            <ac:spMk id="8" creationId="{BD97A9FF-5A15-E5C1-7EE5-30258AE69AD3}"/>
          </ac:spMkLst>
        </pc:spChg>
        <pc:spChg chg="add del mod modVis">
          <ac:chgData name="Hugo Liabeuf" userId="a9defb0f-a7f4-478c-b61b-a76d3d661b31" providerId="ADAL" clId="{ABD2F74A-712B-4083-A42A-5FB1F7D04898}" dt="2024-06-04T13:59:35.308" v="906"/>
          <ac:spMkLst>
            <pc:docMk/>
            <pc:sldMk cId="3389593180" sldId="2147480176"/>
            <ac:spMk id="10" creationId="{D7C62AF5-ABD0-4259-7BFB-E26AF4AB557C}"/>
          </ac:spMkLst>
        </pc:spChg>
        <pc:graphicFrameChg chg="add mod ord modVis replST">
          <ac:chgData name="Hugo Liabeuf" userId="a9defb0f-a7f4-478c-b61b-a76d3d661b31" providerId="ADAL" clId="{ABD2F74A-712B-4083-A42A-5FB1F7D04898}" dt="2024-06-04T13:59:35.308" v="908"/>
          <ac:graphicFrameMkLst>
            <pc:docMk/>
            <pc:sldMk cId="3389593180" sldId="2147480176"/>
            <ac:graphicFrameMk id="9" creationId="{B2CB2BE0-16A8-E779-224B-0C7593BF281C}"/>
          </ac:graphicFrameMkLst>
        </pc:graphicFrameChg>
        <pc:picChg chg="mod">
          <ac:chgData name="Hugo Liabeuf" userId="a9defb0f-a7f4-478c-b61b-a76d3d661b31" providerId="ADAL" clId="{ABD2F74A-712B-4083-A42A-5FB1F7D04898}" dt="2024-06-04T13:59:11.003" v="830" actId="12789"/>
          <ac:picMkLst>
            <pc:docMk/>
            <pc:sldMk cId="3389593180" sldId="2147480176"/>
            <ac:picMk id="7" creationId="{49817C8E-D8E1-07B5-1317-6DF62A345963}"/>
          </ac:picMkLst>
        </pc:picChg>
      </pc:sldChg>
      <pc:sldChg chg="addSp delSp modSp mod">
        <pc:chgData name="Hugo Liabeuf" userId="a9defb0f-a7f4-478c-b61b-a76d3d661b31" providerId="ADAL" clId="{ABD2F74A-712B-4083-A42A-5FB1F7D04898}" dt="2024-06-04T16:00:00.350" v="11654" actId="165"/>
        <pc:sldMkLst>
          <pc:docMk/>
          <pc:sldMk cId="17992381" sldId="2147480180"/>
        </pc:sldMkLst>
        <pc:spChg chg="mod ord">
          <ac:chgData name="Hugo Liabeuf" userId="a9defb0f-a7f4-478c-b61b-a76d3d661b31" providerId="ADAL" clId="{ABD2F74A-712B-4083-A42A-5FB1F7D04898}" dt="2024-06-04T14:47:27.105" v="3321"/>
          <ac:spMkLst>
            <pc:docMk/>
            <pc:sldMk cId="17992381" sldId="2147480180"/>
            <ac:spMk id="2" creationId="{49DA56B8-9D5A-450D-1208-93FBCD703855}"/>
          </ac:spMkLst>
        </pc:spChg>
        <pc:spChg chg="mod ord">
          <ac:chgData name="Hugo Liabeuf" userId="a9defb0f-a7f4-478c-b61b-a76d3d661b31" providerId="ADAL" clId="{ABD2F74A-712B-4083-A42A-5FB1F7D04898}" dt="2024-06-04T14:47:27.105" v="3323"/>
          <ac:spMkLst>
            <pc:docMk/>
            <pc:sldMk cId="17992381" sldId="2147480180"/>
            <ac:spMk id="3" creationId="{BE003F05-F5AC-A6FF-5508-DAAF2C2CF22F}"/>
          </ac:spMkLst>
        </pc:spChg>
        <pc:spChg chg="mod ord">
          <ac:chgData name="Hugo Liabeuf" userId="a9defb0f-a7f4-478c-b61b-a76d3d661b31" providerId="ADAL" clId="{ABD2F74A-712B-4083-A42A-5FB1F7D04898}" dt="2024-06-04T14:47:27.105" v="3325"/>
          <ac:spMkLst>
            <pc:docMk/>
            <pc:sldMk cId="17992381" sldId="2147480180"/>
            <ac:spMk id="4" creationId="{502A365D-48B6-3BC0-D36C-68CB38730AA6}"/>
          </ac:spMkLst>
        </pc:spChg>
        <pc:spChg chg="del">
          <ac:chgData name="Hugo Liabeuf" userId="a9defb0f-a7f4-478c-b61b-a76d3d661b31" providerId="ADAL" clId="{ABD2F74A-712B-4083-A42A-5FB1F7D04898}" dt="2024-06-04T14:40:39.625" v="3215" actId="478"/>
          <ac:spMkLst>
            <pc:docMk/>
            <pc:sldMk cId="17992381" sldId="2147480180"/>
            <ac:spMk id="5" creationId="{EA9D5C7C-C047-3EA5-1BF9-6C1E50DCD62C}"/>
          </ac:spMkLst>
        </pc:spChg>
        <pc:spChg chg="add del mod modVis">
          <ac:chgData name="Hugo Liabeuf" userId="a9defb0f-a7f4-478c-b61b-a76d3d661b31" providerId="ADAL" clId="{ABD2F74A-712B-4083-A42A-5FB1F7D04898}" dt="2024-06-04T14:32:23.399" v="2860"/>
          <ac:spMkLst>
            <pc:docMk/>
            <pc:sldMk cId="17992381" sldId="2147480180"/>
            <ac:spMk id="7" creationId="{2EB9456C-80B0-F89E-6D72-853B149B86D0}"/>
          </ac:spMkLst>
        </pc:spChg>
        <pc:spChg chg="add del mod modVis">
          <ac:chgData name="Hugo Liabeuf" userId="a9defb0f-a7f4-478c-b61b-a76d3d661b31" providerId="ADAL" clId="{ABD2F74A-712B-4083-A42A-5FB1F7D04898}" dt="2024-06-04T14:32:27.634" v="2942"/>
          <ac:spMkLst>
            <pc:docMk/>
            <pc:sldMk cId="17992381" sldId="2147480180"/>
            <ac:spMk id="9" creationId="{38C02EE4-E7F3-BD91-46AE-DA0FE123E721}"/>
          </ac:spMkLst>
        </pc:spChg>
        <pc:spChg chg="add del mod modVis">
          <ac:chgData name="Hugo Liabeuf" userId="a9defb0f-a7f4-478c-b61b-a76d3d661b31" providerId="ADAL" clId="{ABD2F74A-712B-4083-A42A-5FB1F7D04898}" dt="2024-06-04T14:32:29.139" v="2973"/>
          <ac:spMkLst>
            <pc:docMk/>
            <pc:sldMk cId="17992381" sldId="2147480180"/>
            <ac:spMk id="10" creationId="{18C7E49A-1F5C-9D3F-BB12-19836C90551A}"/>
          </ac:spMkLst>
        </pc:spChg>
        <pc:spChg chg="add del mod modVis">
          <ac:chgData name="Hugo Liabeuf" userId="a9defb0f-a7f4-478c-b61b-a76d3d661b31" providerId="ADAL" clId="{ABD2F74A-712B-4083-A42A-5FB1F7D04898}" dt="2024-06-04T14:32:33.534" v="3009"/>
          <ac:spMkLst>
            <pc:docMk/>
            <pc:sldMk cId="17992381" sldId="2147480180"/>
            <ac:spMk id="11" creationId="{2D0988DE-1393-CB2E-5720-5F177A855C6E}"/>
          </ac:spMkLst>
        </pc:spChg>
        <pc:spChg chg="add del mod modVis">
          <ac:chgData name="Hugo Liabeuf" userId="a9defb0f-a7f4-478c-b61b-a76d3d661b31" providerId="ADAL" clId="{ABD2F74A-712B-4083-A42A-5FB1F7D04898}" dt="2024-06-04T14:32:38.048" v="3040"/>
          <ac:spMkLst>
            <pc:docMk/>
            <pc:sldMk cId="17992381" sldId="2147480180"/>
            <ac:spMk id="12" creationId="{8D9ABB0D-DD6A-009F-F349-CF0BC876EEAB}"/>
          </ac:spMkLst>
        </pc:spChg>
        <pc:spChg chg="add del mod modVis">
          <ac:chgData name="Hugo Liabeuf" userId="a9defb0f-a7f4-478c-b61b-a76d3d661b31" providerId="ADAL" clId="{ABD2F74A-712B-4083-A42A-5FB1F7D04898}" dt="2024-06-04T14:32:39.394" v="3073"/>
          <ac:spMkLst>
            <pc:docMk/>
            <pc:sldMk cId="17992381" sldId="2147480180"/>
            <ac:spMk id="13" creationId="{0D98FB56-3644-3667-4DC8-5AAFF1B8BBD7}"/>
          </ac:spMkLst>
        </pc:spChg>
        <pc:spChg chg="add mod ord">
          <ac:chgData name="Hugo Liabeuf" userId="a9defb0f-a7f4-478c-b61b-a76d3d661b31" providerId="ADAL" clId="{ABD2F74A-712B-4083-A42A-5FB1F7D04898}" dt="2024-06-04T15:58:41.807" v="11576" actId="12788"/>
          <ac:spMkLst>
            <pc:docMk/>
            <pc:sldMk cId="17992381" sldId="2147480180"/>
            <ac:spMk id="14" creationId="{72D2E866-0C33-4868-F7EE-B0576B1B2610}"/>
          </ac:spMkLst>
        </pc:spChg>
        <pc:spChg chg="mod">
          <ac:chgData name="Hugo Liabeuf" userId="a9defb0f-a7f4-478c-b61b-a76d3d661b31" providerId="ADAL" clId="{ABD2F74A-712B-4083-A42A-5FB1F7D04898}" dt="2024-06-04T14:33:46.514" v="3076"/>
          <ac:spMkLst>
            <pc:docMk/>
            <pc:sldMk cId="17992381" sldId="2147480180"/>
            <ac:spMk id="16" creationId="{99ECC116-586B-F368-0D01-3D57408727E3}"/>
          </ac:spMkLst>
        </pc:spChg>
        <pc:spChg chg="mod">
          <ac:chgData name="Hugo Liabeuf" userId="a9defb0f-a7f4-478c-b61b-a76d3d661b31" providerId="ADAL" clId="{ABD2F74A-712B-4083-A42A-5FB1F7D04898}" dt="2024-06-04T14:33:46.514" v="3076"/>
          <ac:spMkLst>
            <pc:docMk/>
            <pc:sldMk cId="17992381" sldId="2147480180"/>
            <ac:spMk id="17" creationId="{3A0F4AF5-76E4-8AD6-2154-D403D2913166}"/>
          </ac:spMkLst>
        </pc:spChg>
        <pc:spChg chg="mod">
          <ac:chgData name="Hugo Liabeuf" userId="a9defb0f-a7f4-478c-b61b-a76d3d661b31" providerId="ADAL" clId="{ABD2F74A-712B-4083-A42A-5FB1F7D04898}" dt="2024-06-04T14:33:46.514" v="3076"/>
          <ac:spMkLst>
            <pc:docMk/>
            <pc:sldMk cId="17992381" sldId="2147480180"/>
            <ac:spMk id="18" creationId="{A5A4567D-CEBB-6006-DB4B-F8317F310267}"/>
          </ac:spMkLst>
        </pc:spChg>
        <pc:spChg chg="mod">
          <ac:chgData name="Hugo Liabeuf" userId="a9defb0f-a7f4-478c-b61b-a76d3d661b31" providerId="ADAL" clId="{ABD2F74A-712B-4083-A42A-5FB1F7D04898}" dt="2024-06-04T14:33:46.514" v="3076"/>
          <ac:spMkLst>
            <pc:docMk/>
            <pc:sldMk cId="17992381" sldId="2147480180"/>
            <ac:spMk id="21" creationId="{EFF4CF70-48FE-0786-FDB0-03CCC828EF2B}"/>
          </ac:spMkLst>
        </pc:spChg>
        <pc:spChg chg="mod">
          <ac:chgData name="Hugo Liabeuf" userId="a9defb0f-a7f4-478c-b61b-a76d3d661b31" providerId="ADAL" clId="{ABD2F74A-712B-4083-A42A-5FB1F7D04898}" dt="2024-06-04T14:33:46.514" v="3076"/>
          <ac:spMkLst>
            <pc:docMk/>
            <pc:sldMk cId="17992381" sldId="2147480180"/>
            <ac:spMk id="22" creationId="{EFD09872-FA37-42E8-2BB6-8072158A1309}"/>
          </ac:spMkLst>
        </pc:spChg>
        <pc:spChg chg="mod">
          <ac:chgData name="Hugo Liabeuf" userId="a9defb0f-a7f4-478c-b61b-a76d3d661b31" providerId="ADAL" clId="{ABD2F74A-712B-4083-A42A-5FB1F7D04898}" dt="2024-06-04T14:33:46.514" v="3076"/>
          <ac:spMkLst>
            <pc:docMk/>
            <pc:sldMk cId="17992381" sldId="2147480180"/>
            <ac:spMk id="23" creationId="{AC7535A0-3D72-04A6-2D91-4DF3871902FD}"/>
          </ac:spMkLst>
        </pc:spChg>
        <pc:spChg chg="mod">
          <ac:chgData name="Hugo Liabeuf" userId="a9defb0f-a7f4-478c-b61b-a76d3d661b31" providerId="ADAL" clId="{ABD2F74A-712B-4083-A42A-5FB1F7D04898}" dt="2024-06-04T14:33:46.514" v="3076"/>
          <ac:spMkLst>
            <pc:docMk/>
            <pc:sldMk cId="17992381" sldId="2147480180"/>
            <ac:spMk id="24" creationId="{8D73DBA3-C30B-27CB-5FAB-1ACE3CCA6D2E}"/>
          </ac:spMkLst>
        </pc:spChg>
        <pc:spChg chg="mod">
          <ac:chgData name="Hugo Liabeuf" userId="a9defb0f-a7f4-478c-b61b-a76d3d661b31" providerId="ADAL" clId="{ABD2F74A-712B-4083-A42A-5FB1F7D04898}" dt="2024-06-04T14:33:46.514" v="3076"/>
          <ac:spMkLst>
            <pc:docMk/>
            <pc:sldMk cId="17992381" sldId="2147480180"/>
            <ac:spMk id="25" creationId="{ECBDBF8F-5CCC-ECD2-ADF6-FFEFD832C7BC}"/>
          </ac:spMkLst>
        </pc:spChg>
        <pc:spChg chg="mod">
          <ac:chgData name="Hugo Liabeuf" userId="a9defb0f-a7f4-478c-b61b-a76d3d661b31" providerId="ADAL" clId="{ABD2F74A-712B-4083-A42A-5FB1F7D04898}" dt="2024-06-04T14:33:46.514" v="3076"/>
          <ac:spMkLst>
            <pc:docMk/>
            <pc:sldMk cId="17992381" sldId="2147480180"/>
            <ac:spMk id="26" creationId="{F7D03FDC-1EB6-E7CA-A2C7-2FD88CB532B9}"/>
          </ac:spMkLst>
        </pc:spChg>
        <pc:spChg chg="mod">
          <ac:chgData name="Hugo Liabeuf" userId="a9defb0f-a7f4-478c-b61b-a76d3d661b31" providerId="ADAL" clId="{ABD2F74A-712B-4083-A42A-5FB1F7D04898}" dt="2024-06-04T14:33:46.514" v="3076"/>
          <ac:spMkLst>
            <pc:docMk/>
            <pc:sldMk cId="17992381" sldId="2147480180"/>
            <ac:spMk id="27" creationId="{95E7CD5D-C3E7-1787-4840-B3FD7EDBB0D2}"/>
          </ac:spMkLst>
        </pc:spChg>
        <pc:spChg chg="mod">
          <ac:chgData name="Hugo Liabeuf" userId="a9defb0f-a7f4-478c-b61b-a76d3d661b31" providerId="ADAL" clId="{ABD2F74A-712B-4083-A42A-5FB1F7D04898}" dt="2024-06-04T14:33:46.514" v="3076"/>
          <ac:spMkLst>
            <pc:docMk/>
            <pc:sldMk cId="17992381" sldId="2147480180"/>
            <ac:spMk id="28" creationId="{236E9440-84AF-35DC-2AE8-F879A754C9F5}"/>
          </ac:spMkLst>
        </pc:spChg>
        <pc:spChg chg="mod">
          <ac:chgData name="Hugo Liabeuf" userId="a9defb0f-a7f4-478c-b61b-a76d3d661b31" providerId="ADAL" clId="{ABD2F74A-712B-4083-A42A-5FB1F7D04898}" dt="2024-06-04T14:33:46.514" v="3076"/>
          <ac:spMkLst>
            <pc:docMk/>
            <pc:sldMk cId="17992381" sldId="2147480180"/>
            <ac:spMk id="33" creationId="{9DE75420-2B8B-25C1-6DA1-A23FA41DBE1A}"/>
          </ac:spMkLst>
        </pc:spChg>
        <pc:spChg chg="mod">
          <ac:chgData name="Hugo Liabeuf" userId="a9defb0f-a7f4-478c-b61b-a76d3d661b31" providerId="ADAL" clId="{ABD2F74A-712B-4083-A42A-5FB1F7D04898}" dt="2024-06-04T14:33:46.514" v="3076"/>
          <ac:spMkLst>
            <pc:docMk/>
            <pc:sldMk cId="17992381" sldId="2147480180"/>
            <ac:spMk id="34" creationId="{E025CEA4-B769-A5C2-2F09-276418F929C0}"/>
          </ac:spMkLst>
        </pc:spChg>
        <pc:spChg chg="mod">
          <ac:chgData name="Hugo Liabeuf" userId="a9defb0f-a7f4-478c-b61b-a76d3d661b31" providerId="ADAL" clId="{ABD2F74A-712B-4083-A42A-5FB1F7D04898}" dt="2024-06-04T14:33:46.514" v="3076"/>
          <ac:spMkLst>
            <pc:docMk/>
            <pc:sldMk cId="17992381" sldId="2147480180"/>
            <ac:spMk id="35" creationId="{6FCF0EAB-F79F-C5C2-C79C-6DB9A79038D2}"/>
          </ac:spMkLst>
        </pc:spChg>
        <pc:spChg chg="mod">
          <ac:chgData name="Hugo Liabeuf" userId="a9defb0f-a7f4-478c-b61b-a76d3d661b31" providerId="ADAL" clId="{ABD2F74A-712B-4083-A42A-5FB1F7D04898}" dt="2024-06-04T14:33:46.514" v="3076"/>
          <ac:spMkLst>
            <pc:docMk/>
            <pc:sldMk cId="17992381" sldId="2147480180"/>
            <ac:spMk id="36" creationId="{53D49774-4E62-FCDB-9825-BDA6B9318997}"/>
          </ac:spMkLst>
        </pc:spChg>
        <pc:spChg chg="mod">
          <ac:chgData name="Hugo Liabeuf" userId="a9defb0f-a7f4-478c-b61b-a76d3d661b31" providerId="ADAL" clId="{ABD2F74A-712B-4083-A42A-5FB1F7D04898}" dt="2024-06-04T14:33:46.514" v="3076"/>
          <ac:spMkLst>
            <pc:docMk/>
            <pc:sldMk cId="17992381" sldId="2147480180"/>
            <ac:spMk id="37" creationId="{1D36B013-81AC-53EE-4AA7-7B0DDAAA1CE4}"/>
          </ac:spMkLst>
        </pc:spChg>
        <pc:spChg chg="add mod ord topLvl">
          <ac:chgData name="Hugo Liabeuf" userId="a9defb0f-a7f4-478c-b61b-a76d3d661b31" providerId="ADAL" clId="{ABD2F74A-712B-4083-A42A-5FB1F7D04898}" dt="2024-06-04T15:58:33.137" v="11574" actId="164"/>
          <ac:spMkLst>
            <pc:docMk/>
            <pc:sldMk cId="17992381" sldId="2147480180"/>
            <ac:spMk id="38" creationId="{6A38FAAE-4862-3B00-9B41-B7924FA65C02}"/>
          </ac:spMkLst>
        </pc:spChg>
        <pc:spChg chg="add mod ord topLvl">
          <ac:chgData name="Hugo Liabeuf" userId="a9defb0f-a7f4-478c-b61b-a76d3d661b31" providerId="ADAL" clId="{ABD2F74A-712B-4083-A42A-5FB1F7D04898}" dt="2024-06-04T15:58:41.807" v="11576" actId="12788"/>
          <ac:spMkLst>
            <pc:docMk/>
            <pc:sldMk cId="17992381" sldId="2147480180"/>
            <ac:spMk id="39" creationId="{CA4A5880-27A0-E1F6-28F0-1F03B685E56B}"/>
          </ac:spMkLst>
        </pc:spChg>
        <pc:spChg chg="add del mod topLvl">
          <ac:chgData name="Hugo Liabeuf" userId="a9defb0f-a7f4-478c-b61b-a76d3d661b31" providerId="ADAL" clId="{ABD2F74A-712B-4083-A42A-5FB1F7D04898}" dt="2024-06-04T14:35:44.996" v="3176" actId="478"/>
          <ac:spMkLst>
            <pc:docMk/>
            <pc:sldMk cId="17992381" sldId="2147480180"/>
            <ac:spMk id="40" creationId="{30814449-ABA9-B096-43EF-D19ACD485B2B}"/>
          </ac:spMkLst>
        </pc:spChg>
        <pc:spChg chg="add mod ord topLvl">
          <ac:chgData name="Hugo Liabeuf" userId="a9defb0f-a7f4-478c-b61b-a76d3d661b31" providerId="ADAL" clId="{ABD2F74A-712B-4083-A42A-5FB1F7D04898}" dt="2024-06-04T16:00:00.350" v="11654" actId="165"/>
          <ac:spMkLst>
            <pc:docMk/>
            <pc:sldMk cId="17992381" sldId="2147480180"/>
            <ac:spMk id="41" creationId="{C31506A8-4894-2D6F-9446-8E667E3C57E4}"/>
          </ac:spMkLst>
        </pc:spChg>
        <pc:spChg chg="mod">
          <ac:chgData name="Hugo Liabeuf" userId="a9defb0f-a7f4-478c-b61b-a76d3d661b31" providerId="ADAL" clId="{ABD2F74A-712B-4083-A42A-5FB1F7D04898}" dt="2024-06-04T14:50:42.219" v="3376" actId="165"/>
          <ac:spMkLst>
            <pc:docMk/>
            <pc:sldMk cId="17992381" sldId="2147480180"/>
            <ac:spMk id="49" creationId="{E198028E-64CE-E81E-00DE-88F04C904738}"/>
          </ac:spMkLst>
        </pc:spChg>
        <pc:spChg chg="mod">
          <ac:chgData name="Hugo Liabeuf" userId="a9defb0f-a7f4-478c-b61b-a76d3d661b31" providerId="ADAL" clId="{ABD2F74A-712B-4083-A42A-5FB1F7D04898}" dt="2024-06-04T14:50:42.219" v="3376" actId="165"/>
          <ac:spMkLst>
            <pc:docMk/>
            <pc:sldMk cId="17992381" sldId="2147480180"/>
            <ac:spMk id="53" creationId="{4F877F28-64B1-943A-6AA3-BD82BB72423E}"/>
          </ac:spMkLst>
        </pc:spChg>
        <pc:spChg chg="mod">
          <ac:chgData name="Hugo Liabeuf" userId="a9defb0f-a7f4-478c-b61b-a76d3d661b31" providerId="ADAL" clId="{ABD2F74A-712B-4083-A42A-5FB1F7D04898}" dt="2024-06-04T14:50:42.219" v="3376" actId="165"/>
          <ac:spMkLst>
            <pc:docMk/>
            <pc:sldMk cId="17992381" sldId="2147480180"/>
            <ac:spMk id="55" creationId="{8894771A-493A-B0D7-3414-C214CB2C2FEC}"/>
          </ac:spMkLst>
        </pc:spChg>
        <pc:spChg chg="mod">
          <ac:chgData name="Hugo Liabeuf" userId="a9defb0f-a7f4-478c-b61b-a76d3d661b31" providerId="ADAL" clId="{ABD2F74A-712B-4083-A42A-5FB1F7D04898}" dt="2024-06-04T14:50:42.219" v="3376" actId="165"/>
          <ac:spMkLst>
            <pc:docMk/>
            <pc:sldMk cId="17992381" sldId="2147480180"/>
            <ac:spMk id="66" creationId="{F47DCAEE-5802-C0D4-C28D-C8FEBE76ADE2}"/>
          </ac:spMkLst>
        </pc:spChg>
        <pc:spChg chg="add mod ord topLvl">
          <ac:chgData name="Hugo Liabeuf" userId="a9defb0f-a7f4-478c-b61b-a76d3d661b31" providerId="ADAL" clId="{ABD2F74A-712B-4083-A42A-5FB1F7D04898}" dt="2024-06-04T14:50:42.219" v="3376" actId="165"/>
          <ac:spMkLst>
            <pc:docMk/>
            <pc:sldMk cId="17992381" sldId="2147480180"/>
            <ac:spMk id="67" creationId="{024C2268-E7EC-279C-2365-174B91DBBA2D}"/>
          </ac:spMkLst>
        </pc:spChg>
        <pc:spChg chg="mod">
          <ac:chgData name="Hugo Liabeuf" userId="a9defb0f-a7f4-478c-b61b-a76d3d661b31" providerId="ADAL" clId="{ABD2F74A-712B-4083-A42A-5FB1F7D04898}" dt="2024-06-04T14:45:46.702" v="3269"/>
          <ac:spMkLst>
            <pc:docMk/>
            <pc:sldMk cId="17992381" sldId="2147480180"/>
            <ac:spMk id="71" creationId="{38215945-E351-AAAB-411F-4DD9F23712FD}"/>
          </ac:spMkLst>
        </pc:spChg>
        <pc:spChg chg="mod">
          <ac:chgData name="Hugo Liabeuf" userId="a9defb0f-a7f4-478c-b61b-a76d3d661b31" providerId="ADAL" clId="{ABD2F74A-712B-4083-A42A-5FB1F7D04898}" dt="2024-06-04T14:45:46.702" v="3269"/>
          <ac:spMkLst>
            <pc:docMk/>
            <pc:sldMk cId="17992381" sldId="2147480180"/>
            <ac:spMk id="73" creationId="{7699884A-0B58-7A40-69BA-EC5CA065CA8B}"/>
          </ac:spMkLst>
        </pc:spChg>
        <pc:spChg chg="mod">
          <ac:chgData name="Hugo Liabeuf" userId="a9defb0f-a7f4-478c-b61b-a76d3d661b31" providerId="ADAL" clId="{ABD2F74A-712B-4083-A42A-5FB1F7D04898}" dt="2024-06-04T15:58:41.807" v="11576" actId="12788"/>
          <ac:spMkLst>
            <pc:docMk/>
            <pc:sldMk cId="17992381" sldId="2147480180"/>
            <ac:spMk id="75" creationId="{9087133F-BE72-6904-298F-F654609CE063}"/>
          </ac:spMkLst>
        </pc:spChg>
        <pc:spChg chg="mod">
          <ac:chgData name="Hugo Liabeuf" userId="a9defb0f-a7f4-478c-b61b-a76d3d661b31" providerId="ADAL" clId="{ABD2F74A-712B-4083-A42A-5FB1F7D04898}" dt="2024-06-04T15:58:41.807" v="11576" actId="12788"/>
          <ac:spMkLst>
            <pc:docMk/>
            <pc:sldMk cId="17992381" sldId="2147480180"/>
            <ac:spMk id="77" creationId="{F3FEB242-D860-388F-FD42-8DD570E25C9E}"/>
          </ac:spMkLst>
        </pc:spChg>
        <pc:spChg chg="mod">
          <ac:chgData name="Hugo Liabeuf" userId="a9defb0f-a7f4-478c-b61b-a76d3d661b31" providerId="ADAL" clId="{ABD2F74A-712B-4083-A42A-5FB1F7D04898}" dt="2024-06-04T16:00:00.350" v="11654" actId="165"/>
          <ac:spMkLst>
            <pc:docMk/>
            <pc:sldMk cId="17992381" sldId="2147480180"/>
            <ac:spMk id="79" creationId="{D32EF4FC-F52F-3DAB-6A62-9E0F7EAEC882}"/>
          </ac:spMkLst>
        </pc:spChg>
        <pc:spChg chg="mod">
          <ac:chgData name="Hugo Liabeuf" userId="a9defb0f-a7f4-478c-b61b-a76d3d661b31" providerId="ADAL" clId="{ABD2F74A-712B-4083-A42A-5FB1F7D04898}" dt="2024-06-04T16:00:00.350" v="11654" actId="165"/>
          <ac:spMkLst>
            <pc:docMk/>
            <pc:sldMk cId="17992381" sldId="2147480180"/>
            <ac:spMk id="81" creationId="{D141365A-CEF6-8DB0-00D6-023ACA2D35BC}"/>
          </ac:spMkLst>
        </pc:spChg>
        <pc:spChg chg="add mod ord topLvl">
          <ac:chgData name="Hugo Liabeuf" userId="a9defb0f-a7f4-478c-b61b-a76d3d661b31" providerId="ADAL" clId="{ABD2F74A-712B-4083-A42A-5FB1F7D04898}" dt="2024-06-04T15:58:41.807" v="11576" actId="12788"/>
          <ac:spMkLst>
            <pc:docMk/>
            <pc:sldMk cId="17992381" sldId="2147480180"/>
            <ac:spMk id="83" creationId="{BD793C4A-B5ED-2382-9756-CFC3C3AA7F26}"/>
          </ac:spMkLst>
        </pc:spChg>
        <pc:spChg chg="add mod ord">
          <ac:chgData name="Hugo Liabeuf" userId="a9defb0f-a7f4-478c-b61b-a76d3d661b31" providerId="ADAL" clId="{ABD2F74A-712B-4083-A42A-5FB1F7D04898}" dt="2024-06-04T16:00:00.350" v="11654" actId="165"/>
          <ac:spMkLst>
            <pc:docMk/>
            <pc:sldMk cId="17992381" sldId="2147480180"/>
            <ac:spMk id="85" creationId="{7E1488F1-7516-2666-A751-C977DFF36151}"/>
          </ac:spMkLst>
        </pc:spChg>
        <pc:grpChg chg="add mod ord">
          <ac:chgData name="Hugo Liabeuf" userId="a9defb0f-a7f4-478c-b61b-a76d3d661b31" providerId="ADAL" clId="{ABD2F74A-712B-4083-A42A-5FB1F7D04898}" dt="2024-06-04T14:47:27.112" v="3329"/>
          <ac:grpSpMkLst>
            <pc:docMk/>
            <pc:sldMk cId="17992381" sldId="2147480180"/>
            <ac:grpSpMk id="15" creationId="{0F48565A-5197-BFF2-D4D1-4CFACBA437C6}"/>
          </ac:grpSpMkLst>
        </pc:grpChg>
        <pc:grpChg chg="add del mod">
          <ac:chgData name="Hugo Liabeuf" userId="a9defb0f-a7f4-478c-b61b-a76d3d661b31" providerId="ADAL" clId="{ABD2F74A-712B-4083-A42A-5FB1F7D04898}" dt="2024-06-04T14:35:01.153" v="3124" actId="165"/>
          <ac:grpSpMkLst>
            <pc:docMk/>
            <pc:sldMk cId="17992381" sldId="2147480180"/>
            <ac:grpSpMk id="42" creationId="{7A7B1DDD-B5CF-7B43-67D0-3CDDD5CD98C3}"/>
          </ac:grpSpMkLst>
        </pc:grpChg>
        <pc:grpChg chg="add del mod">
          <ac:chgData name="Hugo Liabeuf" userId="a9defb0f-a7f4-478c-b61b-a76d3d661b31" providerId="ADAL" clId="{ABD2F74A-712B-4083-A42A-5FB1F7D04898}" dt="2024-06-04T14:36:03.193" v="3211" actId="165"/>
          <ac:grpSpMkLst>
            <pc:docMk/>
            <pc:sldMk cId="17992381" sldId="2147480180"/>
            <ac:grpSpMk id="43" creationId="{CDBC33B3-2A1F-C9F8-E378-656A24B6156E}"/>
          </ac:grpSpMkLst>
        </pc:grpChg>
        <pc:grpChg chg="add mod ord topLvl">
          <ac:chgData name="Hugo Liabeuf" userId="a9defb0f-a7f4-478c-b61b-a76d3d661b31" providerId="ADAL" clId="{ABD2F74A-712B-4083-A42A-5FB1F7D04898}" dt="2024-06-04T14:50:42.219" v="3376" actId="165"/>
          <ac:grpSpMkLst>
            <pc:docMk/>
            <pc:sldMk cId="17992381" sldId="2147480180"/>
            <ac:grpSpMk id="44" creationId="{15A654F9-8F15-3B29-2559-18334403AE45}"/>
          </ac:grpSpMkLst>
        </pc:grpChg>
        <pc:grpChg chg="mod">
          <ac:chgData name="Hugo Liabeuf" userId="a9defb0f-a7f4-478c-b61b-a76d3d661b31" providerId="ADAL" clId="{ABD2F74A-712B-4083-A42A-5FB1F7D04898}" dt="2024-06-04T14:50:42.219" v="3376" actId="165"/>
          <ac:grpSpMkLst>
            <pc:docMk/>
            <pc:sldMk cId="17992381" sldId="2147480180"/>
            <ac:grpSpMk id="45" creationId="{D7AC5AAE-243F-7BE0-5145-FAD1B6EEE4B7}"/>
          </ac:grpSpMkLst>
        </pc:grpChg>
        <pc:grpChg chg="mod">
          <ac:chgData name="Hugo Liabeuf" userId="a9defb0f-a7f4-478c-b61b-a76d3d661b31" providerId="ADAL" clId="{ABD2F74A-712B-4083-A42A-5FB1F7D04898}" dt="2024-06-04T14:50:42.219" v="3376" actId="165"/>
          <ac:grpSpMkLst>
            <pc:docMk/>
            <pc:sldMk cId="17992381" sldId="2147480180"/>
            <ac:grpSpMk id="46" creationId="{0900328B-78F1-64B4-CAF8-1A323C1E20BD}"/>
          </ac:grpSpMkLst>
        </pc:grpChg>
        <pc:grpChg chg="mod">
          <ac:chgData name="Hugo Liabeuf" userId="a9defb0f-a7f4-478c-b61b-a76d3d661b31" providerId="ADAL" clId="{ABD2F74A-712B-4083-A42A-5FB1F7D04898}" dt="2024-06-04T14:50:42.219" v="3376" actId="165"/>
          <ac:grpSpMkLst>
            <pc:docMk/>
            <pc:sldMk cId="17992381" sldId="2147480180"/>
            <ac:grpSpMk id="47" creationId="{C60426E4-9676-21B0-D2A7-7F795EA2F974}"/>
          </ac:grpSpMkLst>
        </pc:grpChg>
        <pc:grpChg chg="add del mod">
          <ac:chgData name="Hugo Liabeuf" userId="a9defb0f-a7f4-478c-b61b-a76d3d661b31" providerId="ADAL" clId="{ABD2F74A-712B-4083-A42A-5FB1F7D04898}" dt="2024-06-04T14:44:17.536" v="3232" actId="165"/>
          <ac:grpSpMkLst>
            <pc:docMk/>
            <pc:sldMk cId="17992381" sldId="2147480180"/>
            <ac:grpSpMk id="68" creationId="{5924F18F-5898-AC36-566E-0790900FA39C}"/>
          </ac:grpSpMkLst>
        </pc:grpChg>
        <pc:grpChg chg="add mod ord topLvl">
          <ac:chgData name="Hugo Liabeuf" userId="a9defb0f-a7f4-478c-b61b-a76d3d661b31" providerId="ADAL" clId="{ABD2F74A-712B-4083-A42A-5FB1F7D04898}" dt="2024-06-04T15:58:33.137" v="11574" actId="164"/>
          <ac:grpSpMkLst>
            <pc:docMk/>
            <pc:sldMk cId="17992381" sldId="2147480180"/>
            <ac:grpSpMk id="69" creationId="{5279A113-5182-AE05-F4D3-443A9FB3A662}"/>
          </ac:grpSpMkLst>
        </pc:grpChg>
        <pc:grpChg chg="add del mod">
          <ac:chgData name="Hugo Liabeuf" userId="a9defb0f-a7f4-478c-b61b-a76d3d661b31" providerId="ADAL" clId="{ABD2F74A-712B-4083-A42A-5FB1F7D04898}" dt="2024-06-04T14:45:56.647" v="3272" actId="478"/>
          <ac:grpSpMkLst>
            <pc:docMk/>
            <pc:sldMk cId="17992381" sldId="2147480180"/>
            <ac:grpSpMk id="70" creationId="{79214FA5-F4DE-622F-8B6C-85840A2A0A3B}"/>
          </ac:grpSpMkLst>
        </pc:grpChg>
        <pc:grpChg chg="add mod ord topLvl">
          <ac:chgData name="Hugo Liabeuf" userId="a9defb0f-a7f4-478c-b61b-a76d3d661b31" providerId="ADAL" clId="{ABD2F74A-712B-4083-A42A-5FB1F7D04898}" dt="2024-06-04T15:58:41.807" v="11576" actId="12788"/>
          <ac:grpSpMkLst>
            <pc:docMk/>
            <pc:sldMk cId="17992381" sldId="2147480180"/>
            <ac:grpSpMk id="74" creationId="{751D0094-671F-E89C-85AA-9BB3558DE29D}"/>
          </ac:grpSpMkLst>
        </pc:grpChg>
        <pc:grpChg chg="add mod ord">
          <ac:chgData name="Hugo Liabeuf" userId="a9defb0f-a7f4-478c-b61b-a76d3d661b31" providerId="ADAL" clId="{ABD2F74A-712B-4083-A42A-5FB1F7D04898}" dt="2024-06-04T16:00:00.350" v="11654" actId="165"/>
          <ac:grpSpMkLst>
            <pc:docMk/>
            <pc:sldMk cId="17992381" sldId="2147480180"/>
            <ac:grpSpMk id="78" creationId="{4816F531-246A-40C7-0A10-F6479782DFC6}"/>
          </ac:grpSpMkLst>
        </pc:grpChg>
        <pc:grpChg chg="add del mod ord">
          <ac:chgData name="Hugo Liabeuf" userId="a9defb0f-a7f4-478c-b61b-a76d3d661b31" providerId="ADAL" clId="{ABD2F74A-712B-4083-A42A-5FB1F7D04898}" dt="2024-06-04T14:48:02.971" v="3361" actId="165"/>
          <ac:grpSpMkLst>
            <pc:docMk/>
            <pc:sldMk cId="17992381" sldId="2147480180"/>
            <ac:grpSpMk id="84" creationId="{E889E533-8BD1-F874-59F2-66F5EA828A95}"/>
          </ac:grpSpMkLst>
        </pc:grpChg>
        <pc:grpChg chg="add mod topLvl">
          <ac:chgData name="Hugo Liabeuf" userId="a9defb0f-a7f4-478c-b61b-a76d3d661b31" providerId="ADAL" clId="{ABD2F74A-712B-4083-A42A-5FB1F7D04898}" dt="2024-06-04T16:00:00.350" v="11654" actId="165"/>
          <ac:grpSpMkLst>
            <pc:docMk/>
            <pc:sldMk cId="17992381" sldId="2147480180"/>
            <ac:grpSpMk id="86" creationId="{0E6BB659-2619-86B0-DA60-66D5077E7B5F}"/>
          </ac:grpSpMkLst>
        </pc:grpChg>
        <pc:grpChg chg="add mod topLvl">
          <ac:chgData name="Hugo Liabeuf" userId="a9defb0f-a7f4-478c-b61b-a76d3d661b31" providerId="ADAL" clId="{ABD2F74A-712B-4083-A42A-5FB1F7D04898}" dt="2024-06-04T15:58:41.807" v="11576" actId="12788"/>
          <ac:grpSpMkLst>
            <pc:docMk/>
            <pc:sldMk cId="17992381" sldId="2147480180"/>
            <ac:grpSpMk id="87" creationId="{173301CD-5508-976C-0CB4-526D7943CFA6}"/>
          </ac:grpSpMkLst>
        </pc:grpChg>
        <pc:grpChg chg="add del mod">
          <ac:chgData name="Hugo Liabeuf" userId="a9defb0f-a7f4-478c-b61b-a76d3d661b31" providerId="ADAL" clId="{ABD2F74A-712B-4083-A42A-5FB1F7D04898}" dt="2024-06-04T14:50:42.219" v="3376" actId="165"/>
          <ac:grpSpMkLst>
            <pc:docMk/>
            <pc:sldMk cId="17992381" sldId="2147480180"/>
            <ac:grpSpMk id="88" creationId="{D2A95CC1-D488-B5EE-69BE-E18548D240B3}"/>
          </ac:grpSpMkLst>
        </pc:grpChg>
        <pc:grpChg chg="add del mod">
          <ac:chgData name="Hugo Liabeuf" userId="a9defb0f-a7f4-478c-b61b-a76d3d661b31" providerId="ADAL" clId="{ABD2F74A-712B-4083-A42A-5FB1F7D04898}" dt="2024-06-04T14:56:45.171" v="3827" actId="165"/>
          <ac:grpSpMkLst>
            <pc:docMk/>
            <pc:sldMk cId="17992381" sldId="2147480180"/>
            <ac:grpSpMk id="89" creationId="{8ED9BF73-1EEF-4E97-F370-41A46722E72C}"/>
          </ac:grpSpMkLst>
        </pc:grpChg>
        <pc:grpChg chg="add del mod">
          <ac:chgData name="Hugo Liabeuf" userId="a9defb0f-a7f4-478c-b61b-a76d3d661b31" providerId="ADAL" clId="{ABD2F74A-712B-4083-A42A-5FB1F7D04898}" dt="2024-06-04T14:56:47.720" v="3828" actId="165"/>
          <ac:grpSpMkLst>
            <pc:docMk/>
            <pc:sldMk cId="17992381" sldId="2147480180"/>
            <ac:grpSpMk id="90" creationId="{CE44AE8C-394D-6D62-3EA6-FB49C8D3E1DC}"/>
          </ac:grpSpMkLst>
        </pc:grpChg>
        <pc:grpChg chg="add mod">
          <ac:chgData name="Hugo Liabeuf" userId="a9defb0f-a7f4-478c-b61b-a76d3d661b31" providerId="ADAL" clId="{ABD2F74A-712B-4083-A42A-5FB1F7D04898}" dt="2024-06-04T15:59:15.289" v="11581" actId="1076"/>
          <ac:grpSpMkLst>
            <pc:docMk/>
            <pc:sldMk cId="17992381" sldId="2147480180"/>
            <ac:grpSpMk id="99" creationId="{C1126406-41E2-CA91-B28F-D5EA8FABEDED}"/>
          </ac:grpSpMkLst>
        </pc:grpChg>
        <pc:grpChg chg="add del mod">
          <ac:chgData name="Hugo Liabeuf" userId="a9defb0f-a7f4-478c-b61b-a76d3d661b31" providerId="ADAL" clId="{ABD2F74A-712B-4083-A42A-5FB1F7D04898}" dt="2024-06-04T16:00:00.350" v="11654" actId="165"/>
          <ac:grpSpMkLst>
            <pc:docMk/>
            <pc:sldMk cId="17992381" sldId="2147480180"/>
            <ac:grpSpMk id="100" creationId="{9AF933F9-1C02-3C76-575A-00D964C0BDAF}"/>
          </ac:grpSpMkLst>
        </pc:grpChg>
        <pc:grpChg chg="add mod">
          <ac:chgData name="Hugo Liabeuf" userId="a9defb0f-a7f4-478c-b61b-a76d3d661b31" providerId="ADAL" clId="{ABD2F74A-712B-4083-A42A-5FB1F7D04898}" dt="2024-06-04T15:59:15.289" v="11581" actId="1076"/>
          <ac:grpSpMkLst>
            <pc:docMk/>
            <pc:sldMk cId="17992381" sldId="2147480180"/>
            <ac:grpSpMk id="101" creationId="{E6D93D32-67DD-21E7-DE1E-1102429E5354}"/>
          </ac:grpSpMkLst>
        </pc:grpChg>
        <pc:graphicFrameChg chg="del">
          <ac:chgData name="Hugo Liabeuf" userId="a9defb0f-a7f4-478c-b61b-a76d3d661b31" providerId="ADAL" clId="{ABD2F74A-712B-4083-A42A-5FB1F7D04898}" dt="2024-06-04T14:32:23.395" v="2856"/>
          <ac:graphicFrameMkLst>
            <pc:docMk/>
            <pc:sldMk cId="17992381" sldId="2147480180"/>
            <ac:graphicFrameMk id="6" creationId="{1A0E0DD2-05F8-AE4F-66E0-B6614D6FBB95}"/>
          </ac:graphicFrameMkLst>
        </pc:graphicFrameChg>
        <pc:graphicFrameChg chg="add mod ord modVis replST">
          <ac:chgData name="Hugo Liabeuf" userId="a9defb0f-a7f4-478c-b61b-a76d3d661b31" providerId="ADAL" clId="{ABD2F74A-712B-4083-A42A-5FB1F7D04898}" dt="2024-06-04T14:47:27.121" v="3345"/>
          <ac:graphicFrameMkLst>
            <pc:docMk/>
            <pc:sldMk cId="17992381" sldId="2147480180"/>
            <ac:graphicFrameMk id="8" creationId="{EAFF2913-1824-2734-F205-A56E9F422C9C}"/>
          </ac:graphicFrameMkLst>
        </pc:graphicFrameChg>
        <pc:picChg chg="mod">
          <ac:chgData name="Hugo Liabeuf" userId="a9defb0f-a7f4-478c-b61b-a76d3d661b31" providerId="ADAL" clId="{ABD2F74A-712B-4083-A42A-5FB1F7D04898}" dt="2024-06-04T14:33:46.514" v="3076"/>
          <ac:picMkLst>
            <pc:docMk/>
            <pc:sldMk cId="17992381" sldId="2147480180"/>
            <ac:picMk id="19" creationId="{099F372A-0130-89CE-DC1F-CD65B8EB79F4}"/>
          </ac:picMkLst>
        </pc:picChg>
        <pc:picChg chg="mod">
          <ac:chgData name="Hugo Liabeuf" userId="a9defb0f-a7f4-478c-b61b-a76d3d661b31" providerId="ADAL" clId="{ABD2F74A-712B-4083-A42A-5FB1F7D04898}" dt="2024-06-04T14:33:46.514" v="3076"/>
          <ac:picMkLst>
            <pc:docMk/>
            <pc:sldMk cId="17992381" sldId="2147480180"/>
            <ac:picMk id="20" creationId="{F3FBB326-DE5D-12AA-19B0-F5F41FA214F7}"/>
          </ac:picMkLst>
        </pc:picChg>
        <pc:picChg chg="mod">
          <ac:chgData name="Hugo Liabeuf" userId="a9defb0f-a7f4-478c-b61b-a76d3d661b31" providerId="ADAL" clId="{ABD2F74A-712B-4083-A42A-5FB1F7D04898}" dt="2024-06-04T14:33:46.514" v="3076"/>
          <ac:picMkLst>
            <pc:docMk/>
            <pc:sldMk cId="17992381" sldId="2147480180"/>
            <ac:picMk id="29" creationId="{53A1477C-5349-1937-21CA-CBB0B3CE7C52}"/>
          </ac:picMkLst>
        </pc:picChg>
        <pc:picChg chg="mod">
          <ac:chgData name="Hugo Liabeuf" userId="a9defb0f-a7f4-478c-b61b-a76d3d661b31" providerId="ADAL" clId="{ABD2F74A-712B-4083-A42A-5FB1F7D04898}" dt="2024-06-04T14:33:46.514" v="3076"/>
          <ac:picMkLst>
            <pc:docMk/>
            <pc:sldMk cId="17992381" sldId="2147480180"/>
            <ac:picMk id="30" creationId="{FAAB3E9E-65D8-1803-8A70-FE0E7112D2A4}"/>
          </ac:picMkLst>
        </pc:picChg>
        <pc:picChg chg="mod">
          <ac:chgData name="Hugo Liabeuf" userId="a9defb0f-a7f4-478c-b61b-a76d3d661b31" providerId="ADAL" clId="{ABD2F74A-712B-4083-A42A-5FB1F7D04898}" dt="2024-06-04T14:33:46.514" v="3076"/>
          <ac:picMkLst>
            <pc:docMk/>
            <pc:sldMk cId="17992381" sldId="2147480180"/>
            <ac:picMk id="31" creationId="{905DB48F-AC54-4C21-DC67-8E50F4125765}"/>
          </ac:picMkLst>
        </pc:picChg>
        <pc:picChg chg="mod">
          <ac:chgData name="Hugo Liabeuf" userId="a9defb0f-a7f4-478c-b61b-a76d3d661b31" providerId="ADAL" clId="{ABD2F74A-712B-4083-A42A-5FB1F7D04898}" dt="2024-06-04T14:33:46.514" v="3076"/>
          <ac:picMkLst>
            <pc:docMk/>
            <pc:sldMk cId="17992381" sldId="2147480180"/>
            <ac:picMk id="32" creationId="{46E00D21-D3C7-55D6-EE52-1ED0ECDB373A}"/>
          </ac:picMkLst>
        </pc:picChg>
        <pc:picChg chg="mod">
          <ac:chgData name="Hugo Liabeuf" userId="a9defb0f-a7f4-478c-b61b-a76d3d661b31" providerId="ADAL" clId="{ABD2F74A-712B-4083-A42A-5FB1F7D04898}" dt="2024-06-04T14:50:42.219" v="3376" actId="165"/>
          <ac:picMkLst>
            <pc:docMk/>
            <pc:sldMk cId="17992381" sldId="2147480180"/>
            <ac:picMk id="48" creationId="{0C63BDBF-2C08-9A4C-FD37-7CE5E5625B85}"/>
          </ac:picMkLst>
        </pc:picChg>
        <pc:picChg chg="mod">
          <ac:chgData name="Hugo Liabeuf" userId="a9defb0f-a7f4-478c-b61b-a76d3d661b31" providerId="ADAL" clId="{ABD2F74A-712B-4083-A42A-5FB1F7D04898}" dt="2024-06-04T14:50:42.219" v="3376" actId="165"/>
          <ac:picMkLst>
            <pc:docMk/>
            <pc:sldMk cId="17992381" sldId="2147480180"/>
            <ac:picMk id="50" creationId="{9A5F1D59-9648-2DA7-0BFA-FA61A58CDA75}"/>
          </ac:picMkLst>
        </pc:picChg>
        <pc:picChg chg="mod">
          <ac:chgData name="Hugo Liabeuf" userId="a9defb0f-a7f4-478c-b61b-a76d3d661b31" providerId="ADAL" clId="{ABD2F74A-712B-4083-A42A-5FB1F7D04898}" dt="2024-06-04T14:50:42.219" v="3376" actId="165"/>
          <ac:picMkLst>
            <pc:docMk/>
            <pc:sldMk cId="17992381" sldId="2147480180"/>
            <ac:picMk id="51" creationId="{4268F195-CA4A-F252-398D-6E1688012406}"/>
          </ac:picMkLst>
        </pc:picChg>
        <pc:picChg chg="mod">
          <ac:chgData name="Hugo Liabeuf" userId="a9defb0f-a7f4-478c-b61b-a76d3d661b31" providerId="ADAL" clId="{ABD2F74A-712B-4083-A42A-5FB1F7D04898}" dt="2024-06-04T14:50:42.219" v="3376" actId="165"/>
          <ac:picMkLst>
            <pc:docMk/>
            <pc:sldMk cId="17992381" sldId="2147480180"/>
            <ac:picMk id="52" creationId="{ACB08DED-1A91-7F6E-BFC5-CF5ED8FD0EA4}"/>
          </ac:picMkLst>
        </pc:picChg>
        <pc:picChg chg="mod">
          <ac:chgData name="Hugo Liabeuf" userId="a9defb0f-a7f4-478c-b61b-a76d3d661b31" providerId="ADAL" clId="{ABD2F74A-712B-4083-A42A-5FB1F7D04898}" dt="2024-06-04T14:50:42.219" v="3376" actId="165"/>
          <ac:picMkLst>
            <pc:docMk/>
            <pc:sldMk cId="17992381" sldId="2147480180"/>
            <ac:picMk id="54" creationId="{1588EEEE-CDAF-2908-DA3D-5B4C0D231DA5}"/>
          </ac:picMkLst>
        </pc:picChg>
        <pc:picChg chg="mod">
          <ac:chgData name="Hugo Liabeuf" userId="a9defb0f-a7f4-478c-b61b-a76d3d661b31" providerId="ADAL" clId="{ABD2F74A-712B-4083-A42A-5FB1F7D04898}" dt="2024-06-04T14:50:42.219" v="3376" actId="165"/>
          <ac:picMkLst>
            <pc:docMk/>
            <pc:sldMk cId="17992381" sldId="2147480180"/>
            <ac:picMk id="56" creationId="{4A5BD05B-F053-5CAC-50A3-98FAF6FF2ECA}"/>
          </ac:picMkLst>
        </pc:picChg>
        <pc:picChg chg="mod">
          <ac:chgData name="Hugo Liabeuf" userId="a9defb0f-a7f4-478c-b61b-a76d3d661b31" providerId="ADAL" clId="{ABD2F74A-712B-4083-A42A-5FB1F7D04898}" dt="2024-06-04T14:50:42.219" v="3376" actId="165"/>
          <ac:picMkLst>
            <pc:docMk/>
            <pc:sldMk cId="17992381" sldId="2147480180"/>
            <ac:picMk id="57" creationId="{65BF8CA8-6644-81CC-F990-E418EFBC115E}"/>
          </ac:picMkLst>
        </pc:picChg>
        <pc:picChg chg="mod">
          <ac:chgData name="Hugo Liabeuf" userId="a9defb0f-a7f4-478c-b61b-a76d3d661b31" providerId="ADAL" clId="{ABD2F74A-712B-4083-A42A-5FB1F7D04898}" dt="2024-06-04T14:50:42.219" v="3376" actId="165"/>
          <ac:picMkLst>
            <pc:docMk/>
            <pc:sldMk cId="17992381" sldId="2147480180"/>
            <ac:picMk id="58" creationId="{17415435-2EC5-2022-D995-CAE2BE5FE7F5}"/>
          </ac:picMkLst>
        </pc:picChg>
        <pc:picChg chg="mod">
          <ac:chgData name="Hugo Liabeuf" userId="a9defb0f-a7f4-478c-b61b-a76d3d661b31" providerId="ADAL" clId="{ABD2F74A-712B-4083-A42A-5FB1F7D04898}" dt="2024-06-04T14:50:42.219" v="3376" actId="165"/>
          <ac:picMkLst>
            <pc:docMk/>
            <pc:sldMk cId="17992381" sldId="2147480180"/>
            <ac:picMk id="59" creationId="{CC74D77D-12D9-04CD-5371-9991811AF42B}"/>
          </ac:picMkLst>
        </pc:picChg>
        <pc:picChg chg="mod">
          <ac:chgData name="Hugo Liabeuf" userId="a9defb0f-a7f4-478c-b61b-a76d3d661b31" providerId="ADAL" clId="{ABD2F74A-712B-4083-A42A-5FB1F7D04898}" dt="2024-06-04T14:50:42.219" v="3376" actId="165"/>
          <ac:picMkLst>
            <pc:docMk/>
            <pc:sldMk cId="17992381" sldId="2147480180"/>
            <ac:picMk id="60" creationId="{739D7B5A-CB5C-8305-A0C1-63951E0F870D}"/>
          </ac:picMkLst>
        </pc:picChg>
        <pc:picChg chg="mod">
          <ac:chgData name="Hugo Liabeuf" userId="a9defb0f-a7f4-478c-b61b-a76d3d661b31" providerId="ADAL" clId="{ABD2F74A-712B-4083-A42A-5FB1F7D04898}" dt="2024-06-04T14:50:42.219" v="3376" actId="165"/>
          <ac:picMkLst>
            <pc:docMk/>
            <pc:sldMk cId="17992381" sldId="2147480180"/>
            <ac:picMk id="61" creationId="{4B629E13-777A-89FD-B122-94F3A655C617}"/>
          </ac:picMkLst>
        </pc:picChg>
        <pc:picChg chg="mod">
          <ac:chgData name="Hugo Liabeuf" userId="a9defb0f-a7f4-478c-b61b-a76d3d661b31" providerId="ADAL" clId="{ABD2F74A-712B-4083-A42A-5FB1F7D04898}" dt="2024-06-04T14:50:42.219" v="3376" actId="165"/>
          <ac:picMkLst>
            <pc:docMk/>
            <pc:sldMk cId="17992381" sldId="2147480180"/>
            <ac:picMk id="62" creationId="{251A1AD8-0E48-889F-21E1-16A3F90E8B2B}"/>
          </ac:picMkLst>
        </pc:picChg>
        <pc:picChg chg="mod">
          <ac:chgData name="Hugo Liabeuf" userId="a9defb0f-a7f4-478c-b61b-a76d3d661b31" providerId="ADAL" clId="{ABD2F74A-712B-4083-A42A-5FB1F7D04898}" dt="2024-06-04T14:50:42.219" v="3376" actId="165"/>
          <ac:picMkLst>
            <pc:docMk/>
            <pc:sldMk cId="17992381" sldId="2147480180"/>
            <ac:picMk id="63" creationId="{AB35A637-7409-F03A-0B0E-0CACC29091E1}"/>
          </ac:picMkLst>
        </pc:picChg>
        <pc:picChg chg="mod">
          <ac:chgData name="Hugo Liabeuf" userId="a9defb0f-a7f4-478c-b61b-a76d3d661b31" providerId="ADAL" clId="{ABD2F74A-712B-4083-A42A-5FB1F7D04898}" dt="2024-06-04T14:50:42.219" v="3376" actId="165"/>
          <ac:picMkLst>
            <pc:docMk/>
            <pc:sldMk cId="17992381" sldId="2147480180"/>
            <ac:picMk id="64" creationId="{2D0B024E-FF60-35AA-42B8-2310CD8C002F}"/>
          </ac:picMkLst>
        </pc:picChg>
        <pc:picChg chg="mod">
          <ac:chgData name="Hugo Liabeuf" userId="a9defb0f-a7f4-478c-b61b-a76d3d661b31" providerId="ADAL" clId="{ABD2F74A-712B-4083-A42A-5FB1F7D04898}" dt="2024-06-04T14:50:42.219" v="3376" actId="165"/>
          <ac:picMkLst>
            <pc:docMk/>
            <pc:sldMk cId="17992381" sldId="2147480180"/>
            <ac:picMk id="65" creationId="{787B5D35-3662-89FB-A119-C015E972DC70}"/>
          </ac:picMkLst>
        </pc:picChg>
        <pc:picChg chg="mod">
          <ac:chgData name="Hugo Liabeuf" userId="a9defb0f-a7f4-478c-b61b-a76d3d661b31" providerId="ADAL" clId="{ABD2F74A-712B-4083-A42A-5FB1F7D04898}" dt="2024-06-04T14:45:46.702" v="3269"/>
          <ac:picMkLst>
            <pc:docMk/>
            <pc:sldMk cId="17992381" sldId="2147480180"/>
            <ac:picMk id="72" creationId="{EC8CF623-DFAB-7556-442C-03E28C6B18B4}"/>
          </ac:picMkLst>
        </pc:picChg>
        <pc:picChg chg="mod">
          <ac:chgData name="Hugo Liabeuf" userId="a9defb0f-a7f4-478c-b61b-a76d3d661b31" providerId="ADAL" clId="{ABD2F74A-712B-4083-A42A-5FB1F7D04898}" dt="2024-06-04T15:58:41.807" v="11576" actId="12788"/>
          <ac:picMkLst>
            <pc:docMk/>
            <pc:sldMk cId="17992381" sldId="2147480180"/>
            <ac:picMk id="76" creationId="{D763FD95-0727-D109-9EF6-4EC5401E340A}"/>
          </ac:picMkLst>
        </pc:picChg>
        <pc:picChg chg="mod">
          <ac:chgData name="Hugo Liabeuf" userId="a9defb0f-a7f4-478c-b61b-a76d3d661b31" providerId="ADAL" clId="{ABD2F74A-712B-4083-A42A-5FB1F7D04898}" dt="2024-06-04T16:00:00.350" v="11654" actId="165"/>
          <ac:picMkLst>
            <pc:docMk/>
            <pc:sldMk cId="17992381" sldId="2147480180"/>
            <ac:picMk id="80" creationId="{1D1570B5-CE0F-BCF5-7D53-DB149EA0DE96}"/>
          </ac:picMkLst>
        </pc:picChg>
        <pc:picChg chg="mod">
          <ac:chgData name="Hugo Liabeuf" userId="a9defb0f-a7f4-478c-b61b-a76d3d661b31" providerId="ADAL" clId="{ABD2F74A-712B-4083-A42A-5FB1F7D04898}" dt="2024-06-04T16:00:00.350" v="11654" actId="165"/>
          <ac:picMkLst>
            <pc:docMk/>
            <pc:sldMk cId="17992381" sldId="2147480180"/>
            <ac:picMk id="82" creationId="{BB1C4AB6-D036-03C3-DA24-539DD604107B}"/>
          </ac:picMkLst>
        </pc:picChg>
        <pc:picChg chg="add mod">
          <ac:chgData name="Hugo Liabeuf" userId="a9defb0f-a7f4-478c-b61b-a76d3d661b31" providerId="ADAL" clId="{ABD2F74A-712B-4083-A42A-5FB1F7D04898}" dt="2024-06-04T15:59:03.691" v="11578" actId="12789"/>
          <ac:picMkLst>
            <pc:docMk/>
            <pc:sldMk cId="17992381" sldId="2147480180"/>
            <ac:picMk id="95" creationId="{B21EC362-A002-4E94-F71E-10694F3D2B73}"/>
          </ac:picMkLst>
        </pc:picChg>
        <pc:picChg chg="add mod">
          <ac:chgData name="Hugo Liabeuf" userId="a9defb0f-a7f4-478c-b61b-a76d3d661b31" providerId="ADAL" clId="{ABD2F74A-712B-4083-A42A-5FB1F7D04898}" dt="2024-06-04T15:59:03.691" v="11578" actId="12789"/>
          <ac:picMkLst>
            <pc:docMk/>
            <pc:sldMk cId="17992381" sldId="2147480180"/>
            <ac:picMk id="96" creationId="{F9601D59-E5DC-5C43-DF80-CD4C9EBFD4D6}"/>
          </ac:picMkLst>
        </pc:picChg>
        <pc:picChg chg="add mod">
          <ac:chgData name="Hugo Liabeuf" userId="a9defb0f-a7f4-478c-b61b-a76d3d661b31" providerId="ADAL" clId="{ABD2F74A-712B-4083-A42A-5FB1F7D04898}" dt="2024-06-04T15:59:03.691" v="11578" actId="12789"/>
          <ac:picMkLst>
            <pc:docMk/>
            <pc:sldMk cId="17992381" sldId="2147480180"/>
            <ac:picMk id="2050" creationId="{572C3B06-2406-93AC-794A-50A1ADD2E13D}"/>
          </ac:picMkLst>
        </pc:picChg>
        <pc:cxnChg chg="add mod">
          <ac:chgData name="Hugo Liabeuf" userId="a9defb0f-a7f4-478c-b61b-a76d3d661b31" providerId="ADAL" clId="{ABD2F74A-712B-4083-A42A-5FB1F7D04898}" dt="2024-06-04T15:58:41.807" v="11576" actId="12788"/>
          <ac:cxnSpMkLst>
            <pc:docMk/>
            <pc:sldMk cId="17992381" sldId="2147480180"/>
            <ac:cxnSpMk id="91" creationId="{B9AF5555-D3C7-ACC5-1955-83295CDAD537}"/>
          </ac:cxnSpMkLst>
        </pc:cxnChg>
      </pc:sldChg>
      <pc:sldChg chg="addSp delSp modSp mod modClrScheme chgLayout">
        <pc:chgData name="Hugo Liabeuf" userId="a9defb0f-a7f4-478c-b61b-a76d3d661b31" providerId="ADAL" clId="{ABD2F74A-712B-4083-A42A-5FB1F7D04898}" dt="2024-06-04T14:19:50.479" v="1989" actId="20577"/>
        <pc:sldMkLst>
          <pc:docMk/>
          <pc:sldMk cId="550604678" sldId="2147480181"/>
        </pc:sldMkLst>
        <pc:spChg chg="del">
          <ac:chgData name="Hugo Liabeuf" userId="a9defb0f-a7f4-478c-b61b-a76d3d661b31" providerId="ADAL" clId="{ABD2F74A-712B-4083-A42A-5FB1F7D04898}" dt="2024-06-04T14:04:13.514" v="1005" actId="478"/>
          <ac:spMkLst>
            <pc:docMk/>
            <pc:sldMk cId="550604678" sldId="2147480181"/>
            <ac:spMk id="2" creationId="{F176DD2C-94B9-24FC-EFBC-509212B60360}"/>
          </ac:spMkLst>
        </pc:spChg>
        <pc:spChg chg="mod ord">
          <ac:chgData name="Hugo Liabeuf" userId="a9defb0f-a7f4-478c-b61b-a76d3d661b31" providerId="ADAL" clId="{ABD2F74A-712B-4083-A42A-5FB1F7D04898}" dt="2024-06-04T14:17:47.545" v="1029" actId="700"/>
          <ac:spMkLst>
            <pc:docMk/>
            <pc:sldMk cId="550604678" sldId="2147480181"/>
            <ac:spMk id="3" creationId="{C5E8CA53-F56B-3681-C40C-9D8C1EA2C7F0}"/>
          </ac:spMkLst>
        </pc:spChg>
        <pc:spChg chg="mod ord">
          <ac:chgData name="Hugo Liabeuf" userId="a9defb0f-a7f4-478c-b61b-a76d3d661b31" providerId="ADAL" clId="{ABD2F74A-712B-4083-A42A-5FB1F7D04898}" dt="2024-06-04T14:19:50.479" v="1989" actId="20577"/>
          <ac:spMkLst>
            <pc:docMk/>
            <pc:sldMk cId="550604678" sldId="2147480181"/>
            <ac:spMk id="4" creationId="{CFDE0F7F-C87D-60FE-2BA1-01BD332D5146}"/>
          </ac:spMkLst>
        </pc:spChg>
        <pc:spChg chg="del">
          <ac:chgData name="Hugo Liabeuf" userId="a9defb0f-a7f4-478c-b61b-a76d3d661b31" providerId="ADAL" clId="{ABD2F74A-712B-4083-A42A-5FB1F7D04898}" dt="2024-06-04T14:04:13.514" v="1005" actId="478"/>
          <ac:spMkLst>
            <pc:docMk/>
            <pc:sldMk cId="550604678" sldId="2147480181"/>
            <ac:spMk id="5" creationId="{6B2B9C03-54ED-0204-CA89-E430D7623CA8}"/>
          </ac:spMkLst>
        </pc:spChg>
        <pc:spChg chg="add mod topLvl">
          <ac:chgData name="Hugo Liabeuf" userId="a9defb0f-a7f4-478c-b61b-a76d3d661b31" providerId="ADAL" clId="{ABD2F74A-712B-4083-A42A-5FB1F7D04898}" dt="2024-06-04T14:17:41.649" v="1027" actId="165"/>
          <ac:spMkLst>
            <pc:docMk/>
            <pc:sldMk cId="550604678" sldId="2147480181"/>
            <ac:spMk id="11" creationId="{34FF8580-6027-AFEF-A003-F2E53AE26A29}"/>
          </ac:spMkLst>
        </pc:spChg>
        <pc:spChg chg="add del mod">
          <ac:chgData name="Hugo Liabeuf" userId="a9defb0f-a7f4-478c-b61b-a76d3d661b31" providerId="ADAL" clId="{ABD2F74A-712B-4083-A42A-5FB1F7D04898}" dt="2024-06-04T14:04:15.313" v="1010" actId="478"/>
          <ac:spMkLst>
            <pc:docMk/>
            <pc:sldMk cId="550604678" sldId="2147480181"/>
            <ac:spMk id="13" creationId="{C88C3680-92BA-235D-7306-88E561A14AF5}"/>
          </ac:spMkLst>
        </pc:spChg>
        <pc:spChg chg="add mod ord">
          <ac:chgData name="Hugo Liabeuf" userId="a9defb0f-a7f4-478c-b61b-a76d3d661b31" providerId="ADAL" clId="{ABD2F74A-712B-4083-A42A-5FB1F7D04898}" dt="2024-06-04T14:18:49.255" v="1834" actId="948"/>
          <ac:spMkLst>
            <pc:docMk/>
            <pc:sldMk cId="550604678" sldId="2147480181"/>
            <ac:spMk id="17" creationId="{5D89E55C-3FF7-D3AA-C63D-3EF4FE555DC3}"/>
          </ac:spMkLst>
        </pc:spChg>
        <pc:spChg chg="add del mod ord">
          <ac:chgData name="Hugo Liabeuf" userId="a9defb0f-a7f4-478c-b61b-a76d3d661b31" providerId="ADAL" clId="{ABD2F74A-712B-4083-A42A-5FB1F7D04898}" dt="2024-06-04T14:17:49.947" v="1030" actId="478"/>
          <ac:spMkLst>
            <pc:docMk/>
            <pc:sldMk cId="550604678" sldId="2147480181"/>
            <ac:spMk id="18" creationId="{1E731BD0-3C8A-D59E-FDC9-236B5E3F2971}"/>
          </ac:spMkLst>
        </pc:spChg>
        <pc:spChg chg="add del mod modVis">
          <ac:chgData name="Hugo Liabeuf" userId="a9defb0f-a7f4-478c-b61b-a76d3d661b31" providerId="ADAL" clId="{ABD2F74A-712B-4083-A42A-5FB1F7D04898}" dt="2024-06-04T14:17:53.119" v="1060"/>
          <ac:spMkLst>
            <pc:docMk/>
            <pc:sldMk cId="550604678" sldId="2147480181"/>
            <ac:spMk id="19" creationId="{32E65E8F-5881-E62C-414D-99AE688C7218}"/>
          </ac:spMkLst>
        </pc:spChg>
        <pc:spChg chg="add del mod modVis">
          <ac:chgData name="Hugo Liabeuf" userId="a9defb0f-a7f4-478c-b61b-a76d3d661b31" providerId="ADAL" clId="{ABD2F74A-712B-4083-A42A-5FB1F7D04898}" dt="2024-06-04T14:17:53.947" v="1091"/>
          <ac:spMkLst>
            <pc:docMk/>
            <pc:sldMk cId="550604678" sldId="2147480181"/>
            <ac:spMk id="20" creationId="{8E919B88-84D8-5428-8341-7D2808AA7895}"/>
          </ac:spMkLst>
        </pc:spChg>
        <pc:spChg chg="add del mod modVis">
          <ac:chgData name="Hugo Liabeuf" userId="a9defb0f-a7f4-478c-b61b-a76d3d661b31" providerId="ADAL" clId="{ABD2F74A-712B-4083-A42A-5FB1F7D04898}" dt="2024-06-04T14:17:56.835" v="1135"/>
          <ac:spMkLst>
            <pc:docMk/>
            <pc:sldMk cId="550604678" sldId="2147480181"/>
            <ac:spMk id="21" creationId="{CD201926-335B-F7FE-D6F6-843E2741D480}"/>
          </ac:spMkLst>
        </pc:spChg>
        <pc:spChg chg="add del mod modVis">
          <ac:chgData name="Hugo Liabeuf" userId="a9defb0f-a7f4-478c-b61b-a76d3d661b31" providerId="ADAL" clId="{ABD2F74A-712B-4083-A42A-5FB1F7D04898}" dt="2024-06-04T14:17:58.376" v="1167"/>
          <ac:spMkLst>
            <pc:docMk/>
            <pc:sldMk cId="550604678" sldId="2147480181"/>
            <ac:spMk id="22" creationId="{A41619F7-2657-2947-65AA-01C3832CD570}"/>
          </ac:spMkLst>
        </pc:spChg>
        <pc:spChg chg="add del mod modVis">
          <ac:chgData name="Hugo Liabeuf" userId="a9defb0f-a7f4-478c-b61b-a76d3d661b31" providerId="ADAL" clId="{ABD2F74A-712B-4083-A42A-5FB1F7D04898}" dt="2024-06-04T14:17:59.646" v="1201"/>
          <ac:spMkLst>
            <pc:docMk/>
            <pc:sldMk cId="550604678" sldId="2147480181"/>
            <ac:spMk id="23" creationId="{47E14DB2-6F59-0A91-DC21-CC26AA072AE7}"/>
          </ac:spMkLst>
        </pc:spChg>
        <pc:spChg chg="add del mod modVis">
          <ac:chgData name="Hugo Liabeuf" userId="a9defb0f-a7f4-478c-b61b-a76d3d661b31" providerId="ADAL" clId="{ABD2F74A-712B-4083-A42A-5FB1F7D04898}" dt="2024-06-04T14:18:00.606" v="1230"/>
          <ac:spMkLst>
            <pc:docMk/>
            <pc:sldMk cId="550604678" sldId="2147480181"/>
            <ac:spMk id="24" creationId="{D168CBCC-E408-5684-2E8D-3E0E1C17DB61}"/>
          </ac:spMkLst>
        </pc:spChg>
        <pc:spChg chg="add del mod modVis">
          <ac:chgData name="Hugo Liabeuf" userId="a9defb0f-a7f4-478c-b61b-a76d3d661b31" providerId="ADAL" clId="{ABD2F74A-712B-4083-A42A-5FB1F7D04898}" dt="2024-06-04T14:18:01.950" v="1262"/>
          <ac:spMkLst>
            <pc:docMk/>
            <pc:sldMk cId="550604678" sldId="2147480181"/>
            <ac:spMk id="25" creationId="{F5751584-C5BA-B093-374C-C1CDC661E8FE}"/>
          </ac:spMkLst>
        </pc:spChg>
        <pc:spChg chg="add del mod modVis">
          <ac:chgData name="Hugo Liabeuf" userId="a9defb0f-a7f4-478c-b61b-a76d3d661b31" providerId="ADAL" clId="{ABD2F74A-712B-4083-A42A-5FB1F7D04898}" dt="2024-06-04T14:18:06.055" v="1298"/>
          <ac:spMkLst>
            <pc:docMk/>
            <pc:sldMk cId="550604678" sldId="2147480181"/>
            <ac:spMk id="26" creationId="{A6EA9698-3343-3591-817C-3E2B4BC272CD}"/>
          </ac:spMkLst>
        </pc:spChg>
        <pc:spChg chg="add del mod modVis">
          <ac:chgData name="Hugo Liabeuf" userId="a9defb0f-a7f4-478c-b61b-a76d3d661b31" providerId="ADAL" clId="{ABD2F74A-712B-4083-A42A-5FB1F7D04898}" dt="2024-06-04T14:18:08.199" v="1341"/>
          <ac:spMkLst>
            <pc:docMk/>
            <pc:sldMk cId="550604678" sldId="2147480181"/>
            <ac:spMk id="27" creationId="{E3865C0F-FD8C-1DA3-D7C8-B1D2E33F800F}"/>
          </ac:spMkLst>
        </pc:spChg>
        <pc:spChg chg="add del mod modVis">
          <ac:chgData name="Hugo Liabeuf" userId="a9defb0f-a7f4-478c-b61b-a76d3d661b31" providerId="ADAL" clId="{ABD2F74A-712B-4083-A42A-5FB1F7D04898}" dt="2024-06-04T14:18:09.797" v="1376"/>
          <ac:spMkLst>
            <pc:docMk/>
            <pc:sldMk cId="550604678" sldId="2147480181"/>
            <ac:spMk id="28" creationId="{85A579EE-0488-719B-6CBF-529F444D413A}"/>
          </ac:spMkLst>
        </pc:spChg>
        <pc:spChg chg="add del mod modVis">
          <ac:chgData name="Hugo Liabeuf" userId="a9defb0f-a7f4-478c-b61b-a76d3d661b31" providerId="ADAL" clId="{ABD2F74A-712B-4083-A42A-5FB1F7D04898}" dt="2024-06-04T14:18:15.603" v="1446"/>
          <ac:spMkLst>
            <pc:docMk/>
            <pc:sldMk cId="550604678" sldId="2147480181"/>
            <ac:spMk id="29" creationId="{261EE6B9-D1C0-07D0-5074-7B450AC7C765}"/>
          </ac:spMkLst>
        </pc:spChg>
        <pc:spChg chg="add del mod modVis">
          <ac:chgData name="Hugo Liabeuf" userId="a9defb0f-a7f4-478c-b61b-a76d3d661b31" providerId="ADAL" clId="{ABD2F74A-712B-4083-A42A-5FB1F7D04898}" dt="2024-06-04T14:18:16.926" v="1477"/>
          <ac:spMkLst>
            <pc:docMk/>
            <pc:sldMk cId="550604678" sldId="2147480181"/>
            <ac:spMk id="30" creationId="{DFF68D42-AEFC-8E0D-24ED-317C86B9C77B}"/>
          </ac:spMkLst>
        </pc:spChg>
        <pc:spChg chg="add del mod modVis">
          <ac:chgData name="Hugo Liabeuf" userId="a9defb0f-a7f4-478c-b61b-a76d3d661b31" providerId="ADAL" clId="{ABD2F74A-712B-4083-A42A-5FB1F7D04898}" dt="2024-06-04T14:18:17.820" v="1508"/>
          <ac:spMkLst>
            <pc:docMk/>
            <pc:sldMk cId="550604678" sldId="2147480181"/>
            <ac:spMk id="31" creationId="{51A11948-E74C-9423-64AF-FB28A1FE81C5}"/>
          </ac:spMkLst>
        </pc:spChg>
        <pc:spChg chg="add del mod modVis">
          <ac:chgData name="Hugo Liabeuf" userId="a9defb0f-a7f4-478c-b61b-a76d3d661b31" providerId="ADAL" clId="{ABD2F74A-712B-4083-A42A-5FB1F7D04898}" dt="2024-06-04T14:18:19.337" v="1542"/>
          <ac:spMkLst>
            <pc:docMk/>
            <pc:sldMk cId="550604678" sldId="2147480181"/>
            <ac:spMk id="32" creationId="{3CC6A266-99FD-958A-5D29-E231CE59DE64}"/>
          </ac:spMkLst>
        </pc:spChg>
        <pc:spChg chg="add del mod modVis">
          <ac:chgData name="Hugo Liabeuf" userId="a9defb0f-a7f4-478c-b61b-a76d3d661b31" providerId="ADAL" clId="{ABD2F74A-712B-4083-A42A-5FB1F7D04898}" dt="2024-06-04T14:18:24.921" v="1570"/>
          <ac:spMkLst>
            <pc:docMk/>
            <pc:sldMk cId="550604678" sldId="2147480181"/>
            <ac:spMk id="33" creationId="{3D5629B1-C143-B5DD-27E9-B6007D5DFF9E}"/>
          </ac:spMkLst>
        </pc:spChg>
        <pc:spChg chg="add del mod modVis">
          <ac:chgData name="Hugo Liabeuf" userId="a9defb0f-a7f4-478c-b61b-a76d3d661b31" providerId="ADAL" clId="{ABD2F74A-712B-4083-A42A-5FB1F7D04898}" dt="2024-06-04T14:18:26.370" v="1604"/>
          <ac:spMkLst>
            <pc:docMk/>
            <pc:sldMk cId="550604678" sldId="2147480181"/>
            <ac:spMk id="34" creationId="{ED590709-F769-3E42-D79A-CE0753E6774C}"/>
          </ac:spMkLst>
        </pc:spChg>
        <pc:spChg chg="add del mod modVis">
          <ac:chgData name="Hugo Liabeuf" userId="a9defb0f-a7f4-478c-b61b-a76d3d661b31" providerId="ADAL" clId="{ABD2F74A-712B-4083-A42A-5FB1F7D04898}" dt="2024-06-04T14:18:27.272" v="1632"/>
          <ac:spMkLst>
            <pc:docMk/>
            <pc:sldMk cId="550604678" sldId="2147480181"/>
            <ac:spMk id="35" creationId="{C104FAD7-CDCA-9BDE-C075-69CCF9176CAA}"/>
          </ac:spMkLst>
        </pc:spChg>
        <pc:spChg chg="add del mod modVis">
          <ac:chgData name="Hugo Liabeuf" userId="a9defb0f-a7f4-478c-b61b-a76d3d661b31" providerId="ADAL" clId="{ABD2F74A-712B-4083-A42A-5FB1F7D04898}" dt="2024-06-04T14:18:31.043" v="1685"/>
          <ac:spMkLst>
            <pc:docMk/>
            <pc:sldMk cId="550604678" sldId="2147480181"/>
            <ac:spMk id="36" creationId="{BCF8BFBF-12B1-46EC-CCFE-784D8FFCA930}"/>
          </ac:spMkLst>
        </pc:spChg>
        <pc:spChg chg="add del mod modVis">
          <ac:chgData name="Hugo Liabeuf" userId="a9defb0f-a7f4-478c-b61b-a76d3d661b31" providerId="ADAL" clId="{ABD2F74A-712B-4083-A42A-5FB1F7D04898}" dt="2024-06-04T14:18:34.112" v="1713"/>
          <ac:spMkLst>
            <pc:docMk/>
            <pc:sldMk cId="550604678" sldId="2147480181"/>
            <ac:spMk id="37" creationId="{351AFA3A-5927-8004-36CD-7A6D37F3059D}"/>
          </ac:spMkLst>
        </pc:spChg>
        <pc:spChg chg="add del mod modVis">
          <ac:chgData name="Hugo Liabeuf" userId="a9defb0f-a7f4-478c-b61b-a76d3d661b31" providerId="ADAL" clId="{ABD2F74A-712B-4083-A42A-5FB1F7D04898}" dt="2024-06-04T14:18:37.961" v="1743"/>
          <ac:spMkLst>
            <pc:docMk/>
            <pc:sldMk cId="550604678" sldId="2147480181"/>
            <ac:spMk id="38" creationId="{CC829F02-4EBB-491C-15AE-F8BB80C4C63E}"/>
          </ac:spMkLst>
        </pc:spChg>
        <pc:spChg chg="add del mod modVis">
          <ac:chgData name="Hugo Liabeuf" userId="a9defb0f-a7f4-478c-b61b-a76d3d661b31" providerId="ADAL" clId="{ABD2F74A-712B-4083-A42A-5FB1F7D04898}" dt="2024-06-04T14:18:39.962" v="1774"/>
          <ac:spMkLst>
            <pc:docMk/>
            <pc:sldMk cId="550604678" sldId="2147480181"/>
            <ac:spMk id="39" creationId="{E984BF5B-1CA1-ECED-4B3E-9A9AC07E1161}"/>
          </ac:spMkLst>
        </pc:spChg>
        <pc:spChg chg="add del mod modVis">
          <ac:chgData name="Hugo Liabeuf" userId="a9defb0f-a7f4-478c-b61b-a76d3d661b31" providerId="ADAL" clId="{ABD2F74A-712B-4083-A42A-5FB1F7D04898}" dt="2024-06-04T14:18:47.164" v="1802"/>
          <ac:spMkLst>
            <pc:docMk/>
            <pc:sldMk cId="550604678" sldId="2147480181"/>
            <ac:spMk id="40" creationId="{AB96C726-4D73-BA2A-868B-0F270772C9D9}"/>
          </ac:spMkLst>
        </pc:spChg>
        <pc:spChg chg="add del mod modVis">
          <ac:chgData name="Hugo Liabeuf" userId="a9defb0f-a7f4-478c-b61b-a76d3d661b31" providerId="ADAL" clId="{ABD2F74A-712B-4083-A42A-5FB1F7D04898}" dt="2024-06-04T14:18:48.628" v="1830"/>
          <ac:spMkLst>
            <pc:docMk/>
            <pc:sldMk cId="550604678" sldId="2147480181"/>
            <ac:spMk id="41" creationId="{B5B918E1-CB4C-2AB9-15EA-42C16644A2F6}"/>
          </ac:spMkLst>
        </pc:spChg>
        <pc:spChg chg="add del mod modVis">
          <ac:chgData name="Hugo Liabeuf" userId="a9defb0f-a7f4-478c-b61b-a76d3d661b31" providerId="ADAL" clId="{ABD2F74A-712B-4083-A42A-5FB1F7D04898}" dt="2024-06-04T14:18:49.290" v="1858"/>
          <ac:spMkLst>
            <pc:docMk/>
            <pc:sldMk cId="550604678" sldId="2147480181"/>
            <ac:spMk id="42" creationId="{FCF7DA9D-15CD-FBEB-0CD3-3BB591FBF13B}"/>
          </ac:spMkLst>
        </pc:spChg>
        <pc:grpChg chg="add del mod">
          <ac:chgData name="Hugo Liabeuf" userId="a9defb0f-a7f4-478c-b61b-a76d3d661b31" providerId="ADAL" clId="{ABD2F74A-712B-4083-A42A-5FB1F7D04898}" dt="2024-06-04T14:17:41.649" v="1027" actId="165"/>
          <ac:grpSpMkLst>
            <pc:docMk/>
            <pc:sldMk cId="550604678" sldId="2147480181"/>
            <ac:grpSpMk id="16" creationId="{EF4B8C98-F7A0-C055-E0B7-5F5320423E3D}"/>
          </ac:grpSpMkLst>
        </pc:grpChg>
        <pc:graphicFrameChg chg="mod">
          <ac:chgData name="Hugo Liabeuf" userId="a9defb0f-a7f4-478c-b61b-a76d3d661b31" providerId="ADAL" clId="{ABD2F74A-712B-4083-A42A-5FB1F7D04898}" dt="2024-06-04T14:18:49.290" v="1860"/>
          <ac:graphicFrameMkLst>
            <pc:docMk/>
            <pc:sldMk cId="550604678" sldId="2147480181"/>
            <ac:graphicFrameMk id="7" creationId="{A08BE0D7-AEE0-B094-E725-38D8762EC75F}"/>
          </ac:graphicFrameMkLst>
        </pc:graphicFrameChg>
        <pc:picChg chg="add mod topLvl">
          <ac:chgData name="Hugo Liabeuf" userId="a9defb0f-a7f4-478c-b61b-a76d3d661b31" providerId="ADAL" clId="{ABD2F74A-712B-4083-A42A-5FB1F7D04898}" dt="2024-06-04T14:19:01.187" v="1864" actId="1076"/>
          <ac:picMkLst>
            <pc:docMk/>
            <pc:sldMk cId="550604678" sldId="2147480181"/>
            <ac:picMk id="15" creationId="{5C20FC4C-A510-DACB-860A-5F66EECA1B17}"/>
          </ac:picMkLst>
        </pc:picChg>
      </pc:sldChg>
      <pc:sldChg chg="addSp delSp modSp new del mod modClrScheme chgLayout">
        <pc:chgData name="Hugo Liabeuf" userId="a9defb0f-a7f4-478c-b61b-a76d3d661b31" providerId="ADAL" clId="{ABD2F74A-712B-4083-A42A-5FB1F7D04898}" dt="2024-06-06T16:23:49.439" v="23486" actId="47"/>
        <pc:sldMkLst>
          <pc:docMk/>
          <pc:sldMk cId="2534359699" sldId="2147480182"/>
        </pc:sldMkLst>
        <pc:spChg chg="mod ord">
          <ac:chgData name="Hugo Liabeuf" userId="a9defb0f-a7f4-478c-b61b-a76d3d661b31" providerId="ADAL" clId="{ABD2F74A-712B-4083-A42A-5FB1F7D04898}" dt="2024-06-04T13:44:31.008" v="332" actId="948"/>
          <ac:spMkLst>
            <pc:docMk/>
            <pc:sldMk cId="2534359699" sldId="2147480182"/>
            <ac:spMk id="2" creationId="{D948D9AE-0BCB-7D6F-8FFF-9E30B1800BD8}"/>
          </ac:spMkLst>
        </pc:spChg>
        <pc:spChg chg="mod ord">
          <ac:chgData name="Hugo Liabeuf" userId="a9defb0f-a7f4-478c-b61b-a76d3d661b31" providerId="ADAL" clId="{ABD2F74A-712B-4083-A42A-5FB1F7D04898}" dt="2024-06-04T13:44:30.436" v="331" actId="700"/>
          <ac:spMkLst>
            <pc:docMk/>
            <pc:sldMk cId="2534359699" sldId="2147480182"/>
            <ac:spMk id="3" creationId="{1EB8067F-30E0-E972-25B8-068F66971FCF}"/>
          </ac:spMkLst>
        </pc:spChg>
        <pc:spChg chg="mod ord">
          <ac:chgData name="Hugo Liabeuf" userId="a9defb0f-a7f4-478c-b61b-a76d3d661b31" providerId="ADAL" clId="{ABD2F74A-712B-4083-A42A-5FB1F7D04898}" dt="2024-06-04T13:44:30.436" v="331" actId="700"/>
          <ac:spMkLst>
            <pc:docMk/>
            <pc:sldMk cId="2534359699" sldId="2147480182"/>
            <ac:spMk id="4" creationId="{54AE3343-45D0-D389-65C6-EFC187EBE0D7}"/>
          </ac:spMkLst>
        </pc:spChg>
        <pc:spChg chg="add del mod modVis">
          <ac:chgData name="Hugo Liabeuf" userId="a9defb0f-a7f4-478c-b61b-a76d3d661b31" providerId="ADAL" clId="{ABD2F74A-712B-4083-A42A-5FB1F7D04898}" dt="2024-06-04T13:44:23.079" v="231"/>
          <ac:spMkLst>
            <pc:docMk/>
            <pc:sldMk cId="2534359699" sldId="2147480182"/>
            <ac:spMk id="5" creationId="{40CA91D9-6FB9-73FD-A137-7234A576B496}"/>
          </ac:spMkLst>
        </pc:spChg>
        <pc:spChg chg="add del mod modVis">
          <ac:chgData name="Hugo Liabeuf" userId="a9defb0f-a7f4-478c-b61b-a76d3d661b31" providerId="ADAL" clId="{ABD2F74A-712B-4083-A42A-5FB1F7D04898}" dt="2024-06-04T13:44:26.961" v="300"/>
          <ac:spMkLst>
            <pc:docMk/>
            <pc:sldMk cId="2534359699" sldId="2147480182"/>
            <ac:spMk id="7" creationId="{9C816462-4D54-B541-6413-AC36D014C1E0}"/>
          </ac:spMkLst>
        </pc:spChg>
        <pc:spChg chg="add del mod modVis">
          <ac:chgData name="Hugo Liabeuf" userId="a9defb0f-a7f4-478c-b61b-a76d3d661b31" providerId="ADAL" clId="{ABD2F74A-712B-4083-A42A-5FB1F7D04898}" dt="2024-06-04T13:44:27.711" v="328"/>
          <ac:spMkLst>
            <pc:docMk/>
            <pc:sldMk cId="2534359699" sldId="2147480182"/>
            <ac:spMk id="8" creationId="{C286D855-1C3F-F076-4B61-EA8422C56C71}"/>
          </ac:spMkLst>
        </pc:spChg>
        <pc:spChg chg="add mod ord">
          <ac:chgData name="Hugo Liabeuf" userId="a9defb0f-a7f4-478c-b61b-a76d3d661b31" providerId="ADAL" clId="{ABD2F74A-712B-4083-A42A-5FB1F7D04898}" dt="2024-06-04T15:21:31.689" v="3932" actId="20577"/>
          <ac:spMkLst>
            <pc:docMk/>
            <pc:sldMk cId="2534359699" sldId="2147480182"/>
            <ac:spMk id="9" creationId="{04ACD8B4-8F0F-62DC-73DD-A6B7ECB84D46}"/>
          </ac:spMkLst>
        </pc:spChg>
        <pc:spChg chg="add del mod modVis">
          <ac:chgData name="Hugo Liabeuf" userId="a9defb0f-a7f4-478c-b61b-a76d3d661b31" providerId="ADAL" clId="{ABD2F74A-712B-4083-A42A-5FB1F7D04898}" dt="2024-06-04T13:44:31.081" v="356"/>
          <ac:spMkLst>
            <pc:docMk/>
            <pc:sldMk cId="2534359699" sldId="2147480182"/>
            <ac:spMk id="10" creationId="{905DDF63-B42E-85CA-74E3-15BC212933F4}"/>
          </ac:spMkLst>
        </pc:spChg>
        <pc:graphicFrameChg chg="add mod ord modVis replST">
          <ac:chgData name="Hugo Liabeuf" userId="a9defb0f-a7f4-478c-b61b-a76d3d661b31" providerId="ADAL" clId="{ABD2F74A-712B-4083-A42A-5FB1F7D04898}" dt="2024-06-04T13:44:31.088" v="358"/>
          <ac:graphicFrameMkLst>
            <pc:docMk/>
            <pc:sldMk cId="2534359699" sldId="2147480182"/>
            <ac:graphicFrameMk id="6" creationId="{17DFBD92-C15F-A738-EB8E-06AF0DC196B2}"/>
          </ac:graphicFrameMkLst>
        </pc:graphicFrameChg>
      </pc:sldChg>
      <pc:sldChg chg="addSp delSp modSp add mod">
        <pc:chgData name="Hugo Liabeuf" userId="a9defb0f-a7f4-478c-b61b-a76d3d661b31" providerId="ADAL" clId="{ABD2F74A-712B-4083-A42A-5FB1F7D04898}" dt="2024-06-04T14:55:55.358" v="3781"/>
        <pc:sldMkLst>
          <pc:docMk/>
          <pc:sldMk cId="2161803112" sldId="2147480183"/>
        </pc:sldMkLst>
        <pc:spChg chg="add del mod modVis">
          <ac:chgData name="Hugo Liabeuf" userId="a9defb0f-a7f4-478c-b61b-a76d3d661b31" providerId="ADAL" clId="{ABD2F74A-712B-4083-A42A-5FB1F7D04898}" dt="2024-06-04T14:51:14.389" v="3707"/>
          <ac:spMkLst>
            <pc:docMk/>
            <pc:sldMk cId="2161803112" sldId="2147480183"/>
            <ac:spMk id="2" creationId="{7FFA5DBD-8056-E6D7-91E6-B0A16AAE7886}"/>
          </ac:spMkLst>
        </pc:spChg>
        <pc:spChg chg="mod ord">
          <ac:chgData name="Hugo Liabeuf" userId="a9defb0f-a7f4-478c-b61b-a76d3d661b31" providerId="ADAL" clId="{ABD2F74A-712B-4083-A42A-5FB1F7D04898}" dt="2024-06-04T14:51:26.219" v="3752" actId="948"/>
          <ac:spMkLst>
            <pc:docMk/>
            <pc:sldMk cId="2161803112" sldId="2147480183"/>
            <ac:spMk id="4" creationId="{CB54FB0B-12A0-9E9D-D60F-08CC91B8C5FA}"/>
          </ac:spMkLst>
        </pc:spChg>
        <pc:spChg chg="mod ord">
          <ac:chgData name="Hugo Liabeuf" userId="a9defb0f-a7f4-478c-b61b-a76d3d661b31" providerId="ADAL" clId="{ABD2F74A-712B-4083-A42A-5FB1F7D04898}" dt="2024-06-04T14:51:14.389" v="3689"/>
          <ac:spMkLst>
            <pc:docMk/>
            <pc:sldMk cId="2161803112" sldId="2147480183"/>
            <ac:spMk id="5" creationId="{69FA8B19-9D43-CAC4-035A-B8722B9CF516}"/>
          </ac:spMkLst>
        </pc:spChg>
        <pc:spChg chg="mod ord">
          <ac:chgData name="Hugo Liabeuf" userId="a9defb0f-a7f4-478c-b61b-a76d3d661b31" providerId="ADAL" clId="{ABD2F74A-712B-4083-A42A-5FB1F7D04898}" dt="2024-06-04T14:51:14.353" v="3636"/>
          <ac:spMkLst>
            <pc:docMk/>
            <pc:sldMk cId="2161803112" sldId="2147480183"/>
            <ac:spMk id="11" creationId="{3969A1C5-9BCF-715B-65D5-86720F26DCF7}"/>
          </ac:spMkLst>
        </pc:spChg>
        <pc:spChg chg="mod ord">
          <ac:chgData name="Hugo Liabeuf" userId="a9defb0f-a7f4-478c-b61b-a76d3d661b31" providerId="ADAL" clId="{ABD2F74A-712B-4083-A42A-5FB1F7D04898}" dt="2024-06-04T14:51:14.353" v="3638"/>
          <ac:spMkLst>
            <pc:docMk/>
            <pc:sldMk cId="2161803112" sldId="2147480183"/>
            <ac:spMk id="12" creationId="{9D033BD1-3CE8-516C-CD8F-417D8A4882FB}"/>
          </ac:spMkLst>
        </pc:spChg>
        <pc:spChg chg="mod ord">
          <ac:chgData name="Hugo Liabeuf" userId="a9defb0f-a7f4-478c-b61b-a76d3d661b31" providerId="ADAL" clId="{ABD2F74A-712B-4083-A42A-5FB1F7D04898}" dt="2024-06-04T14:51:14.353" v="3640"/>
          <ac:spMkLst>
            <pc:docMk/>
            <pc:sldMk cId="2161803112" sldId="2147480183"/>
            <ac:spMk id="13" creationId="{3238039D-0217-4FE9-F681-9ECB6A11DFB0}"/>
          </ac:spMkLst>
        </pc:spChg>
        <pc:spChg chg="add del mod modVis">
          <ac:chgData name="Hugo Liabeuf" userId="a9defb0f-a7f4-478c-b61b-a76d3d661b31" providerId="ADAL" clId="{ABD2F74A-712B-4083-A42A-5FB1F7D04898}" dt="2024-06-04T14:51:24.791" v="3741"/>
          <ac:spMkLst>
            <pc:docMk/>
            <pc:sldMk cId="2161803112" sldId="2147480183"/>
            <ac:spMk id="15" creationId="{CD48FB3A-965B-D00B-3210-9890057FF6E2}"/>
          </ac:spMkLst>
        </pc:spChg>
        <pc:spChg chg="mod">
          <ac:chgData name="Hugo Liabeuf" userId="a9defb0f-a7f4-478c-b61b-a76d3d661b31" providerId="ADAL" clId="{ABD2F74A-712B-4083-A42A-5FB1F7D04898}" dt="2024-06-04T14:51:14.353" v="3625"/>
          <ac:spMkLst>
            <pc:docMk/>
            <pc:sldMk cId="2161803112" sldId="2147480183"/>
            <ac:spMk id="16" creationId="{478298D9-DA9E-7303-EDD2-E7A22E745792}"/>
          </ac:spMkLst>
        </pc:spChg>
        <pc:spChg chg="add del mod modVis">
          <ac:chgData name="Hugo Liabeuf" userId="a9defb0f-a7f4-478c-b61b-a76d3d661b31" providerId="ADAL" clId="{ABD2F74A-712B-4083-A42A-5FB1F7D04898}" dt="2024-06-04T14:51:26.270" v="3776"/>
          <ac:spMkLst>
            <pc:docMk/>
            <pc:sldMk cId="2161803112" sldId="2147480183"/>
            <ac:spMk id="17" creationId="{D1D3AC7E-5751-A7B7-B33A-24E5BF20232C}"/>
          </ac:spMkLst>
        </pc:spChg>
        <pc:spChg chg="mod">
          <ac:chgData name="Hugo Liabeuf" userId="a9defb0f-a7f4-478c-b61b-a76d3d661b31" providerId="ADAL" clId="{ABD2F74A-712B-4083-A42A-5FB1F7D04898}" dt="2024-06-04T14:51:14.353" v="3630"/>
          <ac:spMkLst>
            <pc:docMk/>
            <pc:sldMk cId="2161803112" sldId="2147480183"/>
            <ac:spMk id="19" creationId="{A2672111-4F9D-2148-1EE8-43C5F655E12A}"/>
          </ac:spMkLst>
        </pc:spChg>
        <pc:spChg chg="mod">
          <ac:chgData name="Hugo Liabeuf" userId="a9defb0f-a7f4-478c-b61b-a76d3d661b31" providerId="ADAL" clId="{ABD2F74A-712B-4083-A42A-5FB1F7D04898}" dt="2024-06-04T14:55:55.358" v="3781"/>
          <ac:spMkLst>
            <pc:docMk/>
            <pc:sldMk cId="2161803112" sldId="2147480183"/>
            <ac:spMk id="20" creationId="{518A0BA1-8D14-829C-8A5D-0D011F2922E4}"/>
          </ac:spMkLst>
        </pc:spChg>
        <pc:spChg chg="mod">
          <ac:chgData name="Hugo Liabeuf" userId="a9defb0f-a7f4-478c-b61b-a76d3d661b31" providerId="ADAL" clId="{ABD2F74A-712B-4083-A42A-5FB1F7D04898}" dt="2024-06-04T14:51:26.218" v="3747"/>
          <ac:spMkLst>
            <pc:docMk/>
            <pc:sldMk cId="2161803112" sldId="2147480183"/>
            <ac:spMk id="23" creationId="{BA5AAB4D-DCD9-BB8A-4697-53C609D9D846}"/>
          </ac:spMkLst>
        </pc:spChg>
        <pc:spChg chg="del mod ord">
          <ac:chgData name="Hugo Liabeuf" userId="a9defb0f-a7f4-478c-b61b-a76d3d661b31" providerId="ADAL" clId="{ABD2F74A-712B-4083-A42A-5FB1F7D04898}" dt="2024-06-04T14:55:02.223" v="3779" actId="478"/>
          <ac:spMkLst>
            <pc:docMk/>
            <pc:sldMk cId="2161803112" sldId="2147480183"/>
            <ac:spMk id="24" creationId="{5FAC70D3-F738-E3F4-A698-D6C5007BBC27}"/>
          </ac:spMkLst>
        </pc:spChg>
        <pc:spChg chg="mod ord">
          <ac:chgData name="Hugo Liabeuf" userId="a9defb0f-a7f4-478c-b61b-a76d3d661b31" providerId="ADAL" clId="{ABD2F74A-712B-4083-A42A-5FB1F7D04898}" dt="2024-06-04T14:51:14.353" v="3644"/>
          <ac:spMkLst>
            <pc:docMk/>
            <pc:sldMk cId="2161803112" sldId="2147480183"/>
            <ac:spMk id="27" creationId="{1D8B3A79-3C65-95FD-CDF5-091C72EADC19}"/>
          </ac:spMkLst>
        </pc:spChg>
        <pc:spChg chg="mod">
          <ac:chgData name="Hugo Liabeuf" userId="a9defb0f-a7f4-478c-b61b-a76d3d661b31" providerId="ADAL" clId="{ABD2F74A-712B-4083-A42A-5FB1F7D04898}" dt="2024-06-04T14:51:14.353" v="3626"/>
          <ac:spMkLst>
            <pc:docMk/>
            <pc:sldMk cId="2161803112" sldId="2147480183"/>
            <ac:spMk id="28" creationId="{F37E5194-AB89-E202-CF0B-54FC15D5F3C3}"/>
          </ac:spMkLst>
        </pc:spChg>
        <pc:spChg chg="mod">
          <ac:chgData name="Hugo Liabeuf" userId="a9defb0f-a7f4-478c-b61b-a76d3d661b31" providerId="ADAL" clId="{ABD2F74A-712B-4083-A42A-5FB1F7D04898}" dt="2024-06-04T14:55:55.358" v="3781"/>
          <ac:spMkLst>
            <pc:docMk/>
            <pc:sldMk cId="2161803112" sldId="2147480183"/>
            <ac:spMk id="30" creationId="{88E515B3-40BA-E6AB-D836-2E99B56E5F8F}"/>
          </ac:spMkLst>
        </pc:spChg>
        <pc:spChg chg="mod">
          <ac:chgData name="Hugo Liabeuf" userId="a9defb0f-a7f4-478c-b61b-a76d3d661b31" providerId="ADAL" clId="{ABD2F74A-712B-4083-A42A-5FB1F7D04898}" dt="2024-06-04T14:51:14.353" v="3627"/>
          <ac:spMkLst>
            <pc:docMk/>
            <pc:sldMk cId="2161803112" sldId="2147480183"/>
            <ac:spMk id="33" creationId="{2A5C0E0E-DA07-D5A9-1D3A-6EBCE866F499}"/>
          </ac:spMkLst>
        </pc:spChg>
        <pc:spChg chg="mod">
          <ac:chgData name="Hugo Liabeuf" userId="a9defb0f-a7f4-478c-b61b-a76d3d661b31" providerId="ADAL" clId="{ABD2F74A-712B-4083-A42A-5FB1F7D04898}" dt="2024-06-04T14:55:55.358" v="3781"/>
          <ac:spMkLst>
            <pc:docMk/>
            <pc:sldMk cId="2161803112" sldId="2147480183"/>
            <ac:spMk id="35" creationId="{3BB4EE2E-7AF5-B29C-CBD6-266B0679166B}"/>
          </ac:spMkLst>
        </pc:spChg>
        <pc:spChg chg="mod">
          <ac:chgData name="Hugo Liabeuf" userId="a9defb0f-a7f4-478c-b61b-a76d3d661b31" providerId="ADAL" clId="{ABD2F74A-712B-4083-A42A-5FB1F7D04898}" dt="2024-06-04T14:55:55.358" v="3781"/>
          <ac:spMkLst>
            <pc:docMk/>
            <pc:sldMk cId="2161803112" sldId="2147480183"/>
            <ac:spMk id="37" creationId="{A92DD7ED-31AE-8AC8-8D5A-70A3B00A9D46}"/>
          </ac:spMkLst>
        </pc:spChg>
        <pc:spChg chg="mod ord">
          <ac:chgData name="Hugo Liabeuf" userId="a9defb0f-a7f4-478c-b61b-a76d3d661b31" providerId="ADAL" clId="{ABD2F74A-712B-4083-A42A-5FB1F7D04898}" dt="2024-06-04T14:51:14.371" v="3681"/>
          <ac:spMkLst>
            <pc:docMk/>
            <pc:sldMk cId="2161803112" sldId="2147480183"/>
            <ac:spMk id="40" creationId="{0E4A3A87-9E95-E136-7C68-F16CE107F14C}"/>
          </ac:spMkLst>
        </pc:spChg>
        <pc:spChg chg="mod">
          <ac:chgData name="Hugo Liabeuf" userId="a9defb0f-a7f4-478c-b61b-a76d3d661b31" providerId="ADAL" clId="{ABD2F74A-712B-4083-A42A-5FB1F7D04898}" dt="2024-06-04T14:55:55.358" v="3781"/>
          <ac:spMkLst>
            <pc:docMk/>
            <pc:sldMk cId="2161803112" sldId="2147480183"/>
            <ac:spMk id="50" creationId="{A98A9046-7A02-047F-CC87-9270DDC915D3}"/>
          </ac:spMkLst>
        </pc:spChg>
        <pc:spChg chg="mod">
          <ac:chgData name="Hugo Liabeuf" userId="a9defb0f-a7f4-478c-b61b-a76d3d661b31" providerId="ADAL" clId="{ABD2F74A-712B-4083-A42A-5FB1F7D04898}" dt="2024-06-04T14:51:14.353" v="3656"/>
          <ac:spMkLst>
            <pc:docMk/>
            <pc:sldMk cId="2161803112" sldId="2147480183"/>
            <ac:spMk id="96" creationId="{B926D567-524F-4499-A030-E098F89DCD34}"/>
          </ac:spMkLst>
        </pc:spChg>
        <pc:spChg chg="mod">
          <ac:chgData name="Hugo Liabeuf" userId="a9defb0f-a7f4-478c-b61b-a76d3d661b31" providerId="ADAL" clId="{ABD2F74A-712B-4083-A42A-5FB1F7D04898}" dt="2024-06-04T14:51:14.371" v="3671"/>
          <ac:spMkLst>
            <pc:docMk/>
            <pc:sldMk cId="2161803112" sldId="2147480183"/>
            <ac:spMk id="97" creationId="{300F227C-30AD-960D-93D8-7DD0837714C5}"/>
          </ac:spMkLst>
        </pc:spChg>
        <pc:spChg chg="mod">
          <ac:chgData name="Hugo Liabeuf" userId="a9defb0f-a7f4-478c-b61b-a76d3d661b31" providerId="ADAL" clId="{ABD2F74A-712B-4083-A42A-5FB1F7D04898}" dt="2024-06-04T14:51:14.353" v="3657"/>
          <ac:spMkLst>
            <pc:docMk/>
            <pc:sldMk cId="2161803112" sldId="2147480183"/>
            <ac:spMk id="102" creationId="{B926D567-524F-4499-A030-E098F89DCD34}"/>
          </ac:spMkLst>
        </pc:spChg>
        <pc:spChg chg="mod ord">
          <ac:chgData name="Hugo Liabeuf" userId="a9defb0f-a7f4-478c-b61b-a76d3d661b31" providerId="ADAL" clId="{ABD2F74A-712B-4083-A42A-5FB1F7D04898}" dt="2024-06-04T14:51:14.389" v="3699"/>
          <ac:spMkLst>
            <pc:docMk/>
            <pc:sldMk cId="2161803112" sldId="2147480183"/>
            <ac:spMk id="123" creationId="{6F735148-E804-5428-B94D-287BCD9E9C63}"/>
          </ac:spMkLst>
        </pc:spChg>
        <pc:spChg chg="mod ord">
          <ac:chgData name="Hugo Liabeuf" userId="a9defb0f-a7f4-478c-b61b-a76d3d661b31" providerId="ADAL" clId="{ABD2F74A-712B-4083-A42A-5FB1F7D04898}" dt="2024-06-04T14:51:14.389" v="3701"/>
          <ac:spMkLst>
            <pc:docMk/>
            <pc:sldMk cId="2161803112" sldId="2147480183"/>
            <ac:spMk id="124" creationId="{C4A0E6F4-670B-413B-DA75-1DC7DF0BEACA}"/>
          </ac:spMkLst>
        </pc:spChg>
        <pc:spChg chg="mod ord">
          <ac:chgData name="Hugo Liabeuf" userId="a9defb0f-a7f4-478c-b61b-a76d3d661b31" providerId="ADAL" clId="{ABD2F74A-712B-4083-A42A-5FB1F7D04898}" dt="2024-06-04T14:51:14.389" v="3703"/>
          <ac:spMkLst>
            <pc:docMk/>
            <pc:sldMk cId="2161803112" sldId="2147480183"/>
            <ac:spMk id="132" creationId="{BF138C2E-AA15-2756-38D0-D7D20C892043}"/>
          </ac:spMkLst>
        </pc:spChg>
        <pc:spChg chg="mod">
          <ac:chgData name="Hugo Liabeuf" userId="a9defb0f-a7f4-478c-b61b-a76d3d661b31" providerId="ADAL" clId="{ABD2F74A-712B-4083-A42A-5FB1F7D04898}" dt="2024-06-04T14:51:14.353" v="3628"/>
          <ac:spMkLst>
            <pc:docMk/>
            <pc:sldMk cId="2161803112" sldId="2147480183"/>
            <ac:spMk id="184" creationId="{5BB65253-048D-F75C-5A36-D49B17556213}"/>
          </ac:spMkLst>
        </pc:spChg>
        <pc:spChg chg="mod">
          <ac:chgData name="Hugo Liabeuf" userId="a9defb0f-a7f4-478c-b61b-a76d3d661b31" providerId="ADAL" clId="{ABD2F74A-712B-4083-A42A-5FB1F7D04898}" dt="2024-06-04T14:51:14.353" v="3629"/>
          <ac:spMkLst>
            <pc:docMk/>
            <pc:sldMk cId="2161803112" sldId="2147480183"/>
            <ac:spMk id="189" creationId="{066D6D9B-63F3-8E3E-E877-676A6E5E59DD}"/>
          </ac:spMkLst>
        </pc:spChg>
        <pc:spChg chg="mod">
          <ac:chgData name="Hugo Liabeuf" userId="a9defb0f-a7f4-478c-b61b-a76d3d661b31" providerId="ADAL" clId="{ABD2F74A-712B-4083-A42A-5FB1F7D04898}" dt="2024-06-04T14:51:26.216" v="3746"/>
          <ac:spMkLst>
            <pc:docMk/>
            <pc:sldMk cId="2161803112" sldId="2147480183"/>
            <ac:spMk id="221" creationId="{77261BFF-65F5-145D-29C2-B35E572A7E4D}"/>
          </ac:spMkLst>
        </pc:spChg>
        <pc:spChg chg="mod ord">
          <ac:chgData name="Hugo Liabeuf" userId="a9defb0f-a7f4-478c-b61b-a76d3d661b31" providerId="ADAL" clId="{ABD2F74A-712B-4083-A42A-5FB1F7D04898}" dt="2024-06-04T14:51:14.353" v="3642"/>
          <ac:spMkLst>
            <pc:docMk/>
            <pc:sldMk cId="2161803112" sldId="2147480183"/>
            <ac:spMk id="225" creationId="{04FDF4AF-E499-A36C-5C08-A879DDB3D0C5}"/>
          </ac:spMkLst>
        </pc:spChg>
        <pc:spChg chg="mod">
          <ac:chgData name="Hugo Liabeuf" userId="a9defb0f-a7f4-478c-b61b-a76d3d661b31" providerId="ADAL" clId="{ABD2F74A-712B-4083-A42A-5FB1F7D04898}" dt="2024-06-04T14:51:14.353" v="3624"/>
          <ac:spMkLst>
            <pc:docMk/>
            <pc:sldMk cId="2161803112" sldId="2147480183"/>
            <ac:spMk id="239" creationId="{56342B6E-34C8-DC50-3618-E2E0A9564A49}"/>
          </ac:spMkLst>
        </pc:spChg>
        <pc:spChg chg="mod">
          <ac:chgData name="Hugo Liabeuf" userId="a9defb0f-a7f4-478c-b61b-a76d3d661b31" providerId="ADAL" clId="{ABD2F74A-712B-4083-A42A-5FB1F7D04898}" dt="2024-06-04T14:51:14.353" v="3650"/>
          <ac:spMkLst>
            <pc:docMk/>
            <pc:sldMk cId="2161803112" sldId="2147480183"/>
            <ac:spMk id="265" creationId="{EE220E4D-21C9-BEA5-A5A4-DCAD32C0254B}"/>
          </ac:spMkLst>
        </pc:spChg>
        <pc:spChg chg="mod">
          <ac:chgData name="Hugo Liabeuf" userId="a9defb0f-a7f4-478c-b61b-a76d3d661b31" providerId="ADAL" clId="{ABD2F74A-712B-4083-A42A-5FB1F7D04898}" dt="2024-06-04T14:51:14.353" v="3651"/>
          <ac:spMkLst>
            <pc:docMk/>
            <pc:sldMk cId="2161803112" sldId="2147480183"/>
            <ac:spMk id="266" creationId="{A8C2BDCE-5AC2-F51A-95A5-E3A746543A43}"/>
          </ac:spMkLst>
        </pc:spChg>
        <pc:spChg chg="mod">
          <ac:chgData name="Hugo Liabeuf" userId="a9defb0f-a7f4-478c-b61b-a76d3d661b31" providerId="ADAL" clId="{ABD2F74A-712B-4083-A42A-5FB1F7D04898}" dt="2024-06-04T14:51:14.353" v="3652"/>
          <ac:spMkLst>
            <pc:docMk/>
            <pc:sldMk cId="2161803112" sldId="2147480183"/>
            <ac:spMk id="267" creationId="{5C746E42-6C88-91D6-BFDF-38B8D3294FBE}"/>
          </ac:spMkLst>
        </pc:spChg>
        <pc:spChg chg="mod">
          <ac:chgData name="Hugo Liabeuf" userId="a9defb0f-a7f4-478c-b61b-a76d3d661b31" providerId="ADAL" clId="{ABD2F74A-712B-4083-A42A-5FB1F7D04898}" dt="2024-06-04T14:51:14.353" v="3653"/>
          <ac:spMkLst>
            <pc:docMk/>
            <pc:sldMk cId="2161803112" sldId="2147480183"/>
            <ac:spMk id="269" creationId="{71AF70BB-0CE4-EBD9-3A53-CA07D819467A}"/>
          </ac:spMkLst>
        </pc:spChg>
        <pc:spChg chg="mod">
          <ac:chgData name="Hugo Liabeuf" userId="a9defb0f-a7f4-478c-b61b-a76d3d661b31" providerId="ADAL" clId="{ABD2F74A-712B-4083-A42A-5FB1F7D04898}" dt="2024-06-04T14:51:14.353" v="3654"/>
          <ac:spMkLst>
            <pc:docMk/>
            <pc:sldMk cId="2161803112" sldId="2147480183"/>
            <ac:spMk id="270" creationId="{8E2E2515-8912-E50E-5E9B-6569AF3F471E}"/>
          </ac:spMkLst>
        </pc:spChg>
        <pc:spChg chg="mod">
          <ac:chgData name="Hugo Liabeuf" userId="a9defb0f-a7f4-478c-b61b-a76d3d661b31" providerId="ADAL" clId="{ABD2F74A-712B-4083-A42A-5FB1F7D04898}" dt="2024-06-04T14:51:14.353" v="3649"/>
          <ac:spMkLst>
            <pc:docMk/>
            <pc:sldMk cId="2161803112" sldId="2147480183"/>
            <ac:spMk id="272" creationId="{748FE3AA-497A-4E62-77E6-E2563BCB670F}"/>
          </ac:spMkLst>
        </pc:spChg>
        <pc:spChg chg="mod">
          <ac:chgData name="Hugo Liabeuf" userId="a9defb0f-a7f4-478c-b61b-a76d3d661b31" providerId="ADAL" clId="{ABD2F74A-712B-4083-A42A-5FB1F7D04898}" dt="2024-06-04T14:51:14.371" v="3658"/>
          <ac:spMkLst>
            <pc:docMk/>
            <pc:sldMk cId="2161803112" sldId="2147480183"/>
            <ac:spMk id="273" creationId="{52682895-5D9B-7DA9-831A-4960809535A7}"/>
          </ac:spMkLst>
        </pc:spChg>
        <pc:spChg chg="mod ord">
          <ac:chgData name="Hugo Liabeuf" userId="a9defb0f-a7f4-478c-b61b-a76d3d661b31" providerId="ADAL" clId="{ABD2F74A-712B-4083-A42A-5FB1F7D04898}" dt="2024-06-04T14:51:14.371" v="3660"/>
          <ac:spMkLst>
            <pc:docMk/>
            <pc:sldMk cId="2161803112" sldId="2147480183"/>
            <ac:spMk id="274" creationId="{5CFF4160-06DA-554B-CF67-165A753FA3FD}"/>
          </ac:spMkLst>
        </pc:spChg>
        <pc:spChg chg="mod">
          <ac:chgData name="Hugo Liabeuf" userId="a9defb0f-a7f4-478c-b61b-a76d3d661b31" providerId="ADAL" clId="{ABD2F74A-712B-4083-A42A-5FB1F7D04898}" dt="2024-06-04T14:51:26.219" v="3748"/>
          <ac:spMkLst>
            <pc:docMk/>
            <pc:sldMk cId="2161803112" sldId="2147480183"/>
            <ac:spMk id="275" creationId="{833D60A2-FFF2-515A-0DFC-70CD6933FE16}"/>
          </ac:spMkLst>
        </pc:spChg>
        <pc:spChg chg="mod">
          <ac:chgData name="Hugo Liabeuf" userId="a9defb0f-a7f4-478c-b61b-a76d3d661b31" providerId="ADAL" clId="{ABD2F74A-712B-4083-A42A-5FB1F7D04898}" dt="2024-06-04T14:51:26.219" v="3749"/>
          <ac:spMkLst>
            <pc:docMk/>
            <pc:sldMk cId="2161803112" sldId="2147480183"/>
            <ac:spMk id="276" creationId="{0BD729D5-25FA-72F1-B8D8-68D37CD93727}"/>
          </ac:spMkLst>
        </pc:spChg>
        <pc:spChg chg="mod ord">
          <ac:chgData name="Hugo Liabeuf" userId="a9defb0f-a7f4-478c-b61b-a76d3d661b31" providerId="ADAL" clId="{ABD2F74A-712B-4083-A42A-5FB1F7D04898}" dt="2024-06-04T14:51:14.389" v="3693"/>
          <ac:spMkLst>
            <pc:docMk/>
            <pc:sldMk cId="2161803112" sldId="2147480183"/>
            <ac:spMk id="315" creationId="{8EC44FFE-9AA0-979B-7E92-4558B04923E5}"/>
          </ac:spMkLst>
        </pc:spChg>
        <pc:spChg chg="mod">
          <ac:chgData name="Hugo Liabeuf" userId="a9defb0f-a7f4-478c-b61b-a76d3d661b31" providerId="ADAL" clId="{ABD2F74A-712B-4083-A42A-5FB1F7D04898}" dt="2024-06-04T14:51:14.371" v="3665"/>
          <ac:spMkLst>
            <pc:docMk/>
            <pc:sldMk cId="2161803112" sldId="2147480183"/>
            <ac:spMk id="379" creationId="{31F14B77-EE38-17B5-2F39-C8BE568BFC2C}"/>
          </ac:spMkLst>
        </pc:spChg>
        <pc:spChg chg="mod">
          <ac:chgData name="Hugo Liabeuf" userId="a9defb0f-a7f4-478c-b61b-a76d3d661b31" providerId="ADAL" clId="{ABD2F74A-712B-4083-A42A-5FB1F7D04898}" dt="2024-06-04T14:51:14.371" v="3666"/>
          <ac:spMkLst>
            <pc:docMk/>
            <pc:sldMk cId="2161803112" sldId="2147480183"/>
            <ac:spMk id="380" creationId="{0725A472-8920-4996-660F-9B9027088751}"/>
          </ac:spMkLst>
        </pc:spChg>
        <pc:spChg chg="mod">
          <ac:chgData name="Hugo Liabeuf" userId="a9defb0f-a7f4-478c-b61b-a76d3d661b31" providerId="ADAL" clId="{ABD2F74A-712B-4083-A42A-5FB1F7D04898}" dt="2024-06-04T14:51:14.371" v="3667"/>
          <ac:spMkLst>
            <pc:docMk/>
            <pc:sldMk cId="2161803112" sldId="2147480183"/>
            <ac:spMk id="381" creationId="{D2282A4F-2F38-AFDA-1D71-5C7FEE7538DE}"/>
          </ac:spMkLst>
        </pc:spChg>
        <pc:spChg chg="mod">
          <ac:chgData name="Hugo Liabeuf" userId="a9defb0f-a7f4-478c-b61b-a76d3d661b31" providerId="ADAL" clId="{ABD2F74A-712B-4083-A42A-5FB1F7D04898}" dt="2024-06-04T14:51:14.371" v="3668"/>
          <ac:spMkLst>
            <pc:docMk/>
            <pc:sldMk cId="2161803112" sldId="2147480183"/>
            <ac:spMk id="382" creationId="{57614A0C-7EEC-DB1E-A84C-DD19782C8EC2}"/>
          </ac:spMkLst>
        </pc:spChg>
        <pc:spChg chg="mod">
          <ac:chgData name="Hugo Liabeuf" userId="a9defb0f-a7f4-478c-b61b-a76d3d661b31" providerId="ADAL" clId="{ABD2F74A-712B-4083-A42A-5FB1F7D04898}" dt="2024-06-04T14:51:14.371" v="3669"/>
          <ac:spMkLst>
            <pc:docMk/>
            <pc:sldMk cId="2161803112" sldId="2147480183"/>
            <ac:spMk id="383" creationId="{FF7725E9-704E-8B3D-2885-815CDBA9D434}"/>
          </ac:spMkLst>
        </pc:spChg>
        <pc:spChg chg="mod">
          <ac:chgData name="Hugo Liabeuf" userId="a9defb0f-a7f4-478c-b61b-a76d3d661b31" providerId="ADAL" clId="{ABD2F74A-712B-4083-A42A-5FB1F7D04898}" dt="2024-06-04T14:51:14.371" v="3670"/>
          <ac:spMkLst>
            <pc:docMk/>
            <pc:sldMk cId="2161803112" sldId="2147480183"/>
            <ac:spMk id="384" creationId="{A7B346BC-46B7-B515-68A2-81D70F50072B}"/>
          </ac:spMkLst>
        </pc:spChg>
        <pc:spChg chg="mod ord">
          <ac:chgData name="Hugo Liabeuf" userId="a9defb0f-a7f4-478c-b61b-a76d3d661b31" providerId="ADAL" clId="{ABD2F74A-712B-4083-A42A-5FB1F7D04898}" dt="2024-06-04T14:51:14.389" v="3687"/>
          <ac:spMkLst>
            <pc:docMk/>
            <pc:sldMk cId="2161803112" sldId="2147480183"/>
            <ac:spMk id="450" creationId="{D4C6265D-836A-2F19-B844-797520A0143E}"/>
          </ac:spMkLst>
        </pc:spChg>
        <pc:spChg chg="mod">
          <ac:chgData name="Hugo Liabeuf" userId="a9defb0f-a7f4-478c-b61b-a76d3d661b31" providerId="ADAL" clId="{ABD2F74A-712B-4083-A42A-5FB1F7D04898}" dt="2024-06-04T14:51:26.219" v="3750"/>
          <ac:spMkLst>
            <pc:docMk/>
            <pc:sldMk cId="2161803112" sldId="2147480183"/>
            <ac:spMk id="470" creationId="{8625BF2A-F0A4-5AE6-60D2-B8C89C98BFDC}"/>
          </ac:spMkLst>
        </pc:spChg>
        <pc:spChg chg="mod">
          <ac:chgData name="Hugo Liabeuf" userId="a9defb0f-a7f4-478c-b61b-a76d3d661b31" providerId="ADAL" clId="{ABD2F74A-712B-4083-A42A-5FB1F7D04898}" dt="2024-06-04T14:51:14.353" v="3655"/>
          <ac:spMkLst>
            <pc:docMk/>
            <pc:sldMk cId="2161803112" sldId="2147480183"/>
            <ac:spMk id="471" creationId="{C4335306-0097-15C9-F6EA-6AADAACE8AE0}"/>
          </ac:spMkLst>
        </pc:spChg>
        <pc:spChg chg="mod">
          <ac:chgData name="Hugo Liabeuf" userId="a9defb0f-a7f4-478c-b61b-a76d3d661b31" providerId="ADAL" clId="{ABD2F74A-712B-4083-A42A-5FB1F7D04898}" dt="2024-06-04T14:51:26.219" v="3751"/>
          <ac:spMkLst>
            <pc:docMk/>
            <pc:sldMk cId="2161803112" sldId="2147480183"/>
            <ac:spMk id="472" creationId="{144CD912-80A7-F15C-9EF7-CC95AC501A45}"/>
          </ac:spMkLst>
        </pc:spChg>
        <pc:spChg chg="mod ord">
          <ac:chgData name="Hugo Liabeuf" userId="a9defb0f-a7f4-478c-b61b-a76d3d661b31" providerId="ADAL" clId="{ABD2F74A-712B-4083-A42A-5FB1F7D04898}" dt="2024-06-04T14:51:14.371" v="3673"/>
          <ac:spMkLst>
            <pc:docMk/>
            <pc:sldMk cId="2161803112" sldId="2147480183"/>
            <ac:spMk id="474" creationId="{2FF8F943-DE49-C257-3401-1714B58A21F7}"/>
          </ac:spMkLst>
        </pc:spChg>
        <pc:spChg chg="mod ord">
          <ac:chgData name="Hugo Liabeuf" userId="a9defb0f-a7f4-478c-b61b-a76d3d661b31" providerId="ADAL" clId="{ABD2F74A-712B-4083-A42A-5FB1F7D04898}" dt="2024-06-04T14:51:14.371" v="3675"/>
          <ac:spMkLst>
            <pc:docMk/>
            <pc:sldMk cId="2161803112" sldId="2147480183"/>
            <ac:spMk id="475" creationId="{9997517E-9B3C-C392-B4F6-4DF6DBB80F8F}"/>
          </ac:spMkLst>
        </pc:spChg>
        <pc:spChg chg="mod">
          <ac:chgData name="Hugo Liabeuf" userId="a9defb0f-a7f4-478c-b61b-a76d3d661b31" providerId="ADAL" clId="{ABD2F74A-712B-4083-A42A-5FB1F7D04898}" dt="2024-06-04T14:51:14.353" v="3631"/>
          <ac:spMkLst>
            <pc:docMk/>
            <pc:sldMk cId="2161803112" sldId="2147480183"/>
            <ac:spMk id="485" creationId="{B926D567-524F-4499-A030-E098F89DCD34}"/>
          </ac:spMkLst>
        </pc:spChg>
        <pc:spChg chg="mod">
          <ac:chgData name="Hugo Liabeuf" userId="a9defb0f-a7f4-478c-b61b-a76d3d661b31" providerId="ADAL" clId="{ABD2F74A-712B-4083-A42A-5FB1F7D04898}" dt="2024-06-04T14:51:14.353" v="3632"/>
          <ac:spMkLst>
            <pc:docMk/>
            <pc:sldMk cId="2161803112" sldId="2147480183"/>
            <ac:spMk id="494" creationId="{B926D567-524F-4499-A030-E098F89DCD34}"/>
          </ac:spMkLst>
        </pc:spChg>
        <pc:grpChg chg="mod ord">
          <ac:chgData name="Hugo Liabeuf" userId="a9defb0f-a7f4-478c-b61b-a76d3d661b31" providerId="ADAL" clId="{ABD2F74A-712B-4083-A42A-5FB1F7D04898}" dt="2024-06-04T14:51:14.353" v="3634"/>
          <ac:grpSpMkLst>
            <pc:docMk/>
            <pc:sldMk cId="2161803112" sldId="2147480183"/>
            <ac:grpSpMk id="8" creationId="{C055A065-B97E-7CB0-8689-43C0C5CA0A9A}"/>
          </ac:grpSpMkLst>
        </pc:grpChg>
        <pc:grpChg chg="add mod">
          <ac:chgData name="Hugo Liabeuf" userId="a9defb0f-a7f4-478c-b61b-a76d3d661b31" providerId="ADAL" clId="{ABD2F74A-712B-4083-A42A-5FB1F7D04898}" dt="2024-06-04T14:55:55.358" v="3781"/>
          <ac:grpSpMkLst>
            <pc:docMk/>
            <pc:sldMk cId="2161803112" sldId="2147480183"/>
            <ac:grpSpMk id="18" creationId="{09ACB30C-B4FD-F3C8-74D7-3141ADDCFE9B}"/>
          </ac:grpSpMkLst>
        </pc:grpChg>
        <pc:grpChg chg="mod">
          <ac:chgData name="Hugo Liabeuf" userId="a9defb0f-a7f4-478c-b61b-a76d3d661b31" providerId="ADAL" clId="{ABD2F74A-712B-4083-A42A-5FB1F7D04898}" dt="2024-06-04T14:55:55.358" v="3781"/>
          <ac:grpSpMkLst>
            <pc:docMk/>
            <pc:sldMk cId="2161803112" sldId="2147480183"/>
            <ac:grpSpMk id="21" creationId="{84197EA4-782A-3677-8ED4-566A3D703BBA}"/>
          </ac:grpSpMkLst>
        </pc:grpChg>
        <pc:grpChg chg="mod">
          <ac:chgData name="Hugo Liabeuf" userId="a9defb0f-a7f4-478c-b61b-a76d3d661b31" providerId="ADAL" clId="{ABD2F74A-712B-4083-A42A-5FB1F7D04898}" dt="2024-06-04T14:55:55.358" v="3781"/>
          <ac:grpSpMkLst>
            <pc:docMk/>
            <pc:sldMk cId="2161803112" sldId="2147480183"/>
            <ac:grpSpMk id="22" creationId="{EF6CC9B8-96FB-959C-5A67-4B3FECFD91DE}"/>
          </ac:grpSpMkLst>
        </pc:grpChg>
        <pc:grpChg chg="mod">
          <ac:chgData name="Hugo Liabeuf" userId="a9defb0f-a7f4-478c-b61b-a76d3d661b31" providerId="ADAL" clId="{ABD2F74A-712B-4083-A42A-5FB1F7D04898}" dt="2024-06-04T14:55:55.358" v="3781"/>
          <ac:grpSpMkLst>
            <pc:docMk/>
            <pc:sldMk cId="2161803112" sldId="2147480183"/>
            <ac:grpSpMk id="25" creationId="{B77022D6-39E1-10F7-486E-A2A129A54A86}"/>
          </ac:grpSpMkLst>
        </pc:grpChg>
        <pc:grpChg chg="mod">
          <ac:chgData name="Hugo Liabeuf" userId="a9defb0f-a7f4-478c-b61b-a76d3d661b31" providerId="ADAL" clId="{ABD2F74A-712B-4083-A42A-5FB1F7D04898}" dt="2024-06-04T14:55:55.358" v="3781"/>
          <ac:grpSpMkLst>
            <pc:docMk/>
            <pc:sldMk cId="2161803112" sldId="2147480183"/>
            <ac:grpSpMk id="26" creationId="{462B1528-2961-C1BE-5547-E7FEC12401FB}"/>
          </ac:grpSpMkLst>
        </pc:grpChg>
        <pc:graphicFrameChg chg="add mod ord replST">
          <ac:chgData name="Hugo Liabeuf" userId="a9defb0f-a7f4-478c-b61b-a76d3d661b31" providerId="ADAL" clId="{ABD2F74A-712B-4083-A42A-5FB1F7D04898}" dt="2024-06-04T14:51:14.352" v="3623"/>
          <ac:graphicFrameMkLst>
            <pc:docMk/>
            <pc:sldMk cId="2161803112" sldId="2147480183"/>
            <ac:graphicFrameMk id="3" creationId="{E6CAB987-7861-4A7C-FAC5-978FEEC3E87B}"/>
          </ac:graphicFrameMkLst>
        </pc:graphicFrameChg>
        <pc:graphicFrameChg chg="mod">
          <ac:chgData name="Hugo Liabeuf" userId="a9defb0f-a7f4-478c-b61b-a76d3d661b31" providerId="ADAL" clId="{ABD2F74A-712B-4083-A42A-5FB1F7D04898}" dt="2024-06-04T14:51:26.298" v="3778"/>
          <ac:graphicFrameMkLst>
            <pc:docMk/>
            <pc:sldMk cId="2161803112" sldId="2147480183"/>
            <ac:graphicFrameMk id="6" creationId="{DD57D2C5-0EA6-05A6-B018-0F58B0A10A20}"/>
          </ac:graphicFrameMkLst>
        </pc:graphicFrameChg>
        <pc:graphicFrameChg chg="add mod ord replST">
          <ac:chgData name="Hugo Liabeuf" userId="a9defb0f-a7f4-478c-b61b-a76d3d661b31" providerId="ADAL" clId="{ABD2F74A-712B-4083-A42A-5FB1F7D04898}" dt="2024-06-04T14:51:14.353" v="3648"/>
          <ac:graphicFrameMkLst>
            <pc:docMk/>
            <pc:sldMk cId="2161803112" sldId="2147480183"/>
            <ac:graphicFrameMk id="7" creationId="{A9FFAF75-23A3-C6C8-6D69-B1A2BFCCAC52}"/>
          </ac:graphicFrameMkLst>
        </pc:graphicFrameChg>
        <pc:graphicFrameChg chg="add mod ord replST">
          <ac:chgData name="Hugo Liabeuf" userId="a9defb0f-a7f4-478c-b61b-a76d3d661b31" providerId="ADAL" clId="{ABD2F74A-712B-4083-A42A-5FB1F7D04898}" dt="2024-06-04T14:51:14.371" v="3664"/>
          <ac:graphicFrameMkLst>
            <pc:docMk/>
            <pc:sldMk cId="2161803112" sldId="2147480183"/>
            <ac:graphicFrameMk id="14" creationId="{BEDF593E-D0DC-895E-84FA-6E65298EF26A}"/>
          </ac:graphicFrameMkLst>
        </pc:graphicFrameChg>
        <pc:graphicFrameChg chg="del">
          <ac:chgData name="Hugo Liabeuf" userId="a9defb0f-a7f4-478c-b61b-a76d3d661b31" providerId="ADAL" clId="{ABD2F74A-712B-4083-A42A-5FB1F7D04898}" dt="2024-06-04T14:51:13.926" v="3497"/>
          <ac:graphicFrameMkLst>
            <pc:docMk/>
            <pc:sldMk cId="2161803112" sldId="2147480183"/>
            <ac:graphicFrameMk id="128" creationId="{6F50699D-0FAC-4938-01C4-03435C9F6462}"/>
          </ac:graphicFrameMkLst>
        </pc:graphicFrameChg>
        <pc:graphicFrameChg chg="del">
          <ac:chgData name="Hugo Liabeuf" userId="a9defb0f-a7f4-478c-b61b-a76d3d661b31" providerId="ADAL" clId="{ABD2F74A-712B-4083-A42A-5FB1F7D04898}" dt="2024-06-04T14:51:14.103" v="3548"/>
          <ac:graphicFrameMkLst>
            <pc:docMk/>
            <pc:sldMk cId="2161803112" sldId="2147480183"/>
            <ac:graphicFrameMk id="154" creationId="{9751B63E-A136-3FC6-3A48-7DFB4AC8192B}"/>
          </ac:graphicFrameMkLst>
        </pc:graphicFrameChg>
        <pc:graphicFrameChg chg="del">
          <ac:chgData name="Hugo Liabeuf" userId="a9defb0f-a7f4-478c-b61b-a76d3d661b31" providerId="ADAL" clId="{ABD2F74A-712B-4083-A42A-5FB1F7D04898}" dt="2024-06-04T14:51:14.302" v="3615"/>
          <ac:graphicFrameMkLst>
            <pc:docMk/>
            <pc:sldMk cId="2161803112" sldId="2147480183"/>
            <ac:graphicFrameMk id="219" creationId="{3CC816E0-9D8C-9C7A-245B-1BA708D6051C}"/>
          </ac:graphicFrameMkLst>
        </pc:graphicFrameChg>
        <pc:picChg chg="mod">
          <ac:chgData name="Hugo Liabeuf" userId="a9defb0f-a7f4-478c-b61b-a76d3d661b31" providerId="ADAL" clId="{ABD2F74A-712B-4083-A42A-5FB1F7D04898}" dt="2024-06-04T14:55:55.358" v="3781"/>
          <ac:picMkLst>
            <pc:docMk/>
            <pc:sldMk cId="2161803112" sldId="2147480183"/>
            <ac:picMk id="29" creationId="{21280D97-CA13-7FE2-A9D0-74E3546201A6}"/>
          </ac:picMkLst>
        </pc:picChg>
        <pc:picChg chg="mod">
          <ac:chgData name="Hugo Liabeuf" userId="a9defb0f-a7f4-478c-b61b-a76d3d661b31" providerId="ADAL" clId="{ABD2F74A-712B-4083-A42A-5FB1F7D04898}" dt="2024-06-04T14:55:55.358" v="3781"/>
          <ac:picMkLst>
            <pc:docMk/>
            <pc:sldMk cId="2161803112" sldId="2147480183"/>
            <ac:picMk id="31" creationId="{7B54FD0F-3380-3C3A-5F3E-2C2F2F9A7A26}"/>
          </ac:picMkLst>
        </pc:picChg>
        <pc:picChg chg="mod">
          <ac:chgData name="Hugo Liabeuf" userId="a9defb0f-a7f4-478c-b61b-a76d3d661b31" providerId="ADAL" clId="{ABD2F74A-712B-4083-A42A-5FB1F7D04898}" dt="2024-06-04T14:55:55.358" v="3781"/>
          <ac:picMkLst>
            <pc:docMk/>
            <pc:sldMk cId="2161803112" sldId="2147480183"/>
            <ac:picMk id="32" creationId="{16641429-48C5-E867-0D13-1A8661B55866}"/>
          </ac:picMkLst>
        </pc:picChg>
        <pc:picChg chg="mod">
          <ac:chgData name="Hugo Liabeuf" userId="a9defb0f-a7f4-478c-b61b-a76d3d661b31" providerId="ADAL" clId="{ABD2F74A-712B-4083-A42A-5FB1F7D04898}" dt="2024-06-04T14:55:55.358" v="3781"/>
          <ac:picMkLst>
            <pc:docMk/>
            <pc:sldMk cId="2161803112" sldId="2147480183"/>
            <ac:picMk id="34" creationId="{7204B160-9A58-CB88-0DD6-8F0D0A229E6F}"/>
          </ac:picMkLst>
        </pc:picChg>
        <pc:picChg chg="mod">
          <ac:chgData name="Hugo Liabeuf" userId="a9defb0f-a7f4-478c-b61b-a76d3d661b31" providerId="ADAL" clId="{ABD2F74A-712B-4083-A42A-5FB1F7D04898}" dt="2024-06-04T14:55:55.358" v="3781"/>
          <ac:picMkLst>
            <pc:docMk/>
            <pc:sldMk cId="2161803112" sldId="2147480183"/>
            <ac:picMk id="36" creationId="{9AD4BA4A-ED8F-CE22-A988-2654E0A9C658}"/>
          </ac:picMkLst>
        </pc:picChg>
        <pc:picChg chg="mod">
          <ac:chgData name="Hugo Liabeuf" userId="a9defb0f-a7f4-478c-b61b-a76d3d661b31" providerId="ADAL" clId="{ABD2F74A-712B-4083-A42A-5FB1F7D04898}" dt="2024-06-04T14:55:55.358" v="3781"/>
          <ac:picMkLst>
            <pc:docMk/>
            <pc:sldMk cId="2161803112" sldId="2147480183"/>
            <ac:picMk id="38" creationId="{E62B6EA0-8A8B-203F-48E6-2C2F75ABF8AA}"/>
          </ac:picMkLst>
        </pc:picChg>
        <pc:picChg chg="mod">
          <ac:chgData name="Hugo Liabeuf" userId="a9defb0f-a7f4-478c-b61b-a76d3d661b31" providerId="ADAL" clId="{ABD2F74A-712B-4083-A42A-5FB1F7D04898}" dt="2024-06-04T14:55:55.358" v="3781"/>
          <ac:picMkLst>
            <pc:docMk/>
            <pc:sldMk cId="2161803112" sldId="2147480183"/>
            <ac:picMk id="39" creationId="{FB4B711D-CC25-FDD9-CB02-5A6E088ABB87}"/>
          </ac:picMkLst>
        </pc:picChg>
        <pc:picChg chg="mod">
          <ac:chgData name="Hugo Liabeuf" userId="a9defb0f-a7f4-478c-b61b-a76d3d661b31" providerId="ADAL" clId="{ABD2F74A-712B-4083-A42A-5FB1F7D04898}" dt="2024-06-04T14:55:55.358" v="3781"/>
          <ac:picMkLst>
            <pc:docMk/>
            <pc:sldMk cId="2161803112" sldId="2147480183"/>
            <ac:picMk id="41" creationId="{020E6FC1-7314-6E0B-E4AD-294E654866A7}"/>
          </ac:picMkLst>
        </pc:picChg>
        <pc:picChg chg="mod">
          <ac:chgData name="Hugo Liabeuf" userId="a9defb0f-a7f4-478c-b61b-a76d3d661b31" providerId="ADAL" clId="{ABD2F74A-712B-4083-A42A-5FB1F7D04898}" dt="2024-06-04T14:55:55.358" v="3781"/>
          <ac:picMkLst>
            <pc:docMk/>
            <pc:sldMk cId="2161803112" sldId="2147480183"/>
            <ac:picMk id="43" creationId="{6F42BE0B-1C81-F704-AD79-AC752AAAD9E9}"/>
          </ac:picMkLst>
        </pc:picChg>
        <pc:picChg chg="mod">
          <ac:chgData name="Hugo Liabeuf" userId="a9defb0f-a7f4-478c-b61b-a76d3d661b31" providerId="ADAL" clId="{ABD2F74A-712B-4083-A42A-5FB1F7D04898}" dt="2024-06-04T14:55:55.358" v="3781"/>
          <ac:picMkLst>
            <pc:docMk/>
            <pc:sldMk cId="2161803112" sldId="2147480183"/>
            <ac:picMk id="44" creationId="{70499DCD-4C93-E453-D9DF-7F4E168878E2}"/>
          </ac:picMkLst>
        </pc:picChg>
        <pc:picChg chg="mod">
          <ac:chgData name="Hugo Liabeuf" userId="a9defb0f-a7f4-478c-b61b-a76d3d661b31" providerId="ADAL" clId="{ABD2F74A-712B-4083-A42A-5FB1F7D04898}" dt="2024-06-04T14:55:55.358" v="3781"/>
          <ac:picMkLst>
            <pc:docMk/>
            <pc:sldMk cId="2161803112" sldId="2147480183"/>
            <ac:picMk id="45" creationId="{10863178-75BE-FAFE-AC22-AE7AF4421C3D}"/>
          </ac:picMkLst>
        </pc:picChg>
        <pc:picChg chg="mod">
          <ac:chgData name="Hugo Liabeuf" userId="a9defb0f-a7f4-478c-b61b-a76d3d661b31" providerId="ADAL" clId="{ABD2F74A-712B-4083-A42A-5FB1F7D04898}" dt="2024-06-04T14:55:55.358" v="3781"/>
          <ac:picMkLst>
            <pc:docMk/>
            <pc:sldMk cId="2161803112" sldId="2147480183"/>
            <ac:picMk id="46" creationId="{3EA35EFD-06E3-BC3A-B75D-1D5B2C1C4703}"/>
          </ac:picMkLst>
        </pc:picChg>
        <pc:picChg chg="mod">
          <ac:chgData name="Hugo Liabeuf" userId="a9defb0f-a7f4-478c-b61b-a76d3d661b31" providerId="ADAL" clId="{ABD2F74A-712B-4083-A42A-5FB1F7D04898}" dt="2024-06-04T14:55:55.358" v="3781"/>
          <ac:picMkLst>
            <pc:docMk/>
            <pc:sldMk cId="2161803112" sldId="2147480183"/>
            <ac:picMk id="47" creationId="{B9CC369E-6591-A643-A106-2200CA62E6B7}"/>
          </ac:picMkLst>
        </pc:picChg>
        <pc:picChg chg="mod">
          <ac:chgData name="Hugo Liabeuf" userId="a9defb0f-a7f4-478c-b61b-a76d3d661b31" providerId="ADAL" clId="{ABD2F74A-712B-4083-A42A-5FB1F7D04898}" dt="2024-06-04T14:55:55.358" v="3781"/>
          <ac:picMkLst>
            <pc:docMk/>
            <pc:sldMk cId="2161803112" sldId="2147480183"/>
            <ac:picMk id="48" creationId="{A9703100-ED75-E6B7-6842-020D77B10268}"/>
          </ac:picMkLst>
        </pc:picChg>
        <pc:picChg chg="mod">
          <ac:chgData name="Hugo Liabeuf" userId="a9defb0f-a7f4-478c-b61b-a76d3d661b31" providerId="ADAL" clId="{ABD2F74A-712B-4083-A42A-5FB1F7D04898}" dt="2024-06-04T14:55:55.358" v="3781"/>
          <ac:picMkLst>
            <pc:docMk/>
            <pc:sldMk cId="2161803112" sldId="2147480183"/>
            <ac:picMk id="49" creationId="{CE6AF46B-9864-D7E2-7BD3-C670BB3585A3}"/>
          </ac:picMkLst>
        </pc:picChg>
        <pc:cxnChg chg="mod ord">
          <ac:chgData name="Hugo Liabeuf" userId="a9defb0f-a7f4-478c-b61b-a76d3d661b31" providerId="ADAL" clId="{ABD2F74A-712B-4083-A42A-5FB1F7D04898}" dt="2024-06-04T14:51:14.386" v="3683"/>
          <ac:cxnSpMkLst>
            <pc:docMk/>
            <pc:sldMk cId="2161803112" sldId="2147480183"/>
            <ac:cxnSpMk id="42" creationId="{C84B1766-0A1E-DC0F-9220-EB0C6ED13D1B}"/>
          </ac:cxnSpMkLst>
        </pc:cxnChg>
        <pc:cxnChg chg="mod ord">
          <ac:chgData name="Hugo Liabeuf" userId="a9defb0f-a7f4-478c-b61b-a76d3d661b31" providerId="ADAL" clId="{ABD2F74A-712B-4083-A42A-5FB1F7D04898}" dt="2024-06-04T14:51:14.389" v="3685"/>
          <ac:cxnSpMkLst>
            <pc:docMk/>
            <pc:sldMk cId="2161803112" sldId="2147480183"/>
            <ac:cxnSpMk id="54" creationId="{8509FD88-BCAF-C5ED-0B74-D328BE352D87}"/>
          </ac:cxnSpMkLst>
        </pc:cxnChg>
        <pc:cxnChg chg="mod ord">
          <ac:chgData name="Hugo Liabeuf" userId="a9defb0f-a7f4-478c-b61b-a76d3d661b31" providerId="ADAL" clId="{ABD2F74A-712B-4083-A42A-5FB1F7D04898}" dt="2024-06-04T14:51:14.389" v="3695"/>
          <ac:cxnSpMkLst>
            <pc:docMk/>
            <pc:sldMk cId="2161803112" sldId="2147480183"/>
            <ac:cxnSpMk id="80" creationId="{736F1012-FFDB-69C4-81BD-0B284F36B18B}"/>
          </ac:cxnSpMkLst>
        </pc:cxnChg>
        <pc:cxnChg chg="mod ord">
          <ac:chgData name="Hugo Liabeuf" userId="a9defb0f-a7f4-478c-b61b-a76d3d661b31" providerId="ADAL" clId="{ABD2F74A-712B-4083-A42A-5FB1F7D04898}" dt="2024-06-04T14:51:14.389" v="3697"/>
          <ac:cxnSpMkLst>
            <pc:docMk/>
            <pc:sldMk cId="2161803112" sldId="2147480183"/>
            <ac:cxnSpMk id="117" creationId="{E7BC4764-90FD-B832-DFCE-30B210C397A8}"/>
          </ac:cxnSpMkLst>
        </pc:cxnChg>
      </pc:sldChg>
      <pc:sldChg chg="addSp delSp modSp add del mod">
        <pc:chgData name="Hugo Liabeuf" userId="a9defb0f-a7f4-478c-b61b-a76d3d661b31" providerId="ADAL" clId="{ABD2F74A-712B-4083-A42A-5FB1F7D04898}" dt="2024-06-04T14:30:37.902" v="2817" actId="47"/>
        <pc:sldMkLst>
          <pc:docMk/>
          <pc:sldMk cId="2186582118" sldId="2147480183"/>
        </pc:sldMkLst>
        <pc:spChg chg="mod">
          <ac:chgData name="Hugo Liabeuf" userId="a9defb0f-a7f4-478c-b61b-a76d3d661b31" providerId="ADAL" clId="{ABD2F74A-712B-4083-A42A-5FB1F7D04898}" dt="2024-06-04T14:20:14.195" v="1991" actId="1076"/>
          <ac:spMkLst>
            <pc:docMk/>
            <pc:sldMk cId="2186582118" sldId="2147480183"/>
            <ac:spMk id="6" creationId="{B2290F76-F9C2-9A99-9990-27F933F720BE}"/>
          </ac:spMkLst>
        </pc:spChg>
        <pc:picChg chg="add mod">
          <ac:chgData name="Hugo Liabeuf" userId="a9defb0f-a7f4-478c-b61b-a76d3d661b31" providerId="ADAL" clId="{ABD2F74A-712B-4083-A42A-5FB1F7D04898}" dt="2024-06-04T14:20:28.025" v="1999"/>
          <ac:picMkLst>
            <pc:docMk/>
            <pc:sldMk cId="2186582118" sldId="2147480183"/>
            <ac:picMk id="2" creationId="{63096D02-69D6-2CD4-9BDD-4682F587A152}"/>
          </ac:picMkLst>
        </pc:picChg>
        <pc:picChg chg="add del mod">
          <ac:chgData name="Hugo Liabeuf" userId="a9defb0f-a7f4-478c-b61b-a76d3d661b31" providerId="ADAL" clId="{ABD2F74A-712B-4083-A42A-5FB1F7D04898}" dt="2024-06-04T14:20:27.659" v="1998"/>
          <ac:picMkLst>
            <pc:docMk/>
            <pc:sldMk cId="2186582118" sldId="2147480183"/>
            <ac:picMk id="18" creationId="{CBFD5755-EC6E-246A-8814-839679A9A072}"/>
          </ac:picMkLst>
        </pc:picChg>
      </pc:sldChg>
      <pc:sldChg chg="addSp delSp modSp add mod">
        <pc:chgData name="Hugo Liabeuf" userId="a9defb0f-a7f4-478c-b61b-a76d3d661b31" providerId="ADAL" clId="{ABD2F74A-712B-4083-A42A-5FB1F7D04898}" dt="2024-06-05T08:48:28.681" v="13396" actId="12789"/>
        <pc:sldMkLst>
          <pc:docMk/>
          <pc:sldMk cId="174767928" sldId="2147480184"/>
        </pc:sldMkLst>
        <pc:spChg chg="mod ord">
          <ac:chgData name="Hugo Liabeuf" userId="a9defb0f-a7f4-478c-b61b-a76d3d661b31" providerId="ADAL" clId="{ABD2F74A-712B-4083-A42A-5FB1F7D04898}" dt="2024-06-04T15:31:07.810" v="4103"/>
          <ac:spMkLst>
            <pc:docMk/>
            <pc:sldMk cId="174767928" sldId="2147480184"/>
            <ac:spMk id="3" creationId="{2E4E14AE-4053-1F35-A591-3246D6F6C80F}"/>
          </ac:spMkLst>
        </pc:spChg>
        <pc:spChg chg="mod ord">
          <ac:chgData name="Hugo Liabeuf" userId="a9defb0f-a7f4-478c-b61b-a76d3d661b31" providerId="ADAL" clId="{ABD2F74A-712B-4083-A42A-5FB1F7D04898}" dt="2024-06-04T15:31:07.810" v="4105"/>
          <ac:spMkLst>
            <pc:docMk/>
            <pc:sldMk cId="174767928" sldId="2147480184"/>
            <ac:spMk id="4" creationId="{30448312-9900-D142-ED02-BE9B6B2BD2A5}"/>
          </ac:spMkLst>
        </pc:spChg>
        <pc:spChg chg="mod ord">
          <ac:chgData name="Hugo Liabeuf" userId="a9defb0f-a7f4-478c-b61b-a76d3d661b31" providerId="ADAL" clId="{ABD2F74A-712B-4083-A42A-5FB1F7D04898}" dt="2024-06-04T15:31:07.810" v="4099"/>
          <ac:spMkLst>
            <pc:docMk/>
            <pc:sldMk cId="174767928" sldId="2147480184"/>
            <ac:spMk id="5" creationId="{C4EC7336-97D5-034D-9018-B4A178194794}"/>
          </ac:spMkLst>
        </pc:spChg>
        <pc:spChg chg="mod">
          <ac:chgData name="Hugo Liabeuf" userId="a9defb0f-a7f4-478c-b61b-a76d3d661b31" providerId="ADAL" clId="{ABD2F74A-712B-4083-A42A-5FB1F7D04898}" dt="2024-06-04T14:58:22.047" v="3903"/>
          <ac:spMkLst>
            <pc:docMk/>
            <pc:sldMk cId="174767928" sldId="2147480184"/>
            <ac:spMk id="8" creationId="{F08889F8-E103-A154-CF22-87BC02F17B77}"/>
          </ac:spMkLst>
        </pc:spChg>
        <pc:spChg chg="mod">
          <ac:chgData name="Hugo Liabeuf" userId="a9defb0f-a7f4-478c-b61b-a76d3d661b31" providerId="ADAL" clId="{ABD2F74A-712B-4083-A42A-5FB1F7D04898}" dt="2024-06-04T14:58:22.047" v="3903"/>
          <ac:spMkLst>
            <pc:docMk/>
            <pc:sldMk cId="174767928" sldId="2147480184"/>
            <ac:spMk id="10" creationId="{833E697C-769F-A94A-6E3C-5EBB3AF7816B}"/>
          </ac:spMkLst>
        </pc:spChg>
        <pc:spChg chg="mod">
          <ac:chgData name="Hugo Liabeuf" userId="a9defb0f-a7f4-478c-b61b-a76d3d661b31" providerId="ADAL" clId="{ABD2F74A-712B-4083-A42A-5FB1F7D04898}" dt="2024-06-04T14:58:22.047" v="3903"/>
          <ac:spMkLst>
            <pc:docMk/>
            <pc:sldMk cId="174767928" sldId="2147480184"/>
            <ac:spMk id="12" creationId="{B56A1D57-E1B7-7F66-BA87-7B223A48EC4D}"/>
          </ac:spMkLst>
        </pc:spChg>
        <pc:spChg chg="add del mod modVis">
          <ac:chgData name="Hugo Liabeuf" userId="a9defb0f-a7f4-478c-b61b-a76d3d661b31" providerId="ADAL" clId="{ABD2F74A-712B-4083-A42A-5FB1F7D04898}" dt="2024-06-04T15:26:14.451" v="3989"/>
          <ac:spMkLst>
            <pc:docMk/>
            <pc:sldMk cId="174767928" sldId="2147480184"/>
            <ac:spMk id="14" creationId="{A61223B3-CA0B-8523-8712-B7C071803B9C}"/>
          </ac:spMkLst>
        </pc:spChg>
        <pc:spChg chg="add del mod modVis">
          <ac:chgData name="Hugo Liabeuf" userId="a9defb0f-a7f4-478c-b61b-a76d3d661b31" providerId="ADAL" clId="{ABD2F74A-712B-4083-A42A-5FB1F7D04898}" dt="2024-06-04T15:26:32.160" v="4021"/>
          <ac:spMkLst>
            <pc:docMk/>
            <pc:sldMk cId="174767928" sldId="2147480184"/>
            <ac:spMk id="15" creationId="{51A5E276-B893-30CD-1F02-D29C1BE9667E}"/>
          </ac:spMkLst>
        </pc:spChg>
        <pc:spChg chg="add del mod modVis">
          <ac:chgData name="Hugo Liabeuf" userId="a9defb0f-a7f4-478c-b61b-a76d3d661b31" providerId="ADAL" clId="{ABD2F74A-712B-4083-A42A-5FB1F7D04898}" dt="2024-06-04T15:26:36.148" v="4051"/>
          <ac:spMkLst>
            <pc:docMk/>
            <pc:sldMk cId="174767928" sldId="2147480184"/>
            <ac:spMk id="16" creationId="{841148DF-ED7F-F55E-9BB2-F4794127039A}"/>
          </ac:spMkLst>
        </pc:spChg>
        <pc:spChg chg="del">
          <ac:chgData name="Hugo Liabeuf" userId="a9defb0f-a7f4-478c-b61b-a76d3d661b31" providerId="ADAL" clId="{ABD2F74A-712B-4083-A42A-5FB1F7D04898}" dt="2024-06-04T14:58:21.710" v="3902" actId="478"/>
          <ac:spMkLst>
            <pc:docMk/>
            <pc:sldMk cId="174767928" sldId="2147480184"/>
            <ac:spMk id="18" creationId="{6ACC2B80-D3F4-7178-2292-3BB9F1A7043C}"/>
          </ac:spMkLst>
        </pc:spChg>
        <pc:spChg chg="add mod">
          <ac:chgData name="Hugo Liabeuf" userId="a9defb0f-a7f4-478c-b61b-a76d3d661b31" providerId="ADAL" clId="{ABD2F74A-712B-4083-A42A-5FB1F7D04898}" dt="2024-06-05T08:48:28.681" v="13396" actId="12789"/>
          <ac:spMkLst>
            <pc:docMk/>
            <pc:sldMk cId="174767928" sldId="2147480184"/>
            <ac:spMk id="20" creationId="{08DE5980-F4E6-3F1D-223B-44B953298F96}"/>
          </ac:spMkLst>
        </pc:spChg>
        <pc:spChg chg="add del mod">
          <ac:chgData name="Hugo Liabeuf" userId="a9defb0f-a7f4-478c-b61b-a76d3d661b31" providerId="ADAL" clId="{ABD2F74A-712B-4083-A42A-5FB1F7D04898}" dt="2024-06-04T15:34:54.303" v="4504" actId="478"/>
          <ac:spMkLst>
            <pc:docMk/>
            <pc:sldMk cId="174767928" sldId="2147480184"/>
            <ac:spMk id="22" creationId="{38469772-FBCF-594C-5FA6-E1BEF69613CA}"/>
          </ac:spMkLst>
        </pc:spChg>
        <pc:grpChg chg="add mod ord">
          <ac:chgData name="Hugo Liabeuf" userId="a9defb0f-a7f4-478c-b61b-a76d3d661b31" providerId="ADAL" clId="{ABD2F74A-712B-4083-A42A-5FB1F7D04898}" dt="2024-06-04T15:31:07.810" v="4107"/>
          <ac:grpSpMkLst>
            <pc:docMk/>
            <pc:sldMk cId="174767928" sldId="2147480184"/>
            <ac:grpSpMk id="6" creationId="{B28D744D-DA68-1519-7F10-CDDD84666D38}"/>
          </ac:grpSpMkLst>
        </pc:grpChg>
        <pc:grpChg chg="mod">
          <ac:chgData name="Hugo Liabeuf" userId="a9defb0f-a7f4-478c-b61b-a76d3d661b31" providerId="ADAL" clId="{ABD2F74A-712B-4083-A42A-5FB1F7D04898}" dt="2024-06-04T14:58:22.047" v="3903"/>
          <ac:grpSpMkLst>
            <pc:docMk/>
            <pc:sldMk cId="174767928" sldId="2147480184"/>
            <ac:grpSpMk id="9" creationId="{C082B07E-4FBE-6083-D0AA-27626A71CDA4}"/>
          </ac:grpSpMkLst>
        </pc:grpChg>
        <pc:graphicFrameChg chg="del mod ord modGraphic">
          <ac:chgData name="Hugo Liabeuf" userId="a9defb0f-a7f4-478c-b61b-a76d3d661b31" providerId="ADAL" clId="{ABD2F74A-712B-4083-A42A-5FB1F7D04898}" dt="2024-06-04T15:34:51.881" v="4503" actId="478"/>
          <ac:graphicFrameMkLst>
            <pc:docMk/>
            <pc:sldMk cId="174767928" sldId="2147480184"/>
            <ac:graphicFrameMk id="2" creationId="{09D41A5C-8D56-CE7F-7C65-2BC841533728}"/>
          </ac:graphicFrameMkLst>
        </pc:graphicFrameChg>
        <pc:graphicFrameChg chg="mod">
          <ac:chgData name="Hugo Liabeuf" userId="a9defb0f-a7f4-478c-b61b-a76d3d661b31" providerId="ADAL" clId="{ABD2F74A-712B-4083-A42A-5FB1F7D04898}" dt="2024-06-04T15:31:07.828" v="4113"/>
          <ac:graphicFrameMkLst>
            <pc:docMk/>
            <pc:sldMk cId="174767928" sldId="2147480184"/>
            <ac:graphicFrameMk id="7" creationId="{13DEAD90-45A5-1C5F-0C84-5BF3C22C262D}"/>
          </ac:graphicFrameMkLst>
        </pc:graphicFrameChg>
        <pc:picChg chg="mod">
          <ac:chgData name="Hugo Liabeuf" userId="a9defb0f-a7f4-478c-b61b-a76d3d661b31" providerId="ADAL" clId="{ABD2F74A-712B-4083-A42A-5FB1F7D04898}" dt="2024-06-04T14:58:22.047" v="3903"/>
          <ac:picMkLst>
            <pc:docMk/>
            <pc:sldMk cId="174767928" sldId="2147480184"/>
            <ac:picMk id="11" creationId="{7E7CDA69-B626-97E5-E57A-11505FF48BF0}"/>
          </ac:picMkLst>
        </pc:picChg>
        <pc:picChg chg="mod">
          <ac:chgData name="Hugo Liabeuf" userId="a9defb0f-a7f4-478c-b61b-a76d3d661b31" providerId="ADAL" clId="{ABD2F74A-712B-4083-A42A-5FB1F7D04898}" dt="2024-06-04T14:58:22.047" v="3903"/>
          <ac:picMkLst>
            <pc:docMk/>
            <pc:sldMk cId="174767928" sldId="2147480184"/>
            <ac:picMk id="13" creationId="{3C96E54C-B1D5-70B4-A8AE-2BE1D0510A67}"/>
          </ac:picMkLst>
        </pc:picChg>
        <pc:picChg chg="add mod">
          <ac:chgData name="Hugo Liabeuf" userId="a9defb0f-a7f4-478c-b61b-a76d3d661b31" providerId="ADAL" clId="{ABD2F74A-712B-4083-A42A-5FB1F7D04898}" dt="2024-06-05T08:48:21.264" v="13394" actId="1076"/>
          <ac:picMkLst>
            <pc:docMk/>
            <pc:sldMk cId="174767928" sldId="2147480184"/>
            <ac:picMk id="1026" creationId="{C7ACEA5D-FF12-5652-3DDD-AC5766C19FA3}"/>
          </ac:picMkLst>
        </pc:picChg>
        <pc:picChg chg="add del mod">
          <ac:chgData name="Hugo Liabeuf" userId="a9defb0f-a7f4-478c-b61b-a76d3d661b31" providerId="ADAL" clId="{ABD2F74A-712B-4083-A42A-5FB1F7D04898}" dt="2024-06-04T15:23:02.625" v="3939" actId="478"/>
          <ac:picMkLst>
            <pc:docMk/>
            <pc:sldMk cId="174767928" sldId="2147480184"/>
            <ac:picMk id="1028" creationId="{E95B3FEA-2182-BF47-C7B1-26BE14116DB2}"/>
          </ac:picMkLst>
        </pc:picChg>
        <pc:picChg chg="add del mod">
          <ac:chgData name="Hugo Liabeuf" userId="a9defb0f-a7f4-478c-b61b-a76d3d661b31" providerId="ADAL" clId="{ABD2F74A-712B-4083-A42A-5FB1F7D04898}" dt="2024-06-04T15:30:55.114" v="4073" actId="478"/>
          <ac:picMkLst>
            <pc:docMk/>
            <pc:sldMk cId="174767928" sldId="2147480184"/>
            <ac:picMk id="1030" creationId="{C206BD33-D6D0-1217-2BA1-8E4B27B8B471}"/>
          </ac:picMkLst>
        </pc:picChg>
        <pc:picChg chg="add del mod">
          <ac:chgData name="Hugo Liabeuf" userId="a9defb0f-a7f4-478c-b61b-a76d3d661b31" providerId="ADAL" clId="{ABD2F74A-712B-4083-A42A-5FB1F7D04898}" dt="2024-06-04T15:29:31.103" v="4066" actId="478"/>
          <ac:picMkLst>
            <pc:docMk/>
            <pc:sldMk cId="174767928" sldId="2147480184"/>
            <ac:picMk id="1032" creationId="{D8FC1A24-F14A-B797-2CDE-68AB947BCBB0}"/>
          </ac:picMkLst>
        </pc:picChg>
        <pc:picChg chg="add mod">
          <ac:chgData name="Hugo Liabeuf" userId="a9defb0f-a7f4-478c-b61b-a76d3d661b31" providerId="ADAL" clId="{ABD2F74A-712B-4083-A42A-5FB1F7D04898}" dt="2024-06-05T08:48:20.552" v="13393" actId="408"/>
          <ac:picMkLst>
            <pc:docMk/>
            <pc:sldMk cId="174767928" sldId="2147480184"/>
            <ac:picMk id="1034" creationId="{26CFB794-F75D-6735-044D-7D786610DC89}"/>
          </ac:picMkLst>
        </pc:picChg>
        <pc:picChg chg="add mod">
          <ac:chgData name="Hugo Liabeuf" userId="a9defb0f-a7f4-478c-b61b-a76d3d661b31" providerId="ADAL" clId="{ABD2F74A-712B-4083-A42A-5FB1F7D04898}" dt="2024-06-05T08:48:16.193" v="13391" actId="465"/>
          <ac:picMkLst>
            <pc:docMk/>
            <pc:sldMk cId="174767928" sldId="2147480184"/>
            <ac:picMk id="1036" creationId="{2BF6C00B-02B5-4E52-6702-CA4E61479413}"/>
          </ac:picMkLst>
        </pc:picChg>
        <pc:cxnChg chg="add mod">
          <ac:chgData name="Hugo Liabeuf" userId="a9defb0f-a7f4-478c-b61b-a76d3d661b31" providerId="ADAL" clId="{ABD2F74A-712B-4083-A42A-5FB1F7D04898}" dt="2024-06-05T08:48:28.681" v="13396" actId="12789"/>
          <ac:cxnSpMkLst>
            <pc:docMk/>
            <pc:sldMk cId="174767928" sldId="2147480184"/>
            <ac:cxnSpMk id="19" creationId="{E4BE7684-DB6D-BB4C-7B8E-11EC417438DB}"/>
          </ac:cxnSpMkLst>
        </pc:cxnChg>
      </pc:sldChg>
      <pc:sldChg chg="addSp delSp modSp new del mod modClrScheme chgLayout">
        <pc:chgData name="Hugo Liabeuf" userId="a9defb0f-a7f4-478c-b61b-a76d3d661b31" providerId="ADAL" clId="{ABD2F74A-712B-4083-A42A-5FB1F7D04898}" dt="2024-06-07T07:45:44.591" v="28293" actId="47"/>
        <pc:sldMkLst>
          <pc:docMk/>
          <pc:sldMk cId="1510268443" sldId="2147480185"/>
        </pc:sldMkLst>
        <pc:spChg chg="del mod ord">
          <ac:chgData name="Hugo Liabeuf" userId="a9defb0f-a7f4-478c-b61b-a76d3d661b31" providerId="ADAL" clId="{ABD2F74A-712B-4083-A42A-5FB1F7D04898}" dt="2024-06-04T15:50:04.478" v="11070" actId="700"/>
          <ac:spMkLst>
            <pc:docMk/>
            <pc:sldMk cId="1510268443" sldId="2147480185"/>
            <ac:spMk id="2" creationId="{BEB5C29A-86EC-7096-F6E5-882795F8DDDC}"/>
          </ac:spMkLst>
        </pc:spChg>
        <pc:spChg chg="mod ord">
          <ac:chgData name="Hugo Liabeuf" userId="a9defb0f-a7f4-478c-b61b-a76d3d661b31" providerId="ADAL" clId="{ABD2F74A-712B-4083-A42A-5FB1F7D04898}" dt="2024-06-04T16:04:53.196" v="12328"/>
          <ac:spMkLst>
            <pc:docMk/>
            <pc:sldMk cId="1510268443" sldId="2147480185"/>
            <ac:spMk id="3" creationId="{9D459184-6C88-2440-C13A-07C2954450A2}"/>
          </ac:spMkLst>
        </pc:spChg>
        <pc:spChg chg="mod ord">
          <ac:chgData name="Hugo Liabeuf" userId="a9defb0f-a7f4-478c-b61b-a76d3d661b31" providerId="ADAL" clId="{ABD2F74A-712B-4083-A42A-5FB1F7D04898}" dt="2024-06-04T16:04:53.196" v="12330"/>
          <ac:spMkLst>
            <pc:docMk/>
            <pc:sldMk cId="1510268443" sldId="2147480185"/>
            <ac:spMk id="4" creationId="{263EE243-CA4E-B772-A48C-BA822D9F9A34}"/>
          </ac:spMkLst>
        </pc:spChg>
        <pc:spChg chg="add mod ord">
          <ac:chgData name="Hugo Liabeuf" userId="a9defb0f-a7f4-478c-b61b-a76d3d661b31" providerId="ADAL" clId="{ABD2F74A-712B-4083-A42A-5FB1F7D04898}" dt="2024-06-04T16:04:53.196" v="12326"/>
          <ac:spMkLst>
            <pc:docMk/>
            <pc:sldMk cId="1510268443" sldId="2147480185"/>
            <ac:spMk id="5" creationId="{E615835C-187F-29A3-E7D3-B342DB852B08}"/>
          </ac:spMkLst>
        </pc:spChg>
        <pc:spChg chg="add del mod ord">
          <ac:chgData name="Hugo Liabeuf" userId="a9defb0f-a7f4-478c-b61b-a76d3d661b31" providerId="ADAL" clId="{ABD2F74A-712B-4083-A42A-5FB1F7D04898}" dt="2024-06-04T16:04:19.193" v="12065" actId="478"/>
          <ac:spMkLst>
            <pc:docMk/>
            <pc:sldMk cId="1510268443" sldId="2147480185"/>
            <ac:spMk id="6" creationId="{490840E2-CADD-F4F0-7CD3-F5F90789BC0D}"/>
          </ac:spMkLst>
        </pc:spChg>
        <pc:spChg chg="add mod replST">
          <ac:chgData name="Hugo Liabeuf" userId="a9defb0f-a7f4-478c-b61b-a76d3d661b31" providerId="ADAL" clId="{ABD2F74A-712B-4083-A42A-5FB1F7D04898}" dt="2024-06-04T16:04:53.196" v="12335"/>
          <ac:spMkLst>
            <pc:docMk/>
            <pc:sldMk cId="1510268443" sldId="2147480185"/>
            <ac:spMk id="12" creationId="{45BF25F4-A12E-2E6D-CD37-163ED635F220}"/>
          </ac:spMkLst>
        </pc:spChg>
        <pc:spChg chg="add mod replST">
          <ac:chgData name="Hugo Liabeuf" userId="a9defb0f-a7f4-478c-b61b-a76d3d661b31" providerId="ADAL" clId="{ABD2F74A-712B-4083-A42A-5FB1F7D04898}" dt="2024-06-04T16:04:53.212" v="12336"/>
          <ac:spMkLst>
            <pc:docMk/>
            <pc:sldMk cId="1510268443" sldId="2147480185"/>
            <ac:spMk id="13" creationId="{96737FEE-7373-E9B5-0DC6-B79C49299524}"/>
          </ac:spMkLst>
        </pc:spChg>
        <pc:spChg chg="add mod replST">
          <ac:chgData name="Hugo Liabeuf" userId="a9defb0f-a7f4-478c-b61b-a76d3d661b31" providerId="ADAL" clId="{ABD2F74A-712B-4083-A42A-5FB1F7D04898}" dt="2024-06-04T16:04:53.213" v="12337"/>
          <ac:spMkLst>
            <pc:docMk/>
            <pc:sldMk cId="1510268443" sldId="2147480185"/>
            <ac:spMk id="14" creationId="{90FF08F8-5D68-60E3-A3AA-507E77938230}"/>
          </ac:spMkLst>
        </pc:spChg>
        <pc:spChg chg="add mod replST">
          <ac:chgData name="Hugo Liabeuf" userId="a9defb0f-a7f4-478c-b61b-a76d3d661b31" providerId="ADAL" clId="{ABD2F74A-712B-4083-A42A-5FB1F7D04898}" dt="2024-06-04T16:04:53.213" v="12338"/>
          <ac:spMkLst>
            <pc:docMk/>
            <pc:sldMk cId="1510268443" sldId="2147480185"/>
            <ac:spMk id="15" creationId="{C835B8C3-DC10-067C-CE8C-EF187ED2B855}"/>
          </ac:spMkLst>
        </pc:spChg>
        <pc:spChg chg="add mod replST">
          <ac:chgData name="Hugo Liabeuf" userId="a9defb0f-a7f4-478c-b61b-a76d3d661b31" providerId="ADAL" clId="{ABD2F74A-712B-4083-A42A-5FB1F7D04898}" dt="2024-06-04T16:04:53.213" v="12339"/>
          <ac:spMkLst>
            <pc:docMk/>
            <pc:sldMk cId="1510268443" sldId="2147480185"/>
            <ac:spMk id="16" creationId="{747ED9A0-3276-F350-E154-0F58EE4288BE}"/>
          </ac:spMkLst>
        </pc:spChg>
        <pc:spChg chg="add mod replST">
          <ac:chgData name="Hugo Liabeuf" userId="a9defb0f-a7f4-478c-b61b-a76d3d661b31" providerId="ADAL" clId="{ABD2F74A-712B-4083-A42A-5FB1F7D04898}" dt="2024-06-04T16:04:53.214" v="12340"/>
          <ac:spMkLst>
            <pc:docMk/>
            <pc:sldMk cId="1510268443" sldId="2147480185"/>
            <ac:spMk id="17" creationId="{A9AF5E1E-177A-EC41-CB8B-314582DF70A6}"/>
          </ac:spMkLst>
        </pc:spChg>
        <pc:spChg chg="add mod replST">
          <ac:chgData name="Hugo Liabeuf" userId="a9defb0f-a7f4-478c-b61b-a76d3d661b31" providerId="ADAL" clId="{ABD2F74A-712B-4083-A42A-5FB1F7D04898}" dt="2024-06-04T16:04:53.219" v="12349"/>
          <ac:spMkLst>
            <pc:docMk/>
            <pc:sldMk cId="1510268443" sldId="2147480185"/>
            <ac:spMk id="25" creationId="{51D107A8-37CC-5D52-99C0-DA8AE0AA2656}"/>
          </ac:spMkLst>
        </pc:spChg>
        <pc:spChg chg="add mod replST">
          <ac:chgData name="Hugo Liabeuf" userId="a9defb0f-a7f4-478c-b61b-a76d3d661b31" providerId="ADAL" clId="{ABD2F74A-712B-4083-A42A-5FB1F7D04898}" dt="2024-06-04T16:04:53.219" v="12350"/>
          <ac:spMkLst>
            <pc:docMk/>
            <pc:sldMk cId="1510268443" sldId="2147480185"/>
            <ac:spMk id="26" creationId="{3509C152-6DCA-2E63-3C13-010C47B4971A}"/>
          </ac:spMkLst>
        </pc:spChg>
        <pc:spChg chg="add mod replST">
          <ac:chgData name="Hugo Liabeuf" userId="a9defb0f-a7f4-478c-b61b-a76d3d661b31" providerId="ADAL" clId="{ABD2F74A-712B-4083-A42A-5FB1F7D04898}" dt="2024-06-04T16:04:53.222" v="12355"/>
          <ac:spMkLst>
            <pc:docMk/>
            <pc:sldMk cId="1510268443" sldId="2147480185"/>
            <ac:spMk id="30" creationId="{113DEBA2-9580-5620-B3DC-9E5E26B6FE4D}"/>
          </ac:spMkLst>
        </pc:spChg>
        <pc:spChg chg="add mod replST">
          <ac:chgData name="Hugo Liabeuf" userId="a9defb0f-a7f4-478c-b61b-a76d3d661b31" providerId="ADAL" clId="{ABD2F74A-712B-4083-A42A-5FB1F7D04898}" dt="2024-06-04T16:04:53.222" v="12356"/>
          <ac:spMkLst>
            <pc:docMk/>
            <pc:sldMk cId="1510268443" sldId="2147480185"/>
            <ac:spMk id="31" creationId="{BEAEA0DA-948A-6A18-11C9-F9C14CBA72D4}"/>
          </ac:spMkLst>
        </pc:spChg>
        <pc:spChg chg="add mod replST">
          <ac:chgData name="Hugo Liabeuf" userId="a9defb0f-a7f4-478c-b61b-a76d3d661b31" providerId="ADAL" clId="{ABD2F74A-712B-4083-A42A-5FB1F7D04898}" dt="2024-06-04T16:04:53.223" v="12357"/>
          <ac:spMkLst>
            <pc:docMk/>
            <pc:sldMk cId="1510268443" sldId="2147480185"/>
            <ac:spMk id="32" creationId="{CBFD54F3-3935-C1B3-17E7-E08B24B0A4E5}"/>
          </ac:spMkLst>
        </pc:spChg>
        <pc:spChg chg="add mod replST">
          <ac:chgData name="Hugo Liabeuf" userId="a9defb0f-a7f4-478c-b61b-a76d3d661b31" providerId="ADAL" clId="{ABD2F74A-712B-4083-A42A-5FB1F7D04898}" dt="2024-06-04T16:04:53.226" v="12364"/>
          <ac:spMkLst>
            <pc:docMk/>
            <pc:sldMk cId="1510268443" sldId="2147480185"/>
            <ac:spMk id="37" creationId="{0F9CB268-2AAC-669D-93D9-6CEE63FAC91F}"/>
          </ac:spMkLst>
        </pc:spChg>
        <pc:spChg chg="add mod">
          <ac:chgData name="Hugo Liabeuf" userId="a9defb0f-a7f4-478c-b61b-a76d3d661b31" providerId="ADAL" clId="{ABD2F74A-712B-4083-A42A-5FB1F7D04898}" dt="2024-06-04T16:04:53.228" v="12368"/>
          <ac:spMkLst>
            <pc:docMk/>
            <pc:sldMk cId="1510268443" sldId="2147480185"/>
            <ac:spMk id="40" creationId="{999D5E04-861B-6BBC-E200-7385D487F473}"/>
          </ac:spMkLst>
        </pc:spChg>
        <pc:spChg chg="add del mod modVis">
          <ac:chgData name="Hugo Liabeuf" userId="a9defb0f-a7f4-478c-b61b-a76d3d661b31" providerId="ADAL" clId="{ABD2F74A-712B-4083-A42A-5FB1F7D04898}" dt="2024-06-04T16:04:53.228" v="12372"/>
          <ac:spMkLst>
            <pc:docMk/>
            <pc:sldMk cId="1510268443" sldId="2147480185"/>
            <ac:spMk id="41" creationId="{7AE90B9F-25D6-F3DC-FA5A-EEAFE0F4FB3E}"/>
          </ac:spMkLst>
        </pc:spChg>
        <pc:graphicFrameChg chg="add mod ord modVis replST">
          <ac:chgData name="Hugo Liabeuf" userId="a9defb0f-a7f4-478c-b61b-a76d3d661b31" providerId="ADAL" clId="{ABD2F74A-712B-4083-A42A-5FB1F7D04898}" dt="2024-06-04T16:04:53.231" v="12374"/>
          <ac:graphicFrameMkLst>
            <pc:docMk/>
            <pc:sldMk cId="1510268443" sldId="2147480185"/>
            <ac:graphicFrameMk id="7" creationId="{57ABD133-26C5-21C8-4B91-2A485C09FA0C}"/>
          </ac:graphicFrameMkLst>
        </pc:graphicFrameChg>
        <pc:graphicFrameChg chg="add mod ord modGraphic">
          <ac:chgData name="Hugo Liabeuf" userId="a9defb0f-a7f4-478c-b61b-a76d3d661b31" providerId="ADAL" clId="{ABD2F74A-712B-4083-A42A-5FB1F7D04898}" dt="2024-06-04T16:06:48.624" v="12388" actId="207"/>
          <ac:graphicFrameMkLst>
            <pc:docMk/>
            <pc:sldMk cId="1510268443" sldId="2147480185"/>
            <ac:graphicFrameMk id="10" creationId="{48E571F7-5241-E488-86A7-BC0ADE46539E}"/>
          </ac:graphicFrameMkLst>
        </pc:graphicFrameChg>
        <pc:graphicFrameChg chg="add del mod replST">
          <ac:chgData name="Hugo Liabeuf" userId="a9defb0f-a7f4-478c-b61b-a76d3d661b31" providerId="ADAL" clId="{ABD2F74A-712B-4083-A42A-5FB1F7D04898}" dt="2024-06-04T16:04:52.932" v="12266"/>
          <ac:graphicFrameMkLst>
            <pc:docMk/>
            <pc:sldMk cId="1510268443" sldId="2147480185"/>
            <ac:graphicFrameMk id="11" creationId="{3AB44BD3-401D-B917-7ABB-3BBAF5946629}"/>
          </ac:graphicFrameMkLst>
        </pc:graphicFrameChg>
        <pc:graphicFrameChg chg="add del mod replST">
          <ac:chgData name="Hugo Liabeuf" userId="a9defb0f-a7f4-478c-b61b-a76d3d661b31" providerId="ADAL" clId="{ABD2F74A-712B-4083-A42A-5FB1F7D04898}" dt="2024-06-04T16:04:53.045" v="12290"/>
          <ac:graphicFrameMkLst>
            <pc:docMk/>
            <pc:sldMk cId="1510268443" sldId="2147480185"/>
            <ac:graphicFrameMk id="24" creationId="{A18353A6-8D45-166B-65E8-188C23B8A2CE}"/>
          </ac:graphicFrameMkLst>
        </pc:graphicFrameChg>
        <pc:graphicFrameChg chg="add del mod replST">
          <ac:chgData name="Hugo Liabeuf" userId="a9defb0f-a7f4-478c-b61b-a76d3d661b31" providerId="ADAL" clId="{ABD2F74A-712B-4083-A42A-5FB1F7D04898}" dt="2024-06-04T16:04:53.110" v="12307"/>
          <ac:graphicFrameMkLst>
            <pc:docMk/>
            <pc:sldMk cId="1510268443" sldId="2147480185"/>
            <ac:graphicFrameMk id="29" creationId="{0AE39722-E355-D571-0005-593CB755C810}"/>
          </ac:graphicFrameMkLst>
        </pc:graphicFrameChg>
        <pc:graphicFrameChg chg="add del mod replST">
          <ac:chgData name="Hugo Liabeuf" userId="a9defb0f-a7f4-478c-b61b-a76d3d661b31" providerId="ADAL" clId="{ABD2F74A-712B-4083-A42A-5FB1F7D04898}" dt="2024-06-04T16:04:53.152" v="12318"/>
          <ac:graphicFrameMkLst>
            <pc:docMk/>
            <pc:sldMk cId="1510268443" sldId="2147480185"/>
            <ac:graphicFrameMk id="36" creationId="{A3B51AF5-B323-F523-B0BB-BB9B2469B901}"/>
          </ac:graphicFrameMkLst>
        </pc:graphicFrameChg>
        <pc:graphicFrameChg chg="add mod ord replST">
          <ac:chgData name="Hugo Liabeuf" userId="a9defb0f-a7f4-478c-b61b-a76d3d661b31" providerId="ADAL" clId="{ABD2F74A-712B-4083-A42A-5FB1F7D04898}" dt="2024-06-04T16:04:53.196" v="12334"/>
          <ac:graphicFrameMkLst>
            <pc:docMk/>
            <pc:sldMk cId="1510268443" sldId="2147480185"/>
            <ac:graphicFrameMk id="42" creationId="{A4D5101F-4121-0F5C-CE1F-03891A91BC08}"/>
          </ac:graphicFrameMkLst>
        </pc:graphicFrameChg>
        <pc:graphicFrameChg chg="add mod ord replST">
          <ac:chgData name="Hugo Liabeuf" userId="a9defb0f-a7f4-478c-b61b-a76d3d661b31" providerId="ADAL" clId="{ABD2F74A-712B-4083-A42A-5FB1F7D04898}" dt="2024-06-04T16:04:53.218" v="12348"/>
          <ac:graphicFrameMkLst>
            <pc:docMk/>
            <pc:sldMk cId="1510268443" sldId="2147480185"/>
            <ac:graphicFrameMk id="43" creationId="{0366EBBF-F91B-00EC-32D7-8FB8E7519BB4}"/>
          </ac:graphicFrameMkLst>
        </pc:graphicFrameChg>
        <pc:graphicFrameChg chg="add mod ord replST">
          <ac:chgData name="Hugo Liabeuf" userId="a9defb0f-a7f4-478c-b61b-a76d3d661b31" providerId="ADAL" clId="{ABD2F74A-712B-4083-A42A-5FB1F7D04898}" dt="2024-06-04T16:04:53.221" v="12354"/>
          <ac:graphicFrameMkLst>
            <pc:docMk/>
            <pc:sldMk cId="1510268443" sldId="2147480185"/>
            <ac:graphicFrameMk id="44" creationId="{E8341C81-EF90-A578-5A75-93739D3083E9}"/>
          </ac:graphicFrameMkLst>
        </pc:graphicFrameChg>
        <pc:graphicFrameChg chg="add mod ord replST">
          <ac:chgData name="Hugo Liabeuf" userId="a9defb0f-a7f4-478c-b61b-a76d3d661b31" providerId="ADAL" clId="{ABD2F74A-712B-4083-A42A-5FB1F7D04898}" dt="2024-06-04T16:04:53.226" v="12363"/>
          <ac:graphicFrameMkLst>
            <pc:docMk/>
            <pc:sldMk cId="1510268443" sldId="2147480185"/>
            <ac:graphicFrameMk id="45" creationId="{4E5F2F91-9009-4D9F-0EAA-FA1BD2738179}"/>
          </ac:graphicFrameMkLst>
        </pc:graphicFrameChg>
        <pc:picChg chg="add del">
          <ac:chgData name="Hugo Liabeuf" userId="a9defb0f-a7f4-478c-b61b-a76d3d661b31" providerId="ADAL" clId="{ABD2F74A-712B-4083-A42A-5FB1F7D04898}" dt="2024-06-04T16:04:24.118" v="12067" actId="478"/>
          <ac:picMkLst>
            <pc:docMk/>
            <pc:sldMk cId="1510268443" sldId="2147480185"/>
            <ac:picMk id="9" creationId="{6D4EEEDC-69E1-75BB-22D0-77AB7513C44B}"/>
          </ac:picMkLst>
        </pc:picChg>
        <pc:picChg chg="add mod">
          <ac:chgData name="Hugo Liabeuf" userId="a9defb0f-a7f4-478c-b61b-a76d3d661b31" providerId="ADAL" clId="{ABD2F74A-712B-4083-A42A-5FB1F7D04898}" dt="2024-06-04T16:04:53.215" v="12341"/>
          <ac:picMkLst>
            <pc:docMk/>
            <pc:sldMk cId="1510268443" sldId="2147480185"/>
            <ac:picMk id="18" creationId="{40214310-041B-E3D3-A8B8-8A15895EB18E}"/>
          </ac:picMkLst>
        </pc:picChg>
        <pc:picChg chg="add mod">
          <ac:chgData name="Hugo Liabeuf" userId="a9defb0f-a7f4-478c-b61b-a76d3d661b31" providerId="ADAL" clId="{ABD2F74A-712B-4083-A42A-5FB1F7D04898}" dt="2024-06-04T16:04:53.215" v="12342"/>
          <ac:picMkLst>
            <pc:docMk/>
            <pc:sldMk cId="1510268443" sldId="2147480185"/>
            <ac:picMk id="19" creationId="{3BE35547-62AC-EFEA-C0DB-00D2E4BCFB74}"/>
          </ac:picMkLst>
        </pc:picChg>
        <pc:picChg chg="add mod">
          <ac:chgData name="Hugo Liabeuf" userId="a9defb0f-a7f4-478c-b61b-a76d3d661b31" providerId="ADAL" clId="{ABD2F74A-712B-4083-A42A-5FB1F7D04898}" dt="2024-06-04T16:04:53.216" v="12343"/>
          <ac:picMkLst>
            <pc:docMk/>
            <pc:sldMk cId="1510268443" sldId="2147480185"/>
            <ac:picMk id="20" creationId="{1593C3A5-8DAA-FB61-7F52-AD2532FB0065}"/>
          </ac:picMkLst>
        </pc:picChg>
        <pc:picChg chg="add mod">
          <ac:chgData name="Hugo Liabeuf" userId="a9defb0f-a7f4-478c-b61b-a76d3d661b31" providerId="ADAL" clId="{ABD2F74A-712B-4083-A42A-5FB1F7D04898}" dt="2024-06-04T16:04:53.216" v="12344"/>
          <ac:picMkLst>
            <pc:docMk/>
            <pc:sldMk cId="1510268443" sldId="2147480185"/>
            <ac:picMk id="21" creationId="{2FC448B6-8024-9087-AB31-7045F11F6893}"/>
          </ac:picMkLst>
        </pc:picChg>
        <pc:picChg chg="add mod">
          <ac:chgData name="Hugo Liabeuf" userId="a9defb0f-a7f4-478c-b61b-a76d3d661b31" providerId="ADAL" clId="{ABD2F74A-712B-4083-A42A-5FB1F7D04898}" dt="2024-06-04T16:04:53.217" v="12345"/>
          <ac:picMkLst>
            <pc:docMk/>
            <pc:sldMk cId="1510268443" sldId="2147480185"/>
            <ac:picMk id="22" creationId="{D5732C8C-506C-3DCD-1612-1C73A3E72310}"/>
          </ac:picMkLst>
        </pc:picChg>
        <pc:picChg chg="add mod">
          <ac:chgData name="Hugo Liabeuf" userId="a9defb0f-a7f4-478c-b61b-a76d3d661b31" providerId="ADAL" clId="{ABD2F74A-712B-4083-A42A-5FB1F7D04898}" dt="2024-06-04T16:04:53.217" v="12346"/>
          <ac:picMkLst>
            <pc:docMk/>
            <pc:sldMk cId="1510268443" sldId="2147480185"/>
            <ac:picMk id="23" creationId="{EA8018B0-2275-CA10-B03F-727F7463414E}"/>
          </ac:picMkLst>
        </pc:picChg>
        <pc:picChg chg="add mod">
          <ac:chgData name="Hugo Liabeuf" userId="a9defb0f-a7f4-478c-b61b-a76d3d661b31" providerId="ADAL" clId="{ABD2F74A-712B-4083-A42A-5FB1F7D04898}" dt="2024-06-04T16:04:53.220" v="12351"/>
          <ac:picMkLst>
            <pc:docMk/>
            <pc:sldMk cId="1510268443" sldId="2147480185"/>
            <ac:picMk id="27" creationId="{526A2C5D-91A2-ACA0-EAD3-05FA148CBD37}"/>
          </ac:picMkLst>
        </pc:picChg>
        <pc:picChg chg="add mod">
          <ac:chgData name="Hugo Liabeuf" userId="a9defb0f-a7f4-478c-b61b-a76d3d661b31" providerId="ADAL" clId="{ABD2F74A-712B-4083-A42A-5FB1F7D04898}" dt="2024-06-04T16:04:53.220" v="12352"/>
          <ac:picMkLst>
            <pc:docMk/>
            <pc:sldMk cId="1510268443" sldId="2147480185"/>
            <ac:picMk id="28" creationId="{81021100-7A9D-D6CB-31CC-DF71CD60E3BA}"/>
          </ac:picMkLst>
        </pc:picChg>
        <pc:picChg chg="add mod ord">
          <ac:chgData name="Hugo Liabeuf" userId="a9defb0f-a7f4-478c-b61b-a76d3d661b31" providerId="ADAL" clId="{ABD2F74A-712B-4083-A42A-5FB1F7D04898}" dt="2024-06-04T16:04:53.224" v="12359"/>
          <ac:picMkLst>
            <pc:docMk/>
            <pc:sldMk cId="1510268443" sldId="2147480185"/>
            <ac:picMk id="33" creationId="{03D11997-62A8-647E-C319-CAC177B7823C}"/>
          </ac:picMkLst>
        </pc:picChg>
        <pc:picChg chg="add mod">
          <ac:chgData name="Hugo Liabeuf" userId="a9defb0f-a7f4-478c-b61b-a76d3d661b31" providerId="ADAL" clId="{ABD2F74A-712B-4083-A42A-5FB1F7D04898}" dt="2024-06-04T16:04:53.224" v="12360"/>
          <ac:picMkLst>
            <pc:docMk/>
            <pc:sldMk cId="1510268443" sldId="2147480185"/>
            <ac:picMk id="34" creationId="{A59DEE9A-DCC2-9841-233B-0A9960292722}"/>
          </ac:picMkLst>
        </pc:picChg>
        <pc:picChg chg="add mod">
          <ac:chgData name="Hugo Liabeuf" userId="a9defb0f-a7f4-478c-b61b-a76d3d661b31" providerId="ADAL" clId="{ABD2F74A-712B-4083-A42A-5FB1F7D04898}" dt="2024-06-04T16:04:53.225" v="12361"/>
          <ac:picMkLst>
            <pc:docMk/>
            <pc:sldMk cId="1510268443" sldId="2147480185"/>
            <ac:picMk id="35" creationId="{DDC487DB-DAE3-53F7-8B34-B754AD12CC3C}"/>
          </ac:picMkLst>
        </pc:picChg>
        <pc:picChg chg="add mod ord">
          <ac:chgData name="Hugo Liabeuf" userId="a9defb0f-a7f4-478c-b61b-a76d3d661b31" providerId="ADAL" clId="{ABD2F74A-712B-4083-A42A-5FB1F7D04898}" dt="2024-06-04T16:04:53.227" v="12366"/>
          <ac:picMkLst>
            <pc:docMk/>
            <pc:sldMk cId="1510268443" sldId="2147480185"/>
            <ac:picMk id="38" creationId="{2EDB1978-A6D0-87AB-080B-9A057EBD3260}"/>
          </ac:picMkLst>
        </pc:picChg>
        <pc:picChg chg="add mod">
          <ac:chgData name="Hugo Liabeuf" userId="a9defb0f-a7f4-478c-b61b-a76d3d661b31" providerId="ADAL" clId="{ABD2F74A-712B-4083-A42A-5FB1F7D04898}" dt="2024-06-04T16:04:53.228" v="12367"/>
          <ac:picMkLst>
            <pc:docMk/>
            <pc:sldMk cId="1510268443" sldId="2147480185"/>
            <ac:picMk id="39" creationId="{645D2D9B-06CF-4744-3C8A-A64F63AA3468}"/>
          </ac:picMkLst>
        </pc:picChg>
      </pc:sldChg>
      <pc:sldChg chg="addSp delSp modSp add mod ord modShow">
        <pc:chgData name="Hugo Liabeuf" userId="a9defb0f-a7f4-478c-b61b-a76d3d661b31" providerId="ADAL" clId="{ABD2F74A-712B-4083-A42A-5FB1F7D04898}" dt="2024-06-07T07:36:59.371" v="27613" actId="12789"/>
        <pc:sldMkLst>
          <pc:docMk/>
          <pc:sldMk cId="3234357912" sldId="2147480186"/>
        </pc:sldMkLst>
        <pc:spChg chg="add del mod modVis">
          <ac:chgData name="Hugo Liabeuf" userId="a9defb0f-a7f4-478c-b61b-a76d3d661b31" providerId="ADAL" clId="{ABD2F74A-712B-4083-A42A-5FB1F7D04898}" dt="2024-06-07T07:22:03.673" v="25915"/>
          <ac:spMkLst>
            <pc:docMk/>
            <pc:sldMk cId="3234357912" sldId="2147480186"/>
            <ac:spMk id="2" creationId="{E31ED18A-BC69-1E6E-CDF1-D58F02A3CBAF}"/>
          </ac:spMkLst>
        </pc:spChg>
        <pc:spChg chg="mod">
          <ac:chgData name="Hugo Liabeuf" userId="a9defb0f-a7f4-478c-b61b-a76d3d661b31" providerId="ADAL" clId="{ABD2F74A-712B-4083-A42A-5FB1F7D04898}" dt="2024-06-07T07:36:19.104" v="27549" actId="948"/>
          <ac:spMkLst>
            <pc:docMk/>
            <pc:sldMk cId="3234357912" sldId="2147480186"/>
            <ac:spMk id="5" creationId="{E615835C-187F-29A3-E7D3-B342DB852B08}"/>
          </ac:spMkLst>
        </pc:spChg>
        <pc:spChg chg="add del mod modVis">
          <ac:chgData name="Hugo Liabeuf" userId="a9defb0f-a7f4-478c-b61b-a76d3d661b31" providerId="ADAL" clId="{ABD2F74A-712B-4083-A42A-5FB1F7D04898}" dt="2024-06-07T07:22:04.820" v="25944"/>
          <ac:spMkLst>
            <pc:docMk/>
            <pc:sldMk cId="3234357912" sldId="2147480186"/>
            <ac:spMk id="6" creationId="{1F5D0FF5-3158-C752-BD84-4531F978AA56}"/>
          </ac:spMkLst>
        </pc:spChg>
        <pc:spChg chg="del">
          <ac:chgData name="Hugo Liabeuf" userId="a9defb0f-a7f4-478c-b61b-a76d3d661b31" providerId="ADAL" clId="{ABD2F74A-712B-4083-A42A-5FB1F7D04898}" dt="2024-06-04T15:50:38.708" v="11106" actId="478"/>
          <ac:spMkLst>
            <pc:docMk/>
            <pc:sldMk cId="3234357912" sldId="2147480186"/>
            <ac:spMk id="6" creationId="{490840E2-CADD-F4F0-7CD3-F5F90789BC0D}"/>
          </ac:spMkLst>
        </pc:spChg>
        <pc:spChg chg="add del mod modVis">
          <ac:chgData name="Hugo Liabeuf" userId="a9defb0f-a7f4-478c-b61b-a76d3d661b31" providerId="ADAL" clId="{ABD2F74A-712B-4083-A42A-5FB1F7D04898}" dt="2024-06-07T07:22:25.947" v="25996"/>
          <ac:spMkLst>
            <pc:docMk/>
            <pc:sldMk cId="3234357912" sldId="2147480186"/>
            <ac:spMk id="9" creationId="{06ED88E5-5F9B-19B3-F286-C1523E4D9E27}"/>
          </ac:spMkLst>
        </pc:spChg>
        <pc:spChg chg="add del mod modVis">
          <ac:chgData name="Hugo Liabeuf" userId="a9defb0f-a7f4-478c-b61b-a76d3d661b31" providerId="ADAL" clId="{ABD2F74A-712B-4083-A42A-5FB1F7D04898}" dt="2024-06-04T15:51:09.813" v="11150"/>
          <ac:spMkLst>
            <pc:docMk/>
            <pc:sldMk cId="3234357912" sldId="2147480186"/>
            <ac:spMk id="9" creationId="{1D3E5722-06DF-EE0B-DB06-4CE348668354}"/>
          </ac:spMkLst>
        </pc:spChg>
        <pc:spChg chg="add del mod modVis">
          <ac:chgData name="Hugo Liabeuf" userId="a9defb0f-a7f4-478c-b61b-a76d3d661b31" providerId="ADAL" clId="{ABD2F74A-712B-4083-A42A-5FB1F7D04898}" dt="2024-06-07T07:34:37.216" v="26661"/>
          <ac:spMkLst>
            <pc:docMk/>
            <pc:sldMk cId="3234357912" sldId="2147480186"/>
            <ac:spMk id="10" creationId="{7F781A59-94E4-D980-CA5F-2ABB8E5362C8}"/>
          </ac:spMkLst>
        </pc:spChg>
        <pc:spChg chg="add del mod modVis">
          <ac:chgData name="Hugo Liabeuf" userId="a9defb0f-a7f4-478c-b61b-a76d3d661b31" providerId="ADAL" clId="{ABD2F74A-712B-4083-A42A-5FB1F7D04898}" dt="2024-06-04T15:51:15.713" v="11189"/>
          <ac:spMkLst>
            <pc:docMk/>
            <pc:sldMk cId="3234357912" sldId="2147480186"/>
            <ac:spMk id="10" creationId="{B0399FE3-1022-5201-822A-077831A9489A}"/>
          </ac:spMkLst>
        </pc:spChg>
        <pc:spChg chg="add del mod modVis">
          <ac:chgData name="Hugo Liabeuf" userId="a9defb0f-a7f4-478c-b61b-a76d3d661b31" providerId="ADAL" clId="{ABD2F74A-712B-4083-A42A-5FB1F7D04898}" dt="2024-06-07T07:34:41.784" v="26714"/>
          <ac:spMkLst>
            <pc:docMk/>
            <pc:sldMk cId="3234357912" sldId="2147480186"/>
            <ac:spMk id="11" creationId="{6414C7CB-3AD7-5480-02C0-5DB2B4DBDA68}"/>
          </ac:spMkLst>
        </pc:spChg>
        <pc:spChg chg="add del mod modVis">
          <ac:chgData name="Hugo Liabeuf" userId="a9defb0f-a7f4-478c-b61b-a76d3d661b31" providerId="ADAL" clId="{ABD2F74A-712B-4083-A42A-5FB1F7D04898}" dt="2024-06-04T15:51:18.415" v="11225"/>
          <ac:spMkLst>
            <pc:docMk/>
            <pc:sldMk cId="3234357912" sldId="2147480186"/>
            <ac:spMk id="11" creationId="{F09D4716-E122-CFE3-7D29-5C1A2B7E6F7A}"/>
          </ac:spMkLst>
        </pc:spChg>
        <pc:spChg chg="add del mod modVis">
          <ac:chgData name="Hugo Liabeuf" userId="a9defb0f-a7f4-478c-b61b-a76d3d661b31" providerId="ADAL" clId="{ABD2F74A-712B-4083-A42A-5FB1F7D04898}" dt="2024-06-04T15:51:20.796" v="11262"/>
          <ac:spMkLst>
            <pc:docMk/>
            <pc:sldMk cId="3234357912" sldId="2147480186"/>
            <ac:spMk id="12" creationId="{2A19C68A-9343-A78B-40F9-1C35ACC6F107}"/>
          </ac:spMkLst>
        </pc:spChg>
        <pc:spChg chg="add del mod modVis">
          <ac:chgData name="Hugo Liabeuf" userId="a9defb0f-a7f4-478c-b61b-a76d3d661b31" providerId="ADAL" clId="{ABD2F74A-712B-4083-A42A-5FB1F7D04898}" dt="2024-06-07T07:34:48.471" v="26772"/>
          <ac:spMkLst>
            <pc:docMk/>
            <pc:sldMk cId="3234357912" sldId="2147480186"/>
            <ac:spMk id="12" creationId="{2B73A098-335A-61DA-F43E-B7E318D7639D}"/>
          </ac:spMkLst>
        </pc:spChg>
        <pc:spChg chg="add del mod modVis">
          <ac:chgData name="Hugo Liabeuf" userId="a9defb0f-a7f4-478c-b61b-a76d3d661b31" providerId="ADAL" clId="{ABD2F74A-712B-4083-A42A-5FB1F7D04898}" dt="2024-06-04T15:51:22.773" v="11294"/>
          <ac:spMkLst>
            <pc:docMk/>
            <pc:sldMk cId="3234357912" sldId="2147480186"/>
            <ac:spMk id="13" creationId="{18544EBB-E82F-544F-034D-56E8E7482095}"/>
          </ac:spMkLst>
        </pc:spChg>
        <pc:spChg chg="add del mod modVis">
          <ac:chgData name="Hugo Liabeuf" userId="a9defb0f-a7f4-478c-b61b-a76d3d661b31" providerId="ADAL" clId="{ABD2F74A-712B-4083-A42A-5FB1F7D04898}" dt="2024-06-07T07:34:51.383" v="26816"/>
          <ac:spMkLst>
            <pc:docMk/>
            <pc:sldMk cId="3234357912" sldId="2147480186"/>
            <ac:spMk id="13" creationId="{47A810AA-3A2B-EE0B-90D2-B1D95DFAF391}"/>
          </ac:spMkLst>
        </pc:spChg>
        <pc:spChg chg="add del mod modVis">
          <ac:chgData name="Hugo Liabeuf" userId="a9defb0f-a7f4-478c-b61b-a76d3d661b31" providerId="ADAL" clId="{ABD2F74A-712B-4083-A42A-5FB1F7D04898}" dt="2024-06-04T15:51:24.930" v="11323"/>
          <ac:spMkLst>
            <pc:docMk/>
            <pc:sldMk cId="3234357912" sldId="2147480186"/>
            <ac:spMk id="14" creationId="{3321C0CC-67D9-4057-36D6-4623A0AE62BC}"/>
          </ac:spMkLst>
        </pc:spChg>
        <pc:spChg chg="add del mod modVis">
          <ac:chgData name="Hugo Liabeuf" userId="a9defb0f-a7f4-478c-b61b-a76d3d661b31" providerId="ADAL" clId="{ABD2F74A-712B-4083-A42A-5FB1F7D04898}" dt="2024-06-07T07:35:08.442" v="26860"/>
          <ac:spMkLst>
            <pc:docMk/>
            <pc:sldMk cId="3234357912" sldId="2147480186"/>
            <ac:spMk id="14" creationId="{F43B7279-C6C2-4389-AFAA-A8B826AB1474}"/>
          </ac:spMkLst>
        </pc:spChg>
        <pc:spChg chg="add del mod modVis">
          <ac:chgData name="Hugo Liabeuf" userId="a9defb0f-a7f4-478c-b61b-a76d3d661b31" providerId="ADAL" clId="{ABD2F74A-712B-4083-A42A-5FB1F7D04898}" dt="2024-06-07T07:35:09.723" v="26893"/>
          <ac:spMkLst>
            <pc:docMk/>
            <pc:sldMk cId="3234357912" sldId="2147480186"/>
            <ac:spMk id="15" creationId="{824A2993-B0F0-989B-5796-5D364608CA87}"/>
          </ac:spMkLst>
        </pc:spChg>
        <pc:spChg chg="add del mod modVis">
          <ac:chgData name="Hugo Liabeuf" userId="a9defb0f-a7f4-478c-b61b-a76d3d661b31" providerId="ADAL" clId="{ABD2F74A-712B-4083-A42A-5FB1F7D04898}" dt="2024-06-07T07:35:21.742" v="26924"/>
          <ac:spMkLst>
            <pc:docMk/>
            <pc:sldMk cId="3234357912" sldId="2147480186"/>
            <ac:spMk id="16" creationId="{C623F1A4-63E3-90C1-3261-C6137BFB3359}"/>
          </ac:spMkLst>
        </pc:spChg>
        <pc:spChg chg="add del mod modVis">
          <ac:chgData name="Hugo Liabeuf" userId="a9defb0f-a7f4-478c-b61b-a76d3d661b31" providerId="ADAL" clId="{ABD2F74A-712B-4083-A42A-5FB1F7D04898}" dt="2024-06-07T07:35:23.378" v="26961"/>
          <ac:spMkLst>
            <pc:docMk/>
            <pc:sldMk cId="3234357912" sldId="2147480186"/>
            <ac:spMk id="17" creationId="{BB373376-2A00-0299-EC6D-926141627B34}"/>
          </ac:spMkLst>
        </pc:spChg>
        <pc:spChg chg="add del mod modVis">
          <ac:chgData name="Hugo Liabeuf" userId="a9defb0f-a7f4-478c-b61b-a76d3d661b31" providerId="ADAL" clId="{ABD2F74A-712B-4083-A42A-5FB1F7D04898}" dt="2024-06-07T07:35:24.260" v="26992"/>
          <ac:spMkLst>
            <pc:docMk/>
            <pc:sldMk cId="3234357912" sldId="2147480186"/>
            <ac:spMk id="18" creationId="{A285CC09-0BED-2C31-4448-EDDA6FF62ADA}"/>
          </ac:spMkLst>
        </pc:spChg>
        <pc:spChg chg="add del mod modVis">
          <ac:chgData name="Hugo Liabeuf" userId="a9defb0f-a7f4-478c-b61b-a76d3d661b31" providerId="ADAL" clId="{ABD2F74A-712B-4083-A42A-5FB1F7D04898}" dt="2024-06-07T07:35:26.583" v="27022"/>
          <ac:spMkLst>
            <pc:docMk/>
            <pc:sldMk cId="3234357912" sldId="2147480186"/>
            <ac:spMk id="19" creationId="{40F5A2A8-011B-3F62-37E8-C1B5DDA10650}"/>
          </ac:spMkLst>
        </pc:spChg>
        <pc:spChg chg="add del mod modVis">
          <ac:chgData name="Hugo Liabeuf" userId="a9defb0f-a7f4-478c-b61b-a76d3d661b31" providerId="ADAL" clId="{ABD2F74A-712B-4083-A42A-5FB1F7D04898}" dt="2024-06-07T07:35:27.898" v="27050"/>
          <ac:spMkLst>
            <pc:docMk/>
            <pc:sldMk cId="3234357912" sldId="2147480186"/>
            <ac:spMk id="20" creationId="{2D41941D-898E-29A1-89E2-41E1CE79AFEA}"/>
          </ac:spMkLst>
        </pc:spChg>
        <pc:spChg chg="add del mod modVis">
          <ac:chgData name="Hugo Liabeuf" userId="a9defb0f-a7f4-478c-b61b-a76d3d661b31" providerId="ADAL" clId="{ABD2F74A-712B-4083-A42A-5FB1F7D04898}" dt="2024-06-07T07:35:36.907" v="27079"/>
          <ac:spMkLst>
            <pc:docMk/>
            <pc:sldMk cId="3234357912" sldId="2147480186"/>
            <ac:spMk id="21" creationId="{121806EA-B72C-45C6-7A4A-DED44E57D38B}"/>
          </ac:spMkLst>
        </pc:spChg>
        <pc:spChg chg="add del mod modVis">
          <ac:chgData name="Hugo Liabeuf" userId="a9defb0f-a7f4-478c-b61b-a76d3d661b31" providerId="ADAL" clId="{ABD2F74A-712B-4083-A42A-5FB1F7D04898}" dt="2024-06-07T07:35:38.140" v="27110"/>
          <ac:spMkLst>
            <pc:docMk/>
            <pc:sldMk cId="3234357912" sldId="2147480186"/>
            <ac:spMk id="22" creationId="{827BAC78-5CE8-CEAE-4FF6-F1114F1FD2B6}"/>
          </ac:spMkLst>
        </pc:spChg>
        <pc:spChg chg="add del mod modVis">
          <ac:chgData name="Hugo Liabeuf" userId="a9defb0f-a7f4-478c-b61b-a76d3d661b31" providerId="ADAL" clId="{ABD2F74A-712B-4083-A42A-5FB1F7D04898}" dt="2024-06-07T07:35:40.684" v="27138"/>
          <ac:spMkLst>
            <pc:docMk/>
            <pc:sldMk cId="3234357912" sldId="2147480186"/>
            <ac:spMk id="23" creationId="{1B1D2752-3353-2F18-EADB-B01A6456E67F}"/>
          </ac:spMkLst>
        </pc:spChg>
        <pc:spChg chg="add del mod modVis">
          <ac:chgData name="Hugo Liabeuf" userId="a9defb0f-a7f4-478c-b61b-a76d3d661b31" providerId="ADAL" clId="{ABD2F74A-712B-4083-A42A-5FB1F7D04898}" dt="2024-06-07T07:35:50.055" v="27213"/>
          <ac:spMkLst>
            <pc:docMk/>
            <pc:sldMk cId="3234357912" sldId="2147480186"/>
            <ac:spMk id="24" creationId="{72C90EE9-022D-1DA5-B910-5C9AC3895E41}"/>
          </ac:spMkLst>
        </pc:spChg>
        <pc:spChg chg="add del mod modVis">
          <ac:chgData name="Hugo Liabeuf" userId="a9defb0f-a7f4-478c-b61b-a76d3d661b31" providerId="ADAL" clId="{ABD2F74A-712B-4083-A42A-5FB1F7D04898}" dt="2024-06-07T07:35:51.313" v="27246"/>
          <ac:spMkLst>
            <pc:docMk/>
            <pc:sldMk cId="3234357912" sldId="2147480186"/>
            <ac:spMk id="25" creationId="{0ABCE28E-308B-5756-A378-5DD71208F203}"/>
          </ac:spMkLst>
        </pc:spChg>
        <pc:spChg chg="add del mod modVis">
          <ac:chgData name="Hugo Liabeuf" userId="a9defb0f-a7f4-478c-b61b-a76d3d661b31" providerId="ADAL" clId="{ABD2F74A-712B-4083-A42A-5FB1F7D04898}" dt="2024-06-07T07:35:52.205" v="27274"/>
          <ac:spMkLst>
            <pc:docMk/>
            <pc:sldMk cId="3234357912" sldId="2147480186"/>
            <ac:spMk id="26" creationId="{9904792B-EA63-644B-7220-C12BB1596C9C}"/>
          </ac:spMkLst>
        </pc:spChg>
        <pc:spChg chg="add del mod modVis">
          <ac:chgData name="Hugo Liabeuf" userId="a9defb0f-a7f4-478c-b61b-a76d3d661b31" providerId="ADAL" clId="{ABD2F74A-712B-4083-A42A-5FB1F7D04898}" dt="2024-06-07T07:36:01.390" v="27302"/>
          <ac:spMkLst>
            <pc:docMk/>
            <pc:sldMk cId="3234357912" sldId="2147480186"/>
            <ac:spMk id="27" creationId="{3D787C2A-CB00-B5AA-29CF-0617B727C339}"/>
          </ac:spMkLst>
        </pc:spChg>
        <pc:spChg chg="add del mod modVis">
          <ac:chgData name="Hugo Liabeuf" userId="a9defb0f-a7f4-478c-b61b-a76d3d661b31" providerId="ADAL" clId="{ABD2F74A-712B-4083-A42A-5FB1F7D04898}" dt="2024-06-07T07:36:04.908" v="27336"/>
          <ac:spMkLst>
            <pc:docMk/>
            <pc:sldMk cId="3234357912" sldId="2147480186"/>
            <ac:spMk id="28" creationId="{12F26AFB-2F45-3A5F-EF62-92F18E72566C}"/>
          </ac:spMkLst>
        </pc:spChg>
        <pc:spChg chg="add del mod modVis">
          <ac:chgData name="Hugo Liabeuf" userId="a9defb0f-a7f4-478c-b61b-a76d3d661b31" providerId="ADAL" clId="{ABD2F74A-712B-4083-A42A-5FB1F7D04898}" dt="2024-06-07T07:36:06.644" v="27378"/>
          <ac:spMkLst>
            <pc:docMk/>
            <pc:sldMk cId="3234357912" sldId="2147480186"/>
            <ac:spMk id="29" creationId="{7B723FD7-459C-63EC-BC1D-39E384CD1D9A}"/>
          </ac:spMkLst>
        </pc:spChg>
        <pc:spChg chg="add del mod modVis">
          <ac:chgData name="Hugo Liabeuf" userId="a9defb0f-a7f4-478c-b61b-a76d3d661b31" providerId="ADAL" clId="{ABD2F74A-712B-4083-A42A-5FB1F7D04898}" dt="2024-06-07T07:36:11.246" v="27445"/>
          <ac:spMkLst>
            <pc:docMk/>
            <pc:sldMk cId="3234357912" sldId="2147480186"/>
            <ac:spMk id="30" creationId="{69A2701E-C76E-F585-2327-0F9DD5BE169E}"/>
          </ac:spMkLst>
        </pc:spChg>
        <pc:spChg chg="add del mod modVis">
          <ac:chgData name="Hugo Liabeuf" userId="a9defb0f-a7f4-478c-b61b-a76d3d661b31" providerId="ADAL" clId="{ABD2F74A-712B-4083-A42A-5FB1F7D04898}" dt="2024-06-07T07:36:13.684" v="27490"/>
          <ac:spMkLst>
            <pc:docMk/>
            <pc:sldMk cId="3234357912" sldId="2147480186"/>
            <ac:spMk id="31" creationId="{8DD33AB3-A0CD-DE38-44F5-E5F1FA1C4FAD}"/>
          </ac:spMkLst>
        </pc:spChg>
        <pc:spChg chg="add del mod modVis">
          <ac:chgData name="Hugo Liabeuf" userId="a9defb0f-a7f4-478c-b61b-a76d3d661b31" providerId="ADAL" clId="{ABD2F74A-712B-4083-A42A-5FB1F7D04898}" dt="2024-06-07T07:36:15.381" v="27522"/>
          <ac:spMkLst>
            <pc:docMk/>
            <pc:sldMk cId="3234357912" sldId="2147480186"/>
            <ac:spMk id="32" creationId="{75FEB41B-66FB-0F9E-A899-F8E051917672}"/>
          </ac:spMkLst>
        </pc:spChg>
        <pc:spChg chg="add del mod modVis">
          <ac:chgData name="Hugo Liabeuf" userId="a9defb0f-a7f4-478c-b61b-a76d3d661b31" providerId="ADAL" clId="{ABD2F74A-712B-4083-A42A-5FB1F7D04898}" dt="2024-06-07T07:36:19.166" v="27573"/>
          <ac:spMkLst>
            <pc:docMk/>
            <pc:sldMk cId="3234357912" sldId="2147480186"/>
            <ac:spMk id="33" creationId="{FDF68932-736B-7BF3-D77F-00F06C38F1EF}"/>
          </ac:spMkLst>
        </pc:spChg>
        <pc:spChg chg="add mod">
          <ac:chgData name="Hugo Liabeuf" userId="a9defb0f-a7f4-478c-b61b-a76d3d661b31" providerId="ADAL" clId="{ABD2F74A-712B-4083-A42A-5FB1F7D04898}" dt="2024-06-07T07:36:59.371" v="27613" actId="12789"/>
          <ac:spMkLst>
            <pc:docMk/>
            <pc:sldMk cId="3234357912" sldId="2147480186"/>
            <ac:spMk id="34" creationId="{0E03168B-7F8F-44D1-879D-35E633C51E4D}"/>
          </ac:spMkLst>
        </pc:spChg>
        <pc:graphicFrameChg chg="mod">
          <ac:chgData name="Hugo Liabeuf" userId="a9defb0f-a7f4-478c-b61b-a76d3d661b31" providerId="ADAL" clId="{ABD2F74A-712B-4083-A42A-5FB1F7D04898}" dt="2024-06-07T07:36:19.166" v="27575"/>
          <ac:graphicFrameMkLst>
            <pc:docMk/>
            <pc:sldMk cId="3234357912" sldId="2147480186"/>
            <ac:graphicFrameMk id="7" creationId="{57ABD133-26C5-21C8-4B91-2A485C09FA0C}"/>
          </ac:graphicFrameMkLst>
        </pc:graphicFrameChg>
        <pc:picChg chg="add mod modCrop">
          <ac:chgData name="Hugo Liabeuf" userId="a9defb0f-a7f4-478c-b61b-a76d3d661b31" providerId="ADAL" clId="{ABD2F74A-712B-4083-A42A-5FB1F7D04898}" dt="2024-06-07T07:36:59.371" v="27613" actId="12789"/>
          <ac:picMkLst>
            <pc:docMk/>
            <pc:sldMk cId="3234357912" sldId="2147480186"/>
            <ac:picMk id="8" creationId="{5F714CDF-B494-FBD1-3653-DE1C46C38840}"/>
          </ac:picMkLst>
        </pc:picChg>
      </pc:sldChg>
      <pc:sldChg chg="addSp delSp modSp add del mod ord">
        <pc:chgData name="Hugo Liabeuf" userId="a9defb0f-a7f4-478c-b61b-a76d3d661b31" providerId="ADAL" clId="{ABD2F74A-712B-4083-A42A-5FB1F7D04898}" dt="2024-06-07T07:39:54.351" v="28024" actId="47"/>
        <pc:sldMkLst>
          <pc:docMk/>
          <pc:sldMk cId="3993872088" sldId="2147480187"/>
        </pc:sldMkLst>
        <pc:spChg chg="add del mod modVis">
          <ac:chgData name="Hugo Liabeuf" userId="a9defb0f-a7f4-478c-b61b-a76d3d661b31" providerId="ADAL" clId="{ABD2F74A-712B-4083-A42A-5FB1F7D04898}" dt="2024-06-04T15:51:57.620" v="11375"/>
          <ac:spMkLst>
            <pc:docMk/>
            <pc:sldMk cId="3993872088" sldId="2147480187"/>
            <ac:spMk id="2" creationId="{5C194DEF-3AF1-884E-778F-696E2302B68D}"/>
          </ac:spMkLst>
        </pc:spChg>
        <pc:spChg chg="del">
          <ac:chgData name="Hugo Liabeuf" userId="a9defb0f-a7f4-478c-b61b-a76d3d661b31" providerId="ADAL" clId="{ABD2F74A-712B-4083-A42A-5FB1F7D04898}" dt="2024-06-06T16:29:30.728" v="23637" actId="478"/>
          <ac:spMkLst>
            <pc:docMk/>
            <pc:sldMk cId="3993872088" sldId="2147480187"/>
            <ac:spMk id="2" creationId="{DBF7BAED-4FFA-5776-27FA-4CAB38149DC1}"/>
          </ac:spMkLst>
        </pc:spChg>
        <pc:spChg chg="mod">
          <ac:chgData name="Hugo Liabeuf" userId="a9defb0f-a7f4-478c-b61b-a76d3d661b31" providerId="ADAL" clId="{ABD2F74A-712B-4083-A42A-5FB1F7D04898}" dt="2024-06-04T15:52:06.676" v="11466" actId="948"/>
          <ac:spMkLst>
            <pc:docMk/>
            <pc:sldMk cId="3993872088" sldId="2147480187"/>
            <ac:spMk id="5" creationId="{E615835C-187F-29A3-E7D3-B342DB852B08}"/>
          </ac:spMkLst>
        </pc:spChg>
        <pc:spChg chg="add del mod modVis">
          <ac:chgData name="Hugo Liabeuf" userId="a9defb0f-a7f4-478c-b61b-a76d3d661b31" providerId="ADAL" clId="{ABD2F74A-712B-4083-A42A-5FB1F7D04898}" dt="2024-06-04T15:51:59.302" v="11406"/>
          <ac:spMkLst>
            <pc:docMk/>
            <pc:sldMk cId="3993872088" sldId="2147480187"/>
            <ac:spMk id="6" creationId="{54A58060-7901-2C01-EE16-84A339C23DC6}"/>
          </ac:spMkLst>
        </pc:spChg>
        <pc:spChg chg="add del mod modVis">
          <ac:chgData name="Hugo Liabeuf" userId="a9defb0f-a7f4-478c-b61b-a76d3d661b31" providerId="ADAL" clId="{ABD2F74A-712B-4083-A42A-5FB1F7D04898}" dt="2024-06-04T15:52:02.921" v="11445"/>
          <ac:spMkLst>
            <pc:docMk/>
            <pc:sldMk cId="3993872088" sldId="2147480187"/>
            <ac:spMk id="9" creationId="{8FBDBB64-8831-E4FA-DBC1-123F5E6D745C}"/>
          </ac:spMkLst>
        </pc:spChg>
        <pc:spChg chg="add del mod modVis">
          <ac:chgData name="Hugo Liabeuf" userId="a9defb0f-a7f4-478c-b61b-a76d3d661b31" providerId="ADAL" clId="{ABD2F74A-712B-4083-A42A-5FB1F7D04898}" dt="2024-06-04T15:52:06.705" v="11490"/>
          <ac:spMkLst>
            <pc:docMk/>
            <pc:sldMk cId="3993872088" sldId="2147480187"/>
            <ac:spMk id="10" creationId="{35DD309B-7B29-5FC5-C725-732FBAA83A38}"/>
          </ac:spMkLst>
        </pc:spChg>
        <pc:graphicFrameChg chg="mod">
          <ac:chgData name="Hugo Liabeuf" userId="a9defb0f-a7f4-478c-b61b-a76d3d661b31" providerId="ADAL" clId="{ABD2F74A-712B-4083-A42A-5FB1F7D04898}" dt="2024-06-04T15:52:06.705" v="11492"/>
          <ac:graphicFrameMkLst>
            <pc:docMk/>
            <pc:sldMk cId="3993872088" sldId="2147480187"/>
            <ac:graphicFrameMk id="7" creationId="{57ABD133-26C5-21C8-4B91-2A485C09FA0C}"/>
          </ac:graphicFrameMkLst>
        </pc:graphicFrameChg>
        <pc:picChg chg="del">
          <ac:chgData name="Hugo Liabeuf" userId="a9defb0f-a7f4-478c-b61b-a76d3d661b31" providerId="ADAL" clId="{ABD2F74A-712B-4083-A42A-5FB1F7D04898}" dt="2024-06-04T15:52:07.852" v="11493" actId="478"/>
          <ac:picMkLst>
            <pc:docMk/>
            <pc:sldMk cId="3993872088" sldId="2147480187"/>
            <ac:picMk id="8" creationId="{5F714CDF-B494-FBD1-3653-DE1C46C38840}"/>
          </ac:picMkLst>
        </pc:picChg>
        <pc:picChg chg="add mod">
          <ac:chgData name="Hugo Liabeuf" userId="a9defb0f-a7f4-478c-b61b-a76d3d661b31" providerId="ADAL" clId="{ABD2F74A-712B-4083-A42A-5FB1F7D04898}" dt="2024-06-04T15:52:37.932" v="11498" actId="14861"/>
          <ac:picMkLst>
            <pc:docMk/>
            <pc:sldMk cId="3993872088" sldId="2147480187"/>
            <ac:picMk id="12" creationId="{C7D6F59A-98EF-961E-B58C-BF4174057270}"/>
          </ac:picMkLst>
        </pc:picChg>
      </pc:sldChg>
      <pc:sldChg chg="addSp delSp modSp add mod ord">
        <pc:chgData name="Hugo Liabeuf" userId="a9defb0f-a7f4-478c-b61b-a76d3d661b31" providerId="ADAL" clId="{ABD2F74A-712B-4083-A42A-5FB1F7D04898}" dt="2024-06-05T15:17:16.565" v="23412" actId="20577"/>
        <pc:sldMkLst>
          <pc:docMk/>
          <pc:sldMk cId="1683357367" sldId="2147480188"/>
        </pc:sldMkLst>
        <pc:spChg chg="add del mod modVis">
          <ac:chgData name="Hugo Liabeuf" userId="a9defb0f-a7f4-478c-b61b-a76d3d661b31" providerId="ADAL" clId="{ABD2F74A-712B-4083-A42A-5FB1F7D04898}" dt="2024-06-04T15:53:03.829" v="11543"/>
          <ac:spMkLst>
            <pc:docMk/>
            <pc:sldMk cId="1683357367" sldId="2147480188"/>
            <ac:spMk id="2" creationId="{BAF44162-A1BE-BCCE-CE9D-431E123A0CB6}"/>
          </ac:spMkLst>
        </pc:spChg>
        <pc:spChg chg="add mod">
          <ac:chgData name="Hugo Liabeuf" userId="a9defb0f-a7f4-478c-b61b-a76d3d661b31" providerId="ADAL" clId="{ABD2F74A-712B-4083-A42A-5FB1F7D04898}" dt="2024-06-05T15:17:16.565" v="23412" actId="20577"/>
          <ac:spMkLst>
            <pc:docMk/>
            <pc:sldMk cId="1683357367" sldId="2147480188"/>
            <ac:spMk id="2" creationId="{F6FEF900-EA87-57B2-801F-C2471E97217A}"/>
          </ac:spMkLst>
        </pc:spChg>
        <pc:spChg chg="mod">
          <ac:chgData name="Hugo Liabeuf" userId="a9defb0f-a7f4-478c-b61b-a76d3d661b31" providerId="ADAL" clId="{ABD2F74A-712B-4083-A42A-5FB1F7D04898}" dt="2024-06-04T15:53:03.789" v="11519" actId="948"/>
          <ac:spMkLst>
            <pc:docMk/>
            <pc:sldMk cId="1683357367" sldId="2147480188"/>
            <ac:spMk id="5" creationId="{E615835C-187F-29A3-E7D3-B342DB852B08}"/>
          </ac:spMkLst>
        </pc:spChg>
        <pc:graphicFrameChg chg="mod">
          <ac:chgData name="Hugo Liabeuf" userId="a9defb0f-a7f4-478c-b61b-a76d3d661b31" providerId="ADAL" clId="{ABD2F74A-712B-4083-A42A-5FB1F7D04898}" dt="2024-06-04T15:53:03.829" v="11545"/>
          <ac:graphicFrameMkLst>
            <pc:docMk/>
            <pc:sldMk cId="1683357367" sldId="2147480188"/>
            <ac:graphicFrameMk id="7" creationId="{57ABD133-26C5-21C8-4B91-2A485C09FA0C}"/>
          </ac:graphicFrameMkLst>
        </pc:graphicFrameChg>
      </pc:sldChg>
      <pc:sldChg chg="delSp modSp add mod">
        <pc:chgData name="Hugo Liabeuf" userId="a9defb0f-a7f4-478c-b61b-a76d3d661b31" providerId="ADAL" clId="{ABD2F74A-712B-4083-A42A-5FB1F7D04898}" dt="2024-06-07T07:46:46.231" v="28353" actId="20577"/>
        <pc:sldMkLst>
          <pc:docMk/>
          <pc:sldMk cId="1462849642" sldId="2147480189"/>
        </pc:sldMkLst>
        <pc:spChg chg="del">
          <ac:chgData name="Hugo Liabeuf" userId="a9defb0f-a7f4-478c-b61b-a76d3d661b31" providerId="ADAL" clId="{ABD2F74A-712B-4083-A42A-5FB1F7D04898}" dt="2024-06-06T16:23:32.364" v="23430" actId="478"/>
          <ac:spMkLst>
            <pc:docMk/>
            <pc:sldMk cId="1462849642" sldId="2147480189"/>
            <ac:spMk id="2" creationId="{F6FEF900-EA87-57B2-801F-C2471E97217A}"/>
          </ac:spMkLst>
        </pc:spChg>
        <pc:spChg chg="mod">
          <ac:chgData name="Hugo Liabeuf" userId="a9defb0f-a7f4-478c-b61b-a76d3d661b31" providerId="ADAL" clId="{ABD2F74A-712B-4083-A42A-5FB1F7D04898}" dt="2024-06-06T16:23:36.983" v="23433" actId="948"/>
          <ac:spMkLst>
            <pc:docMk/>
            <pc:sldMk cId="1462849642" sldId="2147480189"/>
            <ac:spMk id="5" creationId="{E615835C-187F-29A3-E7D3-B342DB852B08}"/>
          </ac:spMkLst>
        </pc:spChg>
        <pc:spChg chg="mod">
          <ac:chgData name="Hugo Liabeuf" userId="a9defb0f-a7f4-478c-b61b-a76d3d661b31" providerId="ADAL" clId="{ABD2F74A-712B-4083-A42A-5FB1F7D04898}" dt="2024-06-07T07:46:46.231" v="28353" actId="20577"/>
          <ac:spMkLst>
            <pc:docMk/>
            <pc:sldMk cId="1462849642" sldId="2147480189"/>
            <ac:spMk id="6" creationId="{490840E2-CADD-F4F0-7CD3-F5F90789BC0D}"/>
          </ac:spMkLst>
        </pc:spChg>
        <pc:spChg chg="del">
          <ac:chgData name="Hugo Liabeuf" userId="a9defb0f-a7f4-478c-b61b-a76d3d661b31" providerId="ADAL" clId="{ABD2F74A-712B-4083-A42A-5FB1F7D04898}" dt="2024-06-06T16:23:34.299" v="23431" actId="478"/>
          <ac:spMkLst>
            <pc:docMk/>
            <pc:sldMk cId="1462849642" sldId="2147480189"/>
            <ac:spMk id="8" creationId="{7DCDC054-ACBA-8915-D3EF-EC09722A6025}"/>
          </ac:spMkLst>
        </pc:spChg>
        <pc:graphicFrameChg chg="mod">
          <ac:chgData name="Hugo Liabeuf" userId="a9defb0f-a7f4-478c-b61b-a76d3d661b31" providerId="ADAL" clId="{ABD2F74A-712B-4083-A42A-5FB1F7D04898}" dt="2024-06-06T16:23:37.006" v="23437"/>
          <ac:graphicFrameMkLst>
            <pc:docMk/>
            <pc:sldMk cId="1462849642" sldId="2147480189"/>
            <ac:graphicFrameMk id="7" creationId="{57ABD133-26C5-21C8-4B91-2A485C09FA0C}"/>
          </ac:graphicFrameMkLst>
        </pc:graphicFrameChg>
      </pc:sldChg>
      <pc:sldChg chg="addSp delSp modSp add mod">
        <pc:chgData name="Hugo Liabeuf" userId="a9defb0f-a7f4-478c-b61b-a76d3d661b31" providerId="ADAL" clId="{ABD2F74A-712B-4083-A42A-5FB1F7D04898}" dt="2024-06-07T07:49:06.616" v="29446" actId="14861"/>
        <pc:sldMkLst>
          <pc:docMk/>
          <pc:sldMk cId="2158746606" sldId="2147480190"/>
        </pc:sldMkLst>
        <pc:spChg chg="add del mod modVis">
          <ac:chgData name="Hugo Liabeuf" userId="a9defb0f-a7f4-478c-b61b-a76d3d661b31" providerId="ADAL" clId="{ABD2F74A-712B-4083-A42A-5FB1F7D04898}" dt="2024-06-06T16:23:42.539" v="23483"/>
          <ac:spMkLst>
            <pc:docMk/>
            <pc:sldMk cId="2158746606" sldId="2147480190"/>
            <ac:spMk id="2" creationId="{645774DD-5366-6E60-DFCB-E3936995DAA4}"/>
          </ac:spMkLst>
        </pc:spChg>
        <pc:spChg chg="mod">
          <ac:chgData name="Hugo Liabeuf" userId="a9defb0f-a7f4-478c-b61b-a76d3d661b31" providerId="ADAL" clId="{ABD2F74A-712B-4083-A42A-5FB1F7D04898}" dt="2024-06-07T07:48:58.967" v="29415" actId="948"/>
          <ac:spMkLst>
            <pc:docMk/>
            <pc:sldMk cId="2158746606" sldId="2147480190"/>
            <ac:spMk id="5" creationId="{E615835C-187F-29A3-E7D3-B342DB852B08}"/>
          </ac:spMkLst>
        </pc:spChg>
        <pc:spChg chg="del">
          <ac:chgData name="Hugo Liabeuf" userId="a9defb0f-a7f4-478c-b61b-a76d3d661b31" providerId="ADAL" clId="{ABD2F74A-712B-4083-A42A-5FB1F7D04898}" dt="2024-06-07T07:47:14.001" v="28355" actId="478"/>
          <ac:spMkLst>
            <pc:docMk/>
            <pc:sldMk cId="2158746606" sldId="2147480190"/>
            <ac:spMk id="6" creationId="{490840E2-CADD-F4F0-7CD3-F5F90789BC0D}"/>
          </ac:spMkLst>
        </pc:spChg>
        <pc:spChg chg="add del mod modVis">
          <ac:chgData name="Hugo Liabeuf" userId="a9defb0f-a7f4-478c-b61b-a76d3d661b31" providerId="ADAL" clId="{ABD2F74A-712B-4083-A42A-5FB1F7D04898}" dt="2024-06-07T07:47:22.101" v="28384"/>
          <ac:spMkLst>
            <pc:docMk/>
            <pc:sldMk cId="2158746606" sldId="2147480190"/>
            <ac:spMk id="10" creationId="{6466A357-0FAA-1A46-432B-6CFEF2F362A9}"/>
          </ac:spMkLst>
        </pc:spChg>
        <pc:spChg chg="add del mod modVis">
          <ac:chgData name="Hugo Liabeuf" userId="a9defb0f-a7f4-478c-b61b-a76d3d661b31" providerId="ADAL" clId="{ABD2F74A-712B-4083-A42A-5FB1F7D04898}" dt="2024-06-07T07:47:29.775" v="28436"/>
          <ac:spMkLst>
            <pc:docMk/>
            <pc:sldMk cId="2158746606" sldId="2147480190"/>
            <ac:spMk id="11" creationId="{1C3CCDB3-CBE9-1773-F377-BF2B9CCBE577}"/>
          </ac:spMkLst>
        </pc:spChg>
        <pc:spChg chg="add del mod modVis">
          <ac:chgData name="Hugo Liabeuf" userId="a9defb0f-a7f4-478c-b61b-a76d3d661b31" providerId="ADAL" clId="{ABD2F74A-712B-4083-A42A-5FB1F7D04898}" dt="2024-06-07T07:47:31.378" v="28471"/>
          <ac:spMkLst>
            <pc:docMk/>
            <pc:sldMk cId="2158746606" sldId="2147480190"/>
            <ac:spMk id="12" creationId="{43B1E479-C0E5-0845-9151-FB5FDCC28548}"/>
          </ac:spMkLst>
        </pc:spChg>
        <pc:spChg chg="add del mod modVis">
          <ac:chgData name="Hugo Liabeuf" userId="a9defb0f-a7f4-478c-b61b-a76d3d661b31" providerId="ADAL" clId="{ABD2F74A-712B-4083-A42A-5FB1F7D04898}" dt="2024-06-07T07:47:33.425" v="28513"/>
          <ac:spMkLst>
            <pc:docMk/>
            <pc:sldMk cId="2158746606" sldId="2147480190"/>
            <ac:spMk id="13" creationId="{3D5F45BA-F0E8-D376-EC11-C594239A1FCE}"/>
          </ac:spMkLst>
        </pc:spChg>
        <pc:spChg chg="add del mod modVis">
          <ac:chgData name="Hugo Liabeuf" userId="a9defb0f-a7f4-478c-b61b-a76d3d661b31" providerId="ADAL" clId="{ABD2F74A-712B-4083-A42A-5FB1F7D04898}" dt="2024-06-07T07:47:40.464" v="28558"/>
          <ac:spMkLst>
            <pc:docMk/>
            <pc:sldMk cId="2158746606" sldId="2147480190"/>
            <ac:spMk id="14" creationId="{AE5CE52A-257C-6D38-4AB3-5F3A439C29F3}"/>
          </ac:spMkLst>
        </pc:spChg>
        <pc:spChg chg="add del mod modVis">
          <ac:chgData name="Hugo Liabeuf" userId="a9defb0f-a7f4-478c-b61b-a76d3d661b31" providerId="ADAL" clId="{ABD2F74A-712B-4083-A42A-5FB1F7D04898}" dt="2024-06-07T07:47:44.547" v="28611"/>
          <ac:spMkLst>
            <pc:docMk/>
            <pc:sldMk cId="2158746606" sldId="2147480190"/>
            <ac:spMk id="15" creationId="{134206BF-0B3E-C3F0-810D-CC75CDCA2F1C}"/>
          </ac:spMkLst>
        </pc:spChg>
        <pc:spChg chg="add del mod modVis">
          <ac:chgData name="Hugo Liabeuf" userId="a9defb0f-a7f4-478c-b61b-a76d3d661b31" providerId="ADAL" clId="{ABD2F74A-712B-4083-A42A-5FB1F7D04898}" dt="2024-06-07T07:47:45.834" v="28644"/>
          <ac:spMkLst>
            <pc:docMk/>
            <pc:sldMk cId="2158746606" sldId="2147480190"/>
            <ac:spMk id="16" creationId="{CB2D00AB-A339-20EC-C154-2996F4840105}"/>
          </ac:spMkLst>
        </pc:spChg>
        <pc:spChg chg="add del mod modVis">
          <ac:chgData name="Hugo Liabeuf" userId="a9defb0f-a7f4-478c-b61b-a76d3d661b31" providerId="ADAL" clId="{ABD2F74A-712B-4083-A42A-5FB1F7D04898}" dt="2024-06-07T07:47:49.683" v="28678"/>
          <ac:spMkLst>
            <pc:docMk/>
            <pc:sldMk cId="2158746606" sldId="2147480190"/>
            <ac:spMk id="17" creationId="{8D530FA8-6B3E-FCA8-4107-85566A988962}"/>
          </ac:spMkLst>
        </pc:spChg>
        <pc:spChg chg="add del mod modVis">
          <ac:chgData name="Hugo Liabeuf" userId="a9defb0f-a7f4-478c-b61b-a76d3d661b31" providerId="ADAL" clId="{ABD2F74A-712B-4083-A42A-5FB1F7D04898}" dt="2024-06-07T07:47:51.970" v="28716"/>
          <ac:spMkLst>
            <pc:docMk/>
            <pc:sldMk cId="2158746606" sldId="2147480190"/>
            <ac:spMk id="18" creationId="{289E9B6F-9887-95E5-6B3C-4FF7BC977917}"/>
          </ac:spMkLst>
        </pc:spChg>
        <pc:spChg chg="add del mod modVis">
          <ac:chgData name="Hugo Liabeuf" userId="a9defb0f-a7f4-478c-b61b-a76d3d661b31" providerId="ADAL" clId="{ABD2F74A-712B-4083-A42A-5FB1F7D04898}" dt="2024-06-07T07:47:54.987" v="28766"/>
          <ac:spMkLst>
            <pc:docMk/>
            <pc:sldMk cId="2158746606" sldId="2147480190"/>
            <ac:spMk id="19" creationId="{6969DE48-770E-DCCD-98ED-74C53FA76204}"/>
          </ac:spMkLst>
        </pc:spChg>
        <pc:spChg chg="add del mod modVis">
          <ac:chgData name="Hugo Liabeuf" userId="a9defb0f-a7f4-478c-b61b-a76d3d661b31" providerId="ADAL" clId="{ABD2F74A-712B-4083-A42A-5FB1F7D04898}" dt="2024-06-07T07:47:55.941" v="28795"/>
          <ac:spMkLst>
            <pc:docMk/>
            <pc:sldMk cId="2158746606" sldId="2147480190"/>
            <ac:spMk id="20" creationId="{B9A798EF-890E-02CA-E26D-7E04C6E33E35}"/>
          </ac:spMkLst>
        </pc:spChg>
        <pc:spChg chg="add del mod modVis">
          <ac:chgData name="Hugo Liabeuf" userId="a9defb0f-a7f4-478c-b61b-a76d3d661b31" providerId="ADAL" clId="{ABD2F74A-712B-4083-A42A-5FB1F7D04898}" dt="2024-06-07T07:47:58.064" v="28824"/>
          <ac:spMkLst>
            <pc:docMk/>
            <pc:sldMk cId="2158746606" sldId="2147480190"/>
            <ac:spMk id="21" creationId="{100EFF19-DCBD-1FE3-3675-A86727D67AB1}"/>
          </ac:spMkLst>
        </pc:spChg>
        <pc:spChg chg="add del mod modVis">
          <ac:chgData name="Hugo Liabeuf" userId="a9defb0f-a7f4-478c-b61b-a76d3d661b31" providerId="ADAL" clId="{ABD2F74A-712B-4083-A42A-5FB1F7D04898}" dt="2024-06-07T07:48:09.525" v="28854"/>
          <ac:spMkLst>
            <pc:docMk/>
            <pc:sldMk cId="2158746606" sldId="2147480190"/>
            <ac:spMk id="22" creationId="{B55857DE-A05A-12C1-19D7-9065923CC866}"/>
          </ac:spMkLst>
        </pc:spChg>
        <pc:spChg chg="add del mod modVis">
          <ac:chgData name="Hugo Liabeuf" userId="a9defb0f-a7f4-478c-b61b-a76d3d661b31" providerId="ADAL" clId="{ABD2F74A-712B-4083-A42A-5FB1F7D04898}" dt="2024-06-07T07:48:12.375" v="28886"/>
          <ac:spMkLst>
            <pc:docMk/>
            <pc:sldMk cId="2158746606" sldId="2147480190"/>
            <ac:spMk id="23" creationId="{1F9322C7-DF07-19C4-39B3-C449D477723C}"/>
          </ac:spMkLst>
        </pc:spChg>
        <pc:spChg chg="add del mod modVis">
          <ac:chgData name="Hugo Liabeuf" userId="a9defb0f-a7f4-478c-b61b-a76d3d661b31" providerId="ADAL" clId="{ABD2F74A-712B-4083-A42A-5FB1F7D04898}" dt="2024-06-07T07:48:13.773" v="28919"/>
          <ac:spMkLst>
            <pc:docMk/>
            <pc:sldMk cId="2158746606" sldId="2147480190"/>
            <ac:spMk id="24" creationId="{83852956-6554-7A79-CC60-05539B38FB4A}"/>
          </ac:spMkLst>
        </pc:spChg>
        <pc:spChg chg="add del mod modVis">
          <ac:chgData name="Hugo Liabeuf" userId="a9defb0f-a7f4-478c-b61b-a76d3d661b31" providerId="ADAL" clId="{ABD2F74A-712B-4083-A42A-5FB1F7D04898}" dt="2024-06-07T07:48:15.296" v="28954"/>
          <ac:spMkLst>
            <pc:docMk/>
            <pc:sldMk cId="2158746606" sldId="2147480190"/>
            <ac:spMk id="25" creationId="{C447E8A3-A6F9-0649-1EC7-BB7C73EBDFA4}"/>
          </ac:spMkLst>
        </pc:spChg>
        <pc:spChg chg="add del mod modVis">
          <ac:chgData name="Hugo Liabeuf" userId="a9defb0f-a7f4-478c-b61b-a76d3d661b31" providerId="ADAL" clId="{ABD2F74A-712B-4083-A42A-5FB1F7D04898}" dt="2024-06-07T07:48:18.899" v="28994"/>
          <ac:spMkLst>
            <pc:docMk/>
            <pc:sldMk cId="2158746606" sldId="2147480190"/>
            <ac:spMk id="26" creationId="{69E1A0A7-6F0A-AA3B-EB3C-12EE00756C19}"/>
          </ac:spMkLst>
        </pc:spChg>
        <pc:spChg chg="add del mod modVis">
          <ac:chgData name="Hugo Liabeuf" userId="a9defb0f-a7f4-478c-b61b-a76d3d661b31" providerId="ADAL" clId="{ABD2F74A-712B-4083-A42A-5FB1F7D04898}" dt="2024-06-07T07:48:23.685" v="29053"/>
          <ac:spMkLst>
            <pc:docMk/>
            <pc:sldMk cId="2158746606" sldId="2147480190"/>
            <ac:spMk id="27" creationId="{74A20A43-B375-3510-A98E-D74D0A198E97}"/>
          </ac:spMkLst>
        </pc:spChg>
        <pc:spChg chg="add del mod modVis">
          <ac:chgData name="Hugo Liabeuf" userId="a9defb0f-a7f4-478c-b61b-a76d3d661b31" providerId="ADAL" clId="{ABD2F74A-712B-4083-A42A-5FB1F7D04898}" dt="2024-06-07T07:48:27.011" v="29099"/>
          <ac:spMkLst>
            <pc:docMk/>
            <pc:sldMk cId="2158746606" sldId="2147480190"/>
            <ac:spMk id="28" creationId="{67B60BDD-6EA5-5A8B-6569-7FC6495BE5FB}"/>
          </ac:spMkLst>
        </pc:spChg>
        <pc:spChg chg="add del mod modVis">
          <ac:chgData name="Hugo Liabeuf" userId="a9defb0f-a7f4-478c-b61b-a76d3d661b31" providerId="ADAL" clId="{ABD2F74A-712B-4083-A42A-5FB1F7D04898}" dt="2024-06-07T07:48:27.980" v="29128"/>
          <ac:spMkLst>
            <pc:docMk/>
            <pc:sldMk cId="2158746606" sldId="2147480190"/>
            <ac:spMk id="29" creationId="{1DE291C2-0AEE-FA88-F803-6FF1587D7BF7}"/>
          </ac:spMkLst>
        </pc:spChg>
        <pc:spChg chg="add del mod modVis">
          <ac:chgData name="Hugo Liabeuf" userId="a9defb0f-a7f4-478c-b61b-a76d3d661b31" providerId="ADAL" clId="{ABD2F74A-712B-4083-A42A-5FB1F7D04898}" dt="2024-06-07T07:48:39.703" v="29173"/>
          <ac:spMkLst>
            <pc:docMk/>
            <pc:sldMk cId="2158746606" sldId="2147480190"/>
            <ac:spMk id="30" creationId="{739C5B01-7079-3505-B7A0-621A160564ED}"/>
          </ac:spMkLst>
        </pc:spChg>
        <pc:spChg chg="add del mod modVis">
          <ac:chgData name="Hugo Liabeuf" userId="a9defb0f-a7f4-478c-b61b-a76d3d661b31" providerId="ADAL" clId="{ABD2F74A-712B-4083-A42A-5FB1F7D04898}" dt="2024-06-07T07:48:41.095" v="29203"/>
          <ac:spMkLst>
            <pc:docMk/>
            <pc:sldMk cId="2158746606" sldId="2147480190"/>
            <ac:spMk id="31" creationId="{87C3DD23-AE8B-2CC5-59C3-4382516F7724}"/>
          </ac:spMkLst>
        </pc:spChg>
        <pc:spChg chg="add del mod modVis">
          <ac:chgData name="Hugo Liabeuf" userId="a9defb0f-a7f4-478c-b61b-a76d3d661b31" providerId="ADAL" clId="{ABD2F74A-712B-4083-A42A-5FB1F7D04898}" dt="2024-06-07T07:48:42.307" v="29233"/>
          <ac:spMkLst>
            <pc:docMk/>
            <pc:sldMk cId="2158746606" sldId="2147480190"/>
            <ac:spMk id="32" creationId="{4861AADE-D009-46CA-855C-8497972979AD}"/>
          </ac:spMkLst>
        </pc:spChg>
        <pc:spChg chg="add del mod modVis">
          <ac:chgData name="Hugo Liabeuf" userId="a9defb0f-a7f4-478c-b61b-a76d3d661b31" providerId="ADAL" clId="{ABD2F74A-712B-4083-A42A-5FB1F7D04898}" dt="2024-06-07T07:48:49.491" v="29299"/>
          <ac:spMkLst>
            <pc:docMk/>
            <pc:sldMk cId="2158746606" sldId="2147480190"/>
            <ac:spMk id="33" creationId="{EA571A37-AF13-3A9B-2D66-C989B77D4961}"/>
          </ac:spMkLst>
        </pc:spChg>
        <pc:spChg chg="add del mod modVis">
          <ac:chgData name="Hugo Liabeuf" userId="a9defb0f-a7f4-478c-b61b-a76d3d661b31" providerId="ADAL" clId="{ABD2F74A-712B-4083-A42A-5FB1F7D04898}" dt="2024-06-07T07:48:51.371" v="29336"/>
          <ac:spMkLst>
            <pc:docMk/>
            <pc:sldMk cId="2158746606" sldId="2147480190"/>
            <ac:spMk id="34" creationId="{86C94992-5D90-C98F-9E5E-459F7CED0947}"/>
          </ac:spMkLst>
        </pc:spChg>
        <pc:spChg chg="add del mod modVis">
          <ac:chgData name="Hugo Liabeuf" userId="a9defb0f-a7f4-478c-b61b-a76d3d661b31" providerId="ADAL" clId="{ABD2F74A-712B-4083-A42A-5FB1F7D04898}" dt="2024-06-07T07:48:52.127" v="29364"/>
          <ac:spMkLst>
            <pc:docMk/>
            <pc:sldMk cId="2158746606" sldId="2147480190"/>
            <ac:spMk id="35" creationId="{72283640-24A8-2F20-C04E-EDEA26348B1E}"/>
          </ac:spMkLst>
        </pc:spChg>
        <pc:spChg chg="add del mod modVis">
          <ac:chgData name="Hugo Liabeuf" userId="a9defb0f-a7f4-478c-b61b-a76d3d661b31" providerId="ADAL" clId="{ABD2F74A-712B-4083-A42A-5FB1F7D04898}" dt="2024-06-07T07:48:57.511" v="29402"/>
          <ac:spMkLst>
            <pc:docMk/>
            <pc:sldMk cId="2158746606" sldId="2147480190"/>
            <ac:spMk id="36" creationId="{707740FE-C924-9A0E-3699-326798FC35E5}"/>
          </ac:spMkLst>
        </pc:spChg>
        <pc:spChg chg="add del mod modVis">
          <ac:chgData name="Hugo Liabeuf" userId="a9defb0f-a7f4-478c-b61b-a76d3d661b31" providerId="ADAL" clId="{ABD2F74A-712B-4083-A42A-5FB1F7D04898}" dt="2024-06-07T07:48:58.995" v="29439"/>
          <ac:spMkLst>
            <pc:docMk/>
            <pc:sldMk cId="2158746606" sldId="2147480190"/>
            <ac:spMk id="37" creationId="{021CE296-DAAE-321B-6669-36AB11DF21AD}"/>
          </ac:spMkLst>
        </pc:spChg>
        <pc:graphicFrameChg chg="mod">
          <ac:chgData name="Hugo Liabeuf" userId="a9defb0f-a7f4-478c-b61b-a76d3d661b31" providerId="ADAL" clId="{ABD2F74A-712B-4083-A42A-5FB1F7D04898}" dt="2024-06-07T07:48:59.006" v="29441"/>
          <ac:graphicFrameMkLst>
            <pc:docMk/>
            <pc:sldMk cId="2158746606" sldId="2147480190"/>
            <ac:graphicFrameMk id="7" creationId="{57ABD133-26C5-21C8-4B91-2A485C09FA0C}"/>
          </ac:graphicFrameMkLst>
        </pc:graphicFrameChg>
        <pc:picChg chg="add mod">
          <ac:chgData name="Hugo Liabeuf" userId="a9defb0f-a7f4-478c-b61b-a76d3d661b31" providerId="ADAL" clId="{ABD2F74A-712B-4083-A42A-5FB1F7D04898}" dt="2024-06-07T07:49:06.616" v="29446" actId="14861"/>
          <ac:picMkLst>
            <pc:docMk/>
            <pc:sldMk cId="2158746606" sldId="2147480190"/>
            <ac:picMk id="9" creationId="{E37CF01C-C0E7-D42C-5EFA-232706CF5638}"/>
          </ac:picMkLst>
        </pc:picChg>
      </pc:sldChg>
      <pc:sldChg chg="addSp delSp modSp new mod modClrScheme chgLayout">
        <pc:chgData name="Hugo Liabeuf" userId="a9defb0f-a7f4-478c-b61b-a76d3d661b31" providerId="ADAL" clId="{ABD2F74A-712B-4083-A42A-5FB1F7D04898}" dt="2024-06-06T16:24:15.339" v="23546"/>
        <pc:sldMkLst>
          <pc:docMk/>
          <pc:sldMk cId="1770834126" sldId="2147480191"/>
        </pc:sldMkLst>
        <pc:spChg chg="del mod ord">
          <ac:chgData name="Hugo Liabeuf" userId="a9defb0f-a7f4-478c-b61b-a76d3d661b31" providerId="ADAL" clId="{ABD2F74A-712B-4083-A42A-5FB1F7D04898}" dt="2024-06-06T16:24:11.701" v="23488" actId="700"/>
          <ac:spMkLst>
            <pc:docMk/>
            <pc:sldMk cId="1770834126" sldId="2147480191"/>
            <ac:spMk id="2" creationId="{844686AA-A7B5-94C0-9138-C0D3E565ADB8}"/>
          </ac:spMkLst>
        </pc:spChg>
        <pc:spChg chg="del mod ord">
          <ac:chgData name="Hugo Liabeuf" userId="a9defb0f-a7f4-478c-b61b-a76d3d661b31" providerId="ADAL" clId="{ABD2F74A-712B-4083-A42A-5FB1F7D04898}" dt="2024-06-06T16:24:11.701" v="23488" actId="700"/>
          <ac:spMkLst>
            <pc:docMk/>
            <pc:sldMk cId="1770834126" sldId="2147480191"/>
            <ac:spMk id="3" creationId="{4211FA3C-909E-099C-F52E-84F7C4F7CF8A}"/>
          </ac:spMkLst>
        </pc:spChg>
        <pc:spChg chg="add mod ord">
          <ac:chgData name="Hugo Liabeuf" userId="a9defb0f-a7f4-478c-b61b-a76d3d661b31" providerId="ADAL" clId="{ABD2F74A-712B-4083-A42A-5FB1F7D04898}" dt="2024-06-06T16:24:15.286" v="23520" actId="948"/>
          <ac:spMkLst>
            <pc:docMk/>
            <pc:sldMk cId="1770834126" sldId="2147480191"/>
            <ac:spMk id="4" creationId="{39D582C5-BA99-F8CF-A7AC-D1AB970F602C}"/>
          </ac:spMkLst>
        </pc:spChg>
        <pc:spChg chg="add mod ord">
          <ac:chgData name="Hugo Liabeuf" userId="a9defb0f-a7f4-478c-b61b-a76d3d661b31" providerId="ADAL" clId="{ABD2F74A-712B-4083-A42A-5FB1F7D04898}" dt="2024-06-06T16:24:11.701" v="23488" actId="700"/>
          <ac:spMkLst>
            <pc:docMk/>
            <pc:sldMk cId="1770834126" sldId="2147480191"/>
            <ac:spMk id="5" creationId="{4BFF4319-2A0F-A175-98B4-A5DCE2A4CFEF}"/>
          </ac:spMkLst>
        </pc:spChg>
        <pc:spChg chg="add del mod modVis">
          <ac:chgData name="Hugo Liabeuf" userId="a9defb0f-a7f4-478c-b61b-a76d3d661b31" providerId="ADAL" clId="{ABD2F74A-712B-4083-A42A-5FB1F7D04898}" dt="2024-06-06T16:24:15.337" v="23544"/>
          <ac:spMkLst>
            <pc:docMk/>
            <pc:sldMk cId="1770834126" sldId="2147480191"/>
            <ac:spMk id="7" creationId="{DCB7A491-D364-D86C-8D5E-DE557DA72865}"/>
          </ac:spMkLst>
        </pc:spChg>
        <pc:graphicFrameChg chg="add mod ord modVis replST">
          <ac:chgData name="Hugo Liabeuf" userId="a9defb0f-a7f4-478c-b61b-a76d3d661b31" providerId="ADAL" clId="{ABD2F74A-712B-4083-A42A-5FB1F7D04898}" dt="2024-06-06T16:24:15.339" v="23546"/>
          <ac:graphicFrameMkLst>
            <pc:docMk/>
            <pc:sldMk cId="1770834126" sldId="2147480191"/>
            <ac:graphicFrameMk id="6" creationId="{707C0EF4-C5C9-ED1B-4998-F9C309E7E87E}"/>
          </ac:graphicFrameMkLst>
        </pc:graphicFrameChg>
      </pc:sldChg>
      <pc:sldChg chg="addSp delSp modSp add mod">
        <pc:chgData name="Hugo Liabeuf" userId="a9defb0f-a7f4-478c-b61b-a76d3d661b31" providerId="ADAL" clId="{ABD2F74A-712B-4083-A42A-5FB1F7D04898}" dt="2024-06-06T16:24:24.707" v="23593"/>
        <pc:sldMkLst>
          <pc:docMk/>
          <pc:sldMk cId="296682081" sldId="2147480192"/>
        </pc:sldMkLst>
        <pc:spChg chg="add del mod modVis">
          <ac:chgData name="Hugo Liabeuf" userId="a9defb0f-a7f4-478c-b61b-a76d3d661b31" providerId="ADAL" clId="{ABD2F74A-712B-4083-A42A-5FB1F7D04898}" dt="2024-06-06T16:24:24.707" v="23591"/>
          <ac:spMkLst>
            <pc:docMk/>
            <pc:sldMk cId="296682081" sldId="2147480192"/>
            <ac:spMk id="2" creationId="{0D2A6219-6599-8F5C-3658-D367D6E9448B}"/>
          </ac:spMkLst>
        </pc:spChg>
        <pc:spChg chg="mod">
          <ac:chgData name="Hugo Liabeuf" userId="a9defb0f-a7f4-478c-b61b-a76d3d661b31" providerId="ADAL" clId="{ABD2F74A-712B-4083-A42A-5FB1F7D04898}" dt="2024-06-06T16:24:24.686" v="23567" actId="948"/>
          <ac:spMkLst>
            <pc:docMk/>
            <pc:sldMk cId="296682081" sldId="2147480192"/>
            <ac:spMk id="4" creationId="{39D582C5-BA99-F8CF-A7AC-D1AB970F602C}"/>
          </ac:spMkLst>
        </pc:spChg>
        <pc:graphicFrameChg chg="mod">
          <ac:chgData name="Hugo Liabeuf" userId="a9defb0f-a7f4-478c-b61b-a76d3d661b31" providerId="ADAL" clId="{ABD2F74A-712B-4083-A42A-5FB1F7D04898}" dt="2024-06-06T16:24:24.707" v="23593"/>
          <ac:graphicFrameMkLst>
            <pc:docMk/>
            <pc:sldMk cId="296682081" sldId="2147480192"/>
            <ac:graphicFrameMk id="6" creationId="{707C0EF4-C5C9-ED1B-4998-F9C309E7E87E}"/>
          </ac:graphicFrameMkLst>
        </pc:graphicFrameChg>
      </pc:sldChg>
      <pc:sldChg chg="add ord">
        <pc:chgData name="Hugo Liabeuf" userId="a9defb0f-a7f4-478c-b61b-a76d3d661b31" providerId="ADAL" clId="{ABD2F74A-712B-4083-A42A-5FB1F7D04898}" dt="2024-06-06T16:24:29.744" v="23597"/>
        <pc:sldMkLst>
          <pc:docMk/>
          <pc:sldMk cId="834293998" sldId="2147480193"/>
        </pc:sldMkLst>
      </pc:sldChg>
      <pc:sldChg chg="add ord">
        <pc:chgData name="Hugo Liabeuf" userId="a9defb0f-a7f4-478c-b61b-a76d3d661b31" providerId="ADAL" clId="{ABD2F74A-712B-4083-A42A-5FB1F7D04898}" dt="2024-06-06T16:24:34.344" v="23606"/>
        <pc:sldMkLst>
          <pc:docMk/>
          <pc:sldMk cId="1193546312" sldId="2147480194"/>
        </pc:sldMkLst>
      </pc:sldChg>
      <pc:sldChg chg="add ord">
        <pc:chgData name="Hugo Liabeuf" userId="a9defb0f-a7f4-478c-b61b-a76d3d661b31" providerId="ADAL" clId="{ABD2F74A-712B-4083-A42A-5FB1F7D04898}" dt="2024-06-06T16:24:53.945" v="23610"/>
        <pc:sldMkLst>
          <pc:docMk/>
          <pc:sldMk cId="1870629386" sldId="2147480195"/>
        </pc:sldMkLst>
      </pc:sldChg>
      <pc:sldChg chg="add ord replId">
        <pc:chgData name="Hugo Liabeuf" userId="a9defb0f-a7f4-478c-b61b-a76d3d661b31" providerId="ADAL" clId="{ABD2F74A-712B-4083-A42A-5FB1F7D04898}" dt="2024-06-06T16:24:53.945" v="23610"/>
        <pc:sldMkLst>
          <pc:docMk/>
          <pc:sldMk cId="3692994647" sldId="2147480196"/>
        </pc:sldMkLst>
      </pc:sldChg>
      <pc:sldChg chg="add ord replId">
        <pc:chgData name="Hugo Liabeuf" userId="a9defb0f-a7f4-478c-b61b-a76d3d661b31" providerId="ADAL" clId="{ABD2F74A-712B-4083-A42A-5FB1F7D04898}" dt="2024-06-06T16:24:53.945" v="23610"/>
        <pc:sldMkLst>
          <pc:docMk/>
          <pc:sldMk cId="2322559351" sldId="2147480197"/>
        </pc:sldMkLst>
      </pc:sldChg>
      <pc:sldChg chg="add ord replId">
        <pc:chgData name="Hugo Liabeuf" userId="a9defb0f-a7f4-478c-b61b-a76d3d661b31" providerId="ADAL" clId="{ABD2F74A-712B-4083-A42A-5FB1F7D04898}" dt="2024-06-06T16:24:53.945" v="23610"/>
        <pc:sldMkLst>
          <pc:docMk/>
          <pc:sldMk cId="425700436" sldId="2147480198"/>
        </pc:sldMkLst>
      </pc:sldChg>
      <pc:sldChg chg="add ord replId">
        <pc:chgData name="Hugo Liabeuf" userId="a9defb0f-a7f4-478c-b61b-a76d3d661b31" providerId="ADAL" clId="{ABD2F74A-712B-4083-A42A-5FB1F7D04898}" dt="2024-06-06T16:24:53.945" v="23610"/>
        <pc:sldMkLst>
          <pc:docMk/>
          <pc:sldMk cId="3939735184" sldId="2147480199"/>
        </pc:sldMkLst>
      </pc:sldChg>
      <pc:sldChg chg="add ord replId">
        <pc:chgData name="Hugo Liabeuf" userId="a9defb0f-a7f4-478c-b61b-a76d3d661b31" providerId="ADAL" clId="{ABD2F74A-712B-4083-A42A-5FB1F7D04898}" dt="2024-06-06T16:24:53.945" v="23610"/>
        <pc:sldMkLst>
          <pc:docMk/>
          <pc:sldMk cId="1641059709" sldId="2147480200"/>
        </pc:sldMkLst>
      </pc:sldChg>
      <pc:sldChg chg="add ord replId">
        <pc:chgData name="Hugo Liabeuf" userId="a9defb0f-a7f4-478c-b61b-a76d3d661b31" providerId="ADAL" clId="{ABD2F74A-712B-4083-A42A-5FB1F7D04898}" dt="2024-06-06T16:24:53.945" v="23610"/>
        <pc:sldMkLst>
          <pc:docMk/>
          <pc:sldMk cId="2010145902" sldId="2147480201"/>
        </pc:sldMkLst>
      </pc:sldChg>
      <pc:sldChg chg="add ord replId">
        <pc:chgData name="Hugo Liabeuf" userId="a9defb0f-a7f4-478c-b61b-a76d3d661b31" providerId="ADAL" clId="{ABD2F74A-712B-4083-A42A-5FB1F7D04898}" dt="2024-06-06T16:24:53.945" v="23610"/>
        <pc:sldMkLst>
          <pc:docMk/>
          <pc:sldMk cId="3556782556" sldId="2147480202"/>
        </pc:sldMkLst>
      </pc:sldChg>
      <pc:sldChg chg="add ord replId">
        <pc:chgData name="Hugo Liabeuf" userId="a9defb0f-a7f4-478c-b61b-a76d3d661b31" providerId="ADAL" clId="{ABD2F74A-712B-4083-A42A-5FB1F7D04898}" dt="2024-06-06T16:24:53.945" v="23610"/>
        <pc:sldMkLst>
          <pc:docMk/>
          <pc:sldMk cId="2379153866" sldId="2147480203"/>
        </pc:sldMkLst>
      </pc:sldChg>
      <pc:sldChg chg="add ord replId">
        <pc:chgData name="Hugo Liabeuf" userId="a9defb0f-a7f4-478c-b61b-a76d3d661b31" providerId="ADAL" clId="{ABD2F74A-712B-4083-A42A-5FB1F7D04898}" dt="2024-06-06T16:24:53.945" v="23610"/>
        <pc:sldMkLst>
          <pc:docMk/>
          <pc:sldMk cId="406882751" sldId="2147480204"/>
        </pc:sldMkLst>
      </pc:sldChg>
      <pc:sldChg chg="modSp add mod">
        <pc:chgData name="Hugo Liabeuf" userId="a9defb0f-a7f4-478c-b61b-a76d3d661b31" providerId="ADAL" clId="{ABD2F74A-712B-4083-A42A-5FB1F7D04898}" dt="2024-06-07T07:40:09.821" v="28025" actId="1076"/>
        <pc:sldMkLst>
          <pc:docMk/>
          <pc:sldMk cId="175466614" sldId="2147480205"/>
        </pc:sldMkLst>
        <pc:spChg chg="mod">
          <ac:chgData name="Hugo Liabeuf" userId="a9defb0f-a7f4-478c-b61b-a76d3d661b31" providerId="ADAL" clId="{ABD2F74A-712B-4083-A42A-5FB1F7D04898}" dt="2024-06-07T07:40:09.821" v="28025" actId="1076"/>
          <ac:spMkLst>
            <pc:docMk/>
            <pc:sldMk cId="175466614" sldId="2147480205"/>
            <ac:spMk id="14" creationId="{BB4CE32B-7593-92D5-B18F-6E0C4636E17D}"/>
          </ac:spMkLst>
        </pc:spChg>
      </pc:sldChg>
      <pc:sldChg chg="addSp delSp modSp add mod ord">
        <pc:chgData name="Hugo Liabeuf" userId="a9defb0f-a7f4-478c-b61b-a76d3d661b31" providerId="ADAL" clId="{ABD2F74A-712B-4083-A42A-5FB1F7D04898}" dt="2024-06-07T07:39:27.099" v="28023" actId="478"/>
        <pc:sldMkLst>
          <pc:docMk/>
          <pc:sldMk cId="3905609269" sldId="2147480206"/>
        </pc:sldMkLst>
        <pc:spChg chg="del mod ord">
          <ac:chgData name="Hugo Liabeuf" userId="a9defb0f-a7f4-478c-b61b-a76d3d661b31" providerId="ADAL" clId="{ABD2F74A-712B-4083-A42A-5FB1F7D04898}" dt="2024-06-07T07:39:27.099" v="28023" actId="478"/>
          <ac:spMkLst>
            <pc:docMk/>
            <pc:sldMk cId="3905609269" sldId="2147480206"/>
            <ac:spMk id="2" creationId="{539A4A38-FEE5-C346-9107-A8D6C9DA8A21}"/>
          </ac:spMkLst>
        </pc:spChg>
        <pc:spChg chg="mod ord">
          <ac:chgData name="Hugo Liabeuf" userId="a9defb0f-a7f4-478c-b61b-a76d3d661b31" providerId="ADAL" clId="{ABD2F74A-712B-4083-A42A-5FB1F7D04898}" dt="2024-06-07T07:33:20.960" v="26574"/>
          <ac:spMkLst>
            <pc:docMk/>
            <pc:sldMk cId="3905609269" sldId="2147480206"/>
            <ac:spMk id="3" creationId="{9D459184-6C88-2440-C13A-07C2954450A2}"/>
          </ac:spMkLst>
        </pc:spChg>
        <pc:spChg chg="mod ord">
          <ac:chgData name="Hugo Liabeuf" userId="a9defb0f-a7f4-478c-b61b-a76d3d661b31" providerId="ADAL" clId="{ABD2F74A-712B-4083-A42A-5FB1F7D04898}" dt="2024-06-07T07:33:20.962" v="26576"/>
          <ac:spMkLst>
            <pc:docMk/>
            <pc:sldMk cId="3905609269" sldId="2147480206"/>
            <ac:spMk id="4" creationId="{263EE243-CA4E-B772-A48C-BA822D9F9A34}"/>
          </ac:spMkLst>
        </pc:spChg>
        <pc:spChg chg="mod ord">
          <ac:chgData name="Hugo Liabeuf" userId="a9defb0f-a7f4-478c-b61b-a76d3d661b31" providerId="ADAL" clId="{ABD2F74A-712B-4083-A42A-5FB1F7D04898}" dt="2024-06-07T07:39:21.720" v="27995" actId="948"/>
          <ac:spMkLst>
            <pc:docMk/>
            <pc:sldMk cId="3905609269" sldId="2147480206"/>
            <ac:spMk id="5" creationId="{E615835C-187F-29A3-E7D3-B342DB852B08}"/>
          </ac:spMkLst>
        </pc:spChg>
        <pc:spChg chg="add del mod modVis">
          <ac:chgData name="Hugo Liabeuf" userId="a9defb0f-a7f4-478c-b61b-a76d3d661b31" providerId="ADAL" clId="{ABD2F74A-712B-4083-A42A-5FB1F7D04898}" dt="2024-06-07T07:17:35.955" v="24192"/>
          <ac:spMkLst>
            <pc:docMk/>
            <pc:sldMk cId="3905609269" sldId="2147480206"/>
            <ac:spMk id="6" creationId="{66C255ED-94E6-91AB-249E-F152B079039B}"/>
          </ac:spMkLst>
        </pc:spChg>
        <pc:spChg chg="add del mod replST">
          <ac:chgData name="Hugo Liabeuf" userId="a9defb0f-a7f4-478c-b61b-a76d3d661b31" providerId="ADAL" clId="{ABD2F74A-712B-4083-A42A-5FB1F7D04898}" dt="2024-06-07T07:17:37.041" v="24245"/>
          <ac:spMkLst>
            <pc:docMk/>
            <pc:sldMk cId="3905609269" sldId="2147480206"/>
            <ac:spMk id="8" creationId="{B926D567-524F-4499-A030-E098F89DCD34}"/>
          </ac:spMkLst>
        </pc:spChg>
        <pc:spChg chg="add del mod replST">
          <ac:chgData name="Hugo Liabeuf" userId="a9defb0f-a7f4-478c-b61b-a76d3d661b31" providerId="ADAL" clId="{ABD2F74A-712B-4083-A42A-5FB1F7D04898}" dt="2024-06-07T07:17:37.041" v="24246"/>
          <ac:spMkLst>
            <pc:docMk/>
            <pc:sldMk cId="3905609269" sldId="2147480206"/>
            <ac:spMk id="9" creationId="{B926D567-524F-4499-A030-E098F89DCD34}"/>
          </ac:spMkLst>
        </pc:spChg>
        <pc:spChg chg="add del mod replST">
          <ac:chgData name="Hugo Liabeuf" userId="a9defb0f-a7f4-478c-b61b-a76d3d661b31" providerId="ADAL" clId="{ABD2F74A-712B-4083-A42A-5FB1F7D04898}" dt="2024-06-07T07:17:37.041" v="24247"/>
          <ac:spMkLst>
            <pc:docMk/>
            <pc:sldMk cId="3905609269" sldId="2147480206"/>
            <ac:spMk id="11" creationId="{B926D567-524F-4499-A030-E098F89DCD34}"/>
          </ac:spMkLst>
        </pc:spChg>
        <pc:spChg chg="mod">
          <ac:chgData name="Hugo Liabeuf" userId="a9defb0f-a7f4-478c-b61b-a76d3d661b31" providerId="ADAL" clId="{ABD2F74A-712B-4083-A42A-5FB1F7D04898}" dt="2024-06-07T07:33:20.962" v="26581"/>
          <ac:spMkLst>
            <pc:docMk/>
            <pc:sldMk cId="3905609269" sldId="2147480206"/>
            <ac:spMk id="12" creationId="{45BF25F4-A12E-2E6D-CD37-163ED635F220}"/>
          </ac:spMkLst>
        </pc:spChg>
        <pc:spChg chg="mod">
          <ac:chgData name="Hugo Liabeuf" userId="a9defb0f-a7f4-478c-b61b-a76d3d661b31" providerId="ADAL" clId="{ABD2F74A-712B-4083-A42A-5FB1F7D04898}" dt="2024-06-07T07:33:20.962" v="26582"/>
          <ac:spMkLst>
            <pc:docMk/>
            <pc:sldMk cId="3905609269" sldId="2147480206"/>
            <ac:spMk id="13" creationId="{96737FEE-7373-E9B5-0DC6-B79C49299524}"/>
          </ac:spMkLst>
        </pc:spChg>
        <pc:spChg chg="mod">
          <ac:chgData name="Hugo Liabeuf" userId="a9defb0f-a7f4-478c-b61b-a76d3d661b31" providerId="ADAL" clId="{ABD2F74A-712B-4083-A42A-5FB1F7D04898}" dt="2024-06-07T07:33:20.962" v="26583"/>
          <ac:spMkLst>
            <pc:docMk/>
            <pc:sldMk cId="3905609269" sldId="2147480206"/>
            <ac:spMk id="14" creationId="{90FF08F8-5D68-60E3-A3AA-507E77938230}"/>
          </ac:spMkLst>
        </pc:spChg>
        <pc:spChg chg="mod">
          <ac:chgData name="Hugo Liabeuf" userId="a9defb0f-a7f4-478c-b61b-a76d3d661b31" providerId="ADAL" clId="{ABD2F74A-712B-4083-A42A-5FB1F7D04898}" dt="2024-06-07T07:33:20.962" v="26584"/>
          <ac:spMkLst>
            <pc:docMk/>
            <pc:sldMk cId="3905609269" sldId="2147480206"/>
            <ac:spMk id="15" creationId="{C835B8C3-DC10-067C-CE8C-EF187ED2B855}"/>
          </ac:spMkLst>
        </pc:spChg>
        <pc:spChg chg="mod">
          <ac:chgData name="Hugo Liabeuf" userId="a9defb0f-a7f4-478c-b61b-a76d3d661b31" providerId="ADAL" clId="{ABD2F74A-712B-4083-A42A-5FB1F7D04898}" dt="2024-06-07T07:33:20.962" v="26585"/>
          <ac:spMkLst>
            <pc:docMk/>
            <pc:sldMk cId="3905609269" sldId="2147480206"/>
            <ac:spMk id="16" creationId="{747ED9A0-3276-F350-E154-0F58EE4288BE}"/>
          </ac:spMkLst>
        </pc:spChg>
        <pc:spChg chg="mod">
          <ac:chgData name="Hugo Liabeuf" userId="a9defb0f-a7f4-478c-b61b-a76d3d661b31" providerId="ADAL" clId="{ABD2F74A-712B-4083-A42A-5FB1F7D04898}" dt="2024-06-07T07:33:20.962" v="26586"/>
          <ac:spMkLst>
            <pc:docMk/>
            <pc:sldMk cId="3905609269" sldId="2147480206"/>
            <ac:spMk id="17" creationId="{A9AF5E1E-177A-EC41-CB8B-314582DF70A6}"/>
          </ac:spMkLst>
        </pc:spChg>
        <pc:spChg chg="add del mod replST">
          <ac:chgData name="Hugo Liabeuf" userId="a9defb0f-a7f4-478c-b61b-a76d3d661b31" providerId="ADAL" clId="{ABD2F74A-712B-4083-A42A-5FB1F7D04898}" dt="2024-06-07T07:17:37.041" v="24248"/>
          <ac:spMkLst>
            <pc:docMk/>
            <pc:sldMk cId="3905609269" sldId="2147480206"/>
            <ac:spMk id="24" creationId="{B926D567-524F-4499-A030-E098F89DCD34}"/>
          </ac:spMkLst>
        </pc:spChg>
        <pc:spChg chg="mod">
          <ac:chgData name="Hugo Liabeuf" userId="a9defb0f-a7f4-478c-b61b-a76d3d661b31" providerId="ADAL" clId="{ABD2F74A-712B-4083-A42A-5FB1F7D04898}" dt="2024-06-07T07:33:20.962" v="26595"/>
          <ac:spMkLst>
            <pc:docMk/>
            <pc:sldMk cId="3905609269" sldId="2147480206"/>
            <ac:spMk id="25" creationId="{51D107A8-37CC-5D52-99C0-DA8AE0AA2656}"/>
          </ac:spMkLst>
        </pc:spChg>
        <pc:spChg chg="mod">
          <ac:chgData name="Hugo Liabeuf" userId="a9defb0f-a7f4-478c-b61b-a76d3d661b31" providerId="ADAL" clId="{ABD2F74A-712B-4083-A42A-5FB1F7D04898}" dt="2024-06-07T07:33:20.962" v="26596"/>
          <ac:spMkLst>
            <pc:docMk/>
            <pc:sldMk cId="3905609269" sldId="2147480206"/>
            <ac:spMk id="26" creationId="{3509C152-6DCA-2E63-3C13-010C47B4971A}"/>
          </ac:spMkLst>
        </pc:spChg>
        <pc:spChg chg="add del mod replST">
          <ac:chgData name="Hugo Liabeuf" userId="a9defb0f-a7f4-478c-b61b-a76d3d661b31" providerId="ADAL" clId="{ABD2F74A-712B-4083-A42A-5FB1F7D04898}" dt="2024-06-07T07:17:37.041" v="24249"/>
          <ac:spMkLst>
            <pc:docMk/>
            <pc:sldMk cId="3905609269" sldId="2147480206"/>
            <ac:spMk id="29" creationId="{B926D567-524F-4499-A030-E098F89DCD34}"/>
          </ac:spMkLst>
        </pc:spChg>
        <pc:spChg chg="mod">
          <ac:chgData name="Hugo Liabeuf" userId="a9defb0f-a7f4-478c-b61b-a76d3d661b31" providerId="ADAL" clId="{ABD2F74A-712B-4083-A42A-5FB1F7D04898}" dt="2024-06-07T07:33:20.970" v="26601"/>
          <ac:spMkLst>
            <pc:docMk/>
            <pc:sldMk cId="3905609269" sldId="2147480206"/>
            <ac:spMk id="30" creationId="{113DEBA2-9580-5620-B3DC-9E5E26B6FE4D}"/>
          </ac:spMkLst>
        </pc:spChg>
        <pc:spChg chg="mod">
          <ac:chgData name="Hugo Liabeuf" userId="a9defb0f-a7f4-478c-b61b-a76d3d661b31" providerId="ADAL" clId="{ABD2F74A-712B-4083-A42A-5FB1F7D04898}" dt="2024-06-07T07:33:20.970" v="26602"/>
          <ac:spMkLst>
            <pc:docMk/>
            <pc:sldMk cId="3905609269" sldId="2147480206"/>
            <ac:spMk id="31" creationId="{BEAEA0DA-948A-6A18-11C9-F9C14CBA72D4}"/>
          </ac:spMkLst>
        </pc:spChg>
        <pc:spChg chg="mod">
          <ac:chgData name="Hugo Liabeuf" userId="a9defb0f-a7f4-478c-b61b-a76d3d661b31" providerId="ADAL" clId="{ABD2F74A-712B-4083-A42A-5FB1F7D04898}" dt="2024-06-07T07:33:20.970" v="26603"/>
          <ac:spMkLst>
            <pc:docMk/>
            <pc:sldMk cId="3905609269" sldId="2147480206"/>
            <ac:spMk id="32" creationId="{CBFD54F3-3935-C1B3-17E7-E08B24B0A4E5}"/>
          </ac:spMkLst>
        </pc:spChg>
        <pc:spChg chg="add del mod replST">
          <ac:chgData name="Hugo Liabeuf" userId="a9defb0f-a7f4-478c-b61b-a76d3d661b31" providerId="ADAL" clId="{ABD2F74A-712B-4083-A42A-5FB1F7D04898}" dt="2024-06-07T07:17:37.041" v="24250"/>
          <ac:spMkLst>
            <pc:docMk/>
            <pc:sldMk cId="3905609269" sldId="2147480206"/>
            <ac:spMk id="36" creationId="{B926D567-524F-4499-A030-E098F89DCD34}"/>
          </ac:spMkLst>
        </pc:spChg>
        <pc:spChg chg="mod">
          <ac:chgData name="Hugo Liabeuf" userId="a9defb0f-a7f4-478c-b61b-a76d3d661b31" providerId="ADAL" clId="{ABD2F74A-712B-4083-A42A-5FB1F7D04898}" dt="2024-06-07T07:33:20.972" v="26610"/>
          <ac:spMkLst>
            <pc:docMk/>
            <pc:sldMk cId="3905609269" sldId="2147480206"/>
            <ac:spMk id="37" creationId="{0F9CB268-2AAC-669D-93D9-6CEE63FAC91F}"/>
          </ac:spMkLst>
        </pc:spChg>
        <pc:spChg chg="del mod">
          <ac:chgData name="Hugo Liabeuf" userId="a9defb0f-a7f4-478c-b61b-a76d3d661b31" providerId="ADAL" clId="{ABD2F74A-712B-4083-A42A-5FB1F7D04898}" dt="2024-06-07T07:20:22.152" v="25687" actId="478"/>
          <ac:spMkLst>
            <pc:docMk/>
            <pc:sldMk cId="3905609269" sldId="2147480206"/>
            <ac:spMk id="40" creationId="{999D5E04-861B-6BBC-E200-7385D487F473}"/>
          </ac:spMkLst>
        </pc:spChg>
        <pc:spChg chg="add del mod modVis">
          <ac:chgData name="Hugo Liabeuf" userId="a9defb0f-a7f4-478c-b61b-a76d3d661b31" providerId="ADAL" clId="{ABD2F74A-712B-4083-A42A-5FB1F7D04898}" dt="2024-06-07T07:17:37.126" v="24308"/>
          <ac:spMkLst>
            <pc:docMk/>
            <pc:sldMk cId="3905609269" sldId="2147480206"/>
            <ac:spMk id="46" creationId="{73327DA1-55F7-FD46-72CC-0E77781BDA5A}"/>
          </ac:spMkLst>
        </pc:spChg>
        <pc:spChg chg="add del mod modVis">
          <ac:chgData name="Hugo Liabeuf" userId="a9defb0f-a7f4-478c-b61b-a76d3d661b31" providerId="ADAL" clId="{ABD2F74A-712B-4083-A42A-5FB1F7D04898}" dt="2024-06-07T07:18:04.534" v="24431"/>
          <ac:spMkLst>
            <pc:docMk/>
            <pc:sldMk cId="3905609269" sldId="2147480206"/>
            <ac:spMk id="48" creationId="{D4A566F6-90D5-AB85-8753-F63027DF603D}"/>
          </ac:spMkLst>
        </pc:spChg>
        <pc:spChg chg="add del mod modVis">
          <ac:chgData name="Hugo Liabeuf" userId="a9defb0f-a7f4-478c-b61b-a76d3d661b31" providerId="ADAL" clId="{ABD2F74A-712B-4083-A42A-5FB1F7D04898}" dt="2024-06-07T07:18:11.882" v="24671"/>
          <ac:spMkLst>
            <pc:docMk/>
            <pc:sldMk cId="3905609269" sldId="2147480206"/>
            <ac:spMk id="50" creationId="{D59EC4CD-61D6-4900-FC99-5E27CFC4CC03}"/>
          </ac:spMkLst>
        </pc:spChg>
        <pc:spChg chg="add del mod modVis">
          <ac:chgData name="Hugo Liabeuf" userId="a9defb0f-a7f4-478c-b61b-a76d3d661b31" providerId="ADAL" clId="{ABD2F74A-712B-4083-A42A-5FB1F7D04898}" dt="2024-06-07T07:18:13.959" v="24861"/>
          <ac:spMkLst>
            <pc:docMk/>
            <pc:sldMk cId="3905609269" sldId="2147480206"/>
            <ac:spMk id="55" creationId="{10831136-0148-BD90-99F8-83915999E69B}"/>
          </ac:spMkLst>
        </pc:spChg>
        <pc:spChg chg="add del mod modVis">
          <ac:chgData name="Hugo Liabeuf" userId="a9defb0f-a7f4-478c-b61b-a76d3d661b31" providerId="ADAL" clId="{ABD2F74A-712B-4083-A42A-5FB1F7D04898}" dt="2024-06-07T07:18:15.692" v="25051"/>
          <ac:spMkLst>
            <pc:docMk/>
            <pc:sldMk cId="3905609269" sldId="2147480206"/>
            <ac:spMk id="60" creationId="{C9AB561F-F2B1-547C-7166-C91AC5614E04}"/>
          </ac:spMkLst>
        </pc:spChg>
        <pc:spChg chg="add del mod modVis">
          <ac:chgData name="Hugo Liabeuf" userId="a9defb0f-a7f4-478c-b61b-a76d3d661b31" providerId="ADAL" clId="{ABD2F74A-712B-4083-A42A-5FB1F7D04898}" dt="2024-06-07T07:18:27.635" v="25229"/>
          <ac:spMkLst>
            <pc:docMk/>
            <pc:sldMk cId="3905609269" sldId="2147480206"/>
            <ac:spMk id="66" creationId="{EC874A09-B885-9690-9132-EC4D0CD48CD2}"/>
          </ac:spMkLst>
        </pc:spChg>
        <pc:spChg chg="add del mod modVis">
          <ac:chgData name="Hugo Liabeuf" userId="a9defb0f-a7f4-478c-b61b-a76d3d661b31" providerId="ADAL" clId="{ABD2F74A-712B-4083-A42A-5FB1F7D04898}" dt="2024-06-07T07:18:35.705" v="25346"/>
          <ac:spMkLst>
            <pc:docMk/>
            <pc:sldMk cId="3905609269" sldId="2147480206"/>
            <ac:spMk id="68" creationId="{BCF6B246-5FDD-4750-FC0D-1DA93F486479}"/>
          </ac:spMkLst>
        </pc:spChg>
        <pc:spChg chg="add del mod modVis">
          <ac:chgData name="Hugo Liabeuf" userId="a9defb0f-a7f4-478c-b61b-a76d3d661b31" providerId="ADAL" clId="{ABD2F74A-712B-4083-A42A-5FB1F7D04898}" dt="2024-06-07T07:33:16.531" v="26503"/>
          <ac:spMkLst>
            <pc:docMk/>
            <pc:sldMk cId="3905609269" sldId="2147480206"/>
            <ac:spMk id="78" creationId="{6128C982-BE84-9A41-595A-205929112DF1}"/>
          </ac:spMkLst>
        </pc:spChg>
        <pc:spChg chg="add del mod modVis">
          <ac:chgData name="Hugo Liabeuf" userId="a9defb0f-a7f4-478c-b61b-a76d3d661b31" providerId="ADAL" clId="{ABD2F74A-712B-4083-A42A-5FB1F7D04898}" dt="2024-06-07T07:33:20.975" v="26619"/>
          <ac:spMkLst>
            <pc:docMk/>
            <pc:sldMk cId="3905609269" sldId="2147480206"/>
            <ac:spMk id="80" creationId="{04877550-9A20-5967-AD0E-A51E4721353B}"/>
          </ac:spMkLst>
        </pc:spChg>
        <pc:spChg chg="add del mod modVis">
          <ac:chgData name="Hugo Liabeuf" userId="a9defb0f-a7f4-478c-b61b-a76d3d661b31" providerId="ADAL" clId="{ABD2F74A-712B-4083-A42A-5FB1F7D04898}" dt="2024-06-07T07:38:10.846" v="27643"/>
          <ac:spMkLst>
            <pc:docMk/>
            <pc:sldMk cId="3905609269" sldId="2147480206"/>
            <ac:spMk id="82" creationId="{B0561CCD-449F-3D96-D11F-37CD55370CF4}"/>
          </ac:spMkLst>
        </pc:spChg>
        <pc:spChg chg="add del mod modVis">
          <ac:chgData name="Hugo Liabeuf" userId="a9defb0f-a7f4-478c-b61b-a76d3d661b31" providerId="ADAL" clId="{ABD2F74A-712B-4083-A42A-5FB1F7D04898}" dt="2024-06-07T07:38:56.787" v="27677"/>
          <ac:spMkLst>
            <pc:docMk/>
            <pc:sldMk cId="3905609269" sldId="2147480206"/>
            <ac:spMk id="83" creationId="{54BF2800-D3DF-785F-8BD6-371112B81FF8}"/>
          </ac:spMkLst>
        </pc:spChg>
        <pc:spChg chg="add del mod modVis">
          <ac:chgData name="Hugo Liabeuf" userId="a9defb0f-a7f4-478c-b61b-a76d3d661b31" providerId="ADAL" clId="{ABD2F74A-712B-4083-A42A-5FB1F7D04898}" dt="2024-06-07T07:38:57.852" v="27709"/>
          <ac:spMkLst>
            <pc:docMk/>
            <pc:sldMk cId="3905609269" sldId="2147480206"/>
            <ac:spMk id="84" creationId="{09539F63-A04A-9F3C-3313-5BC75CDFE692}"/>
          </ac:spMkLst>
        </pc:spChg>
        <pc:spChg chg="add del mod modVis">
          <ac:chgData name="Hugo Liabeuf" userId="a9defb0f-a7f4-478c-b61b-a76d3d661b31" providerId="ADAL" clId="{ABD2F74A-712B-4083-A42A-5FB1F7D04898}" dt="2024-06-07T07:39:00.574" v="27751"/>
          <ac:spMkLst>
            <pc:docMk/>
            <pc:sldMk cId="3905609269" sldId="2147480206"/>
            <ac:spMk id="85" creationId="{6C59AB4A-E075-1AA9-FF50-3D0E87945DAD}"/>
          </ac:spMkLst>
        </pc:spChg>
        <pc:spChg chg="add del mod modVis">
          <ac:chgData name="Hugo Liabeuf" userId="a9defb0f-a7f4-478c-b61b-a76d3d661b31" providerId="ADAL" clId="{ABD2F74A-712B-4083-A42A-5FB1F7D04898}" dt="2024-06-07T07:39:04.530" v="27786"/>
          <ac:spMkLst>
            <pc:docMk/>
            <pc:sldMk cId="3905609269" sldId="2147480206"/>
            <ac:spMk id="86" creationId="{33C8A3FE-EE1B-E5FC-3AED-4653A217D631}"/>
          </ac:spMkLst>
        </pc:spChg>
        <pc:spChg chg="add del mod modVis">
          <ac:chgData name="Hugo Liabeuf" userId="a9defb0f-a7f4-478c-b61b-a76d3d661b31" providerId="ADAL" clId="{ABD2F74A-712B-4083-A42A-5FB1F7D04898}" dt="2024-06-07T07:39:05.488" v="27818"/>
          <ac:spMkLst>
            <pc:docMk/>
            <pc:sldMk cId="3905609269" sldId="2147480206"/>
            <ac:spMk id="87" creationId="{F95C9B92-7B66-1EFA-793B-12F260314A7D}"/>
          </ac:spMkLst>
        </pc:spChg>
        <pc:spChg chg="add del mod modVis">
          <ac:chgData name="Hugo Liabeuf" userId="a9defb0f-a7f4-478c-b61b-a76d3d661b31" providerId="ADAL" clId="{ABD2F74A-712B-4083-A42A-5FB1F7D04898}" dt="2024-06-07T07:39:07.646" v="27859"/>
          <ac:spMkLst>
            <pc:docMk/>
            <pc:sldMk cId="3905609269" sldId="2147480206"/>
            <ac:spMk id="88" creationId="{7D7C7868-6DB9-F30A-52E3-7C897126C83F}"/>
          </ac:spMkLst>
        </pc:spChg>
        <pc:spChg chg="add del mod modVis">
          <ac:chgData name="Hugo Liabeuf" userId="a9defb0f-a7f4-478c-b61b-a76d3d661b31" providerId="ADAL" clId="{ABD2F74A-712B-4083-A42A-5FB1F7D04898}" dt="2024-06-07T07:39:09.528" v="27902"/>
          <ac:spMkLst>
            <pc:docMk/>
            <pc:sldMk cId="3905609269" sldId="2147480206"/>
            <ac:spMk id="89" creationId="{9A2269D5-F9D0-8DE6-CC7C-63901EA8C4E2}"/>
          </ac:spMkLst>
        </pc:spChg>
        <pc:spChg chg="add del mod modVis">
          <ac:chgData name="Hugo Liabeuf" userId="a9defb0f-a7f4-478c-b61b-a76d3d661b31" providerId="ADAL" clId="{ABD2F74A-712B-4083-A42A-5FB1F7D04898}" dt="2024-06-07T07:39:12.827" v="27930"/>
          <ac:spMkLst>
            <pc:docMk/>
            <pc:sldMk cId="3905609269" sldId="2147480206"/>
            <ac:spMk id="90" creationId="{583282F7-11B2-44FF-A9F5-DA9F057D12D6}"/>
          </ac:spMkLst>
        </pc:spChg>
        <pc:spChg chg="add del mod modVis">
          <ac:chgData name="Hugo Liabeuf" userId="a9defb0f-a7f4-478c-b61b-a76d3d661b31" providerId="ADAL" clId="{ABD2F74A-712B-4083-A42A-5FB1F7D04898}" dt="2024-06-07T07:39:13.605" v="27959"/>
          <ac:spMkLst>
            <pc:docMk/>
            <pc:sldMk cId="3905609269" sldId="2147480206"/>
            <ac:spMk id="91" creationId="{59632D22-3DAA-D504-3D6E-E082796B6F5C}"/>
          </ac:spMkLst>
        </pc:spChg>
        <pc:spChg chg="add del mod modVis">
          <ac:chgData name="Hugo Liabeuf" userId="a9defb0f-a7f4-478c-b61b-a76d3d661b31" providerId="ADAL" clId="{ABD2F74A-712B-4083-A42A-5FB1F7D04898}" dt="2024-06-07T07:39:15.707" v="27989"/>
          <ac:spMkLst>
            <pc:docMk/>
            <pc:sldMk cId="3905609269" sldId="2147480206"/>
            <ac:spMk id="92" creationId="{A88FC30E-189E-3EF3-FA02-2F561329F993}"/>
          </ac:spMkLst>
        </pc:spChg>
        <pc:spChg chg="add del mod modVis">
          <ac:chgData name="Hugo Liabeuf" userId="a9defb0f-a7f4-478c-b61b-a76d3d661b31" providerId="ADAL" clId="{ABD2F74A-712B-4083-A42A-5FB1F7D04898}" dt="2024-06-07T07:39:21.758" v="28019"/>
          <ac:spMkLst>
            <pc:docMk/>
            <pc:sldMk cId="3905609269" sldId="2147480206"/>
            <ac:spMk id="93" creationId="{80C76AEB-DED0-8ADA-6EF3-8F65339F0D32}"/>
          </ac:spMkLst>
        </pc:spChg>
        <pc:graphicFrameChg chg="mod">
          <ac:chgData name="Hugo Liabeuf" userId="a9defb0f-a7f4-478c-b61b-a76d3d661b31" providerId="ADAL" clId="{ABD2F74A-712B-4083-A42A-5FB1F7D04898}" dt="2024-06-07T07:39:21.780" v="28021"/>
          <ac:graphicFrameMkLst>
            <pc:docMk/>
            <pc:sldMk cId="3905609269" sldId="2147480206"/>
            <ac:graphicFrameMk id="7" creationId="{57ABD133-26C5-21C8-4B91-2A485C09FA0C}"/>
          </ac:graphicFrameMkLst>
        </pc:graphicFrameChg>
        <pc:graphicFrameChg chg="mod ord modGraphic">
          <ac:chgData name="Hugo Liabeuf" userId="a9defb0f-a7f4-478c-b61b-a76d3d661b31" providerId="ADAL" clId="{ABD2F74A-712B-4083-A42A-5FB1F7D04898}" dt="2024-06-07T07:33:20.962" v="26578"/>
          <ac:graphicFrameMkLst>
            <pc:docMk/>
            <pc:sldMk cId="3905609269" sldId="2147480206"/>
            <ac:graphicFrameMk id="10" creationId="{48E571F7-5241-E488-86A7-BC0ADE46539E}"/>
          </ac:graphicFrameMkLst>
        </pc:graphicFrameChg>
        <pc:graphicFrameChg chg="add del mod ord replST">
          <ac:chgData name="Hugo Liabeuf" userId="a9defb0f-a7f4-478c-b61b-a76d3d661b31" providerId="ADAL" clId="{ABD2F74A-712B-4083-A42A-5FB1F7D04898}" dt="2024-06-07T07:17:37.041" v="24252"/>
          <ac:graphicFrameMkLst>
            <pc:docMk/>
            <pc:sldMk cId="3905609269" sldId="2147480206"/>
            <ac:graphicFrameMk id="41" creationId="{75FB9967-0622-12AC-BD5A-8FC49317E2A8}"/>
          </ac:graphicFrameMkLst>
        </pc:graphicFrameChg>
        <pc:graphicFrameChg chg="del">
          <ac:chgData name="Hugo Liabeuf" userId="a9defb0f-a7f4-478c-b61b-a76d3d661b31" providerId="ADAL" clId="{ABD2F74A-712B-4083-A42A-5FB1F7D04898}" dt="2024-06-07T07:17:35.870" v="24130"/>
          <ac:graphicFrameMkLst>
            <pc:docMk/>
            <pc:sldMk cId="3905609269" sldId="2147480206"/>
            <ac:graphicFrameMk id="42" creationId="{A4D5101F-4121-0F5C-CE1F-03891A91BC08}"/>
          </ac:graphicFrameMkLst>
        </pc:graphicFrameChg>
        <pc:graphicFrameChg chg="del mod ord">
          <ac:chgData name="Hugo Liabeuf" userId="a9defb0f-a7f4-478c-b61b-a76d3d661b31" providerId="ADAL" clId="{ABD2F74A-712B-4083-A42A-5FB1F7D04898}" dt="2024-06-07T07:18:11.700" v="24559"/>
          <ac:graphicFrameMkLst>
            <pc:docMk/>
            <pc:sldMk cId="3905609269" sldId="2147480206"/>
            <ac:graphicFrameMk id="43" creationId="{0366EBBF-F91B-00EC-32D7-8FB8E7519BB4}"/>
          </ac:graphicFrameMkLst>
        </pc:graphicFrameChg>
        <pc:graphicFrameChg chg="del mod ord">
          <ac:chgData name="Hugo Liabeuf" userId="a9defb0f-a7f4-478c-b61b-a76d3d661b31" providerId="ADAL" clId="{ABD2F74A-712B-4083-A42A-5FB1F7D04898}" dt="2024-06-07T07:18:11.785" v="24586"/>
          <ac:graphicFrameMkLst>
            <pc:docMk/>
            <pc:sldMk cId="3905609269" sldId="2147480206"/>
            <ac:graphicFrameMk id="44" creationId="{E8341C81-EF90-A578-5A75-93739D3083E9}"/>
          </ac:graphicFrameMkLst>
        </pc:graphicFrameChg>
        <pc:graphicFrameChg chg="add del mod ord">
          <ac:chgData name="Hugo Liabeuf" userId="a9defb0f-a7f4-478c-b61b-a76d3d661b31" providerId="ADAL" clId="{ABD2F74A-712B-4083-A42A-5FB1F7D04898}" dt="2024-06-07T07:18:11.822" v="24607"/>
          <ac:graphicFrameMkLst>
            <pc:docMk/>
            <pc:sldMk cId="3905609269" sldId="2147480206"/>
            <ac:graphicFrameMk id="45" creationId="{4E5F2F91-9009-4D9F-0EAA-FA1BD2738179}"/>
          </ac:graphicFrameMkLst>
        </pc:graphicFrameChg>
        <pc:graphicFrameChg chg="add del mod ord replST">
          <ac:chgData name="Hugo Liabeuf" userId="a9defb0f-a7f4-478c-b61b-a76d3d661b31" providerId="ADAL" clId="{ABD2F74A-712B-4083-A42A-5FB1F7D04898}" dt="2024-06-07T07:18:11.566" v="24519"/>
          <ac:graphicFrameMkLst>
            <pc:docMk/>
            <pc:sldMk cId="3905609269" sldId="2147480206"/>
            <ac:graphicFrameMk id="47" creationId="{A2E36EC2-D3E6-4C8E-65EC-DC187B53F49D}"/>
          </ac:graphicFrameMkLst>
        </pc:graphicFrameChg>
        <pc:graphicFrameChg chg="add mod ord replST delST">
          <ac:chgData name="Hugo Liabeuf" userId="a9defb0f-a7f4-478c-b61b-a76d3d661b31" providerId="ADAL" clId="{ABD2F74A-712B-4083-A42A-5FB1F7D04898}" dt="2024-06-07T07:18:04.534" v="24431"/>
          <ac:graphicFrameMkLst>
            <pc:docMk/>
            <pc:sldMk cId="3905609269" sldId="2147480206"/>
            <ac:graphicFrameMk id="49" creationId="{42705458-EBC4-8067-7EB0-2A332E969B7A}"/>
          </ac:graphicFrameMkLst>
        </pc:graphicFrameChg>
        <pc:graphicFrameChg chg="add del mod ord replST">
          <ac:chgData name="Hugo Liabeuf" userId="a9defb0f-a7f4-478c-b61b-a76d3d661b31" providerId="ADAL" clId="{ABD2F74A-712B-4083-A42A-5FB1F7D04898}" dt="2024-06-07T07:18:13.669" v="24731"/>
          <ac:graphicFrameMkLst>
            <pc:docMk/>
            <pc:sldMk cId="3905609269" sldId="2147480206"/>
            <ac:graphicFrameMk id="51" creationId="{2F101824-4A27-F516-53B7-02EFC33E4FE3}"/>
          </ac:graphicFrameMkLst>
        </pc:graphicFrameChg>
        <pc:graphicFrameChg chg="add del mod ord replST">
          <ac:chgData name="Hugo Liabeuf" userId="a9defb0f-a7f4-478c-b61b-a76d3d661b31" providerId="ADAL" clId="{ABD2F74A-712B-4083-A42A-5FB1F7D04898}" dt="2024-06-07T07:18:13.718" v="24757"/>
          <ac:graphicFrameMkLst>
            <pc:docMk/>
            <pc:sldMk cId="3905609269" sldId="2147480206"/>
            <ac:graphicFrameMk id="52" creationId="{5BC347A3-7FC7-01C8-B312-22F5109B3EBD}"/>
          </ac:graphicFrameMkLst>
        </pc:graphicFrameChg>
        <pc:graphicFrameChg chg="add del mod ord replST">
          <ac:chgData name="Hugo Liabeuf" userId="a9defb0f-a7f4-478c-b61b-a76d3d661b31" providerId="ADAL" clId="{ABD2F74A-712B-4083-A42A-5FB1F7D04898}" dt="2024-06-07T07:18:13.830" v="24778"/>
          <ac:graphicFrameMkLst>
            <pc:docMk/>
            <pc:sldMk cId="3905609269" sldId="2147480206"/>
            <ac:graphicFrameMk id="53" creationId="{8428D650-EAC5-9C92-E208-6EF352810706}"/>
          </ac:graphicFrameMkLst>
        </pc:graphicFrameChg>
        <pc:graphicFrameChg chg="add del mod ord replST">
          <ac:chgData name="Hugo Liabeuf" userId="a9defb0f-a7f4-478c-b61b-a76d3d661b31" providerId="ADAL" clId="{ABD2F74A-712B-4083-A42A-5FB1F7D04898}" dt="2024-06-07T07:18:13.869" v="24797"/>
          <ac:graphicFrameMkLst>
            <pc:docMk/>
            <pc:sldMk cId="3905609269" sldId="2147480206"/>
            <ac:graphicFrameMk id="54" creationId="{A6D76C65-F4CC-CCB6-5A6B-E2180D21C54D}"/>
          </ac:graphicFrameMkLst>
        </pc:graphicFrameChg>
        <pc:graphicFrameChg chg="add del mod ord replST">
          <ac:chgData name="Hugo Liabeuf" userId="a9defb0f-a7f4-478c-b61b-a76d3d661b31" providerId="ADAL" clId="{ABD2F74A-712B-4083-A42A-5FB1F7D04898}" dt="2024-06-07T07:18:15.395" v="24921"/>
          <ac:graphicFrameMkLst>
            <pc:docMk/>
            <pc:sldMk cId="3905609269" sldId="2147480206"/>
            <ac:graphicFrameMk id="56" creationId="{C28BF526-9B42-A8E9-F4C2-B3F70E6FE6F1}"/>
          </ac:graphicFrameMkLst>
        </pc:graphicFrameChg>
        <pc:graphicFrameChg chg="add del mod ord replST">
          <ac:chgData name="Hugo Liabeuf" userId="a9defb0f-a7f4-478c-b61b-a76d3d661b31" providerId="ADAL" clId="{ABD2F74A-712B-4083-A42A-5FB1F7D04898}" dt="2024-06-07T07:18:15.452" v="24947"/>
          <ac:graphicFrameMkLst>
            <pc:docMk/>
            <pc:sldMk cId="3905609269" sldId="2147480206"/>
            <ac:graphicFrameMk id="57" creationId="{6C10A6B1-455B-1B3A-B771-80C034A60CCF}"/>
          </ac:graphicFrameMkLst>
        </pc:graphicFrameChg>
        <pc:graphicFrameChg chg="add del mod ord replST">
          <ac:chgData name="Hugo Liabeuf" userId="a9defb0f-a7f4-478c-b61b-a76d3d661b31" providerId="ADAL" clId="{ABD2F74A-712B-4083-A42A-5FB1F7D04898}" dt="2024-06-07T07:18:15.485" v="24968"/>
          <ac:graphicFrameMkLst>
            <pc:docMk/>
            <pc:sldMk cId="3905609269" sldId="2147480206"/>
            <ac:graphicFrameMk id="58" creationId="{1BA23ADC-200B-7181-3578-294E482087A1}"/>
          </ac:graphicFrameMkLst>
        </pc:graphicFrameChg>
        <pc:graphicFrameChg chg="add del mod ord replST">
          <ac:chgData name="Hugo Liabeuf" userId="a9defb0f-a7f4-478c-b61b-a76d3d661b31" providerId="ADAL" clId="{ABD2F74A-712B-4083-A42A-5FB1F7D04898}" dt="2024-06-07T07:18:15.574" v="24987"/>
          <ac:graphicFrameMkLst>
            <pc:docMk/>
            <pc:sldMk cId="3905609269" sldId="2147480206"/>
            <ac:graphicFrameMk id="59" creationId="{A53CEABD-C752-149C-2A44-1382E1DB96CC}"/>
          </ac:graphicFrameMkLst>
        </pc:graphicFrameChg>
        <pc:graphicFrameChg chg="add del mod ord replST">
          <ac:chgData name="Hugo Liabeuf" userId="a9defb0f-a7f4-478c-b61b-a76d3d661b31" providerId="ADAL" clId="{ABD2F74A-712B-4083-A42A-5FB1F7D04898}" dt="2024-06-07T07:18:27.552" v="25173"/>
          <ac:graphicFrameMkLst>
            <pc:docMk/>
            <pc:sldMk cId="3905609269" sldId="2147480206"/>
            <ac:graphicFrameMk id="61" creationId="{DE7D1554-16D8-B271-FCED-A37BBCCF3B3E}"/>
          </ac:graphicFrameMkLst>
        </pc:graphicFrameChg>
        <pc:graphicFrameChg chg="add del mod ord replST">
          <ac:chgData name="Hugo Liabeuf" userId="a9defb0f-a7f4-478c-b61b-a76d3d661b31" providerId="ADAL" clId="{ABD2F74A-712B-4083-A42A-5FB1F7D04898}" dt="2024-06-07T07:18:39.090" v="25358"/>
          <ac:graphicFrameMkLst>
            <pc:docMk/>
            <pc:sldMk cId="3905609269" sldId="2147480206"/>
            <ac:graphicFrameMk id="62" creationId="{D7305216-CCE9-FB22-83ED-7B06CED1CE61}"/>
          </ac:graphicFrameMkLst>
        </pc:graphicFrameChg>
        <pc:graphicFrameChg chg="add del mod ord replST">
          <ac:chgData name="Hugo Liabeuf" userId="a9defb0f-a7f4-478c-b61b-a76d3d661b31" providerId="ADAL" clId="{ABD2F74A-712B-4083-A42A-5FB1F7D04898}" dt="2024-06-07T07:18:52.398" v="25493"/>
          <ac:graphicFrameMkLst>
            <pc:docMk/>
            <pc:sldMk cId="3905609269" sldId="2147480206"/>
            <ac:graphicFrameMk id="63" creationId="{C1193B3C-C47D-17FC-F68E-508BBCC8C04D}"/>
          </ac:graphicFrameMkLst>
        </pc:graphicFrameChg>
        <pc:graphicFrameChg chg="add del mod ord replST">
          <ac:chgData name="Hugo Liabeuf" userId="a9defb0f-a7f4-478c-b61b-a76d3d661b31" providerId="ADAL" clId="{ABD2F74A-712B-4083-A42A-5FB1F7D04898}" dt="2024-06-07T07:18:23.668" v="25059"/>
          <ac:graphicFrameMkLst>
            <pc:docMk/>
            <pc:sldMk cId="3905609269" sldId="2147480206"/>
            <ac:graphicFrameMk id="64" creationId="{F607F5CC-1F77-97C4-4DF5-7D5D883D3A3F}"/>
          </ac:graphicFrameMkLst>
        </pc:graphicFrameChg>
        <pc:graphicFrameChg chg="add del mod ord replST">
          <ac:chgData name="Hugo Liabeuf" userId="a9defb0f-a7f4-478c-b61b-a76d3d661b31" providerId="ADAL" clId="{ABD2F74A-712B-4083-A42A-5FB1F7D04898}" dt="2024-06-07T07:21:38.933" v="25782"/>
          <ac:graphicFrameMkLst>
            <pc:docMk/>
            <pc:sldMk cId="3905609269" sldId="2147480206"/>
            <ac:graphicFrameMk id="65" creationId="{4B453C52-7815-D652-149F-BCFF831A2020}"/>
          </ac:graphicFrameMkLst>
        </pc:graphicFrameChg>
        <pc:graphicFrameChg chg="add del mod ord replST">
          <ac:chgData name="Hugo Liabeuf" userId="a9defb0f-a7f4-478c-b61b-a76d3d661b31" providerId="ADAL" clId="{ABD2F74A-712B-4083-A42A-5FB1F7D04898}" dt="2024-06-07T07:18:35.641" v="25290"/>
          <ac:graphicFrameMkLst>
            <pc:docMk/>
            <pc:sldMk cId="3905609269" sldId="2147480206"/>
            <ac:graphicFrameMk id="67" creationId="{C9CCEDF8-9EEA-C2FA-8CFE-FE7AF6CF8774}"/>
          </ac:graphicFrameMkLst>
        </pc:graphicFrameChg>
        <pc:graphicFrameChg chg="add del mod ord replST">
          <ac:chgData name="Hugo Liabeuf" userId="a9defb0f-a7f4-478c-b61b-a76d3d661b31" providerId="ADAL" clId="{ABD2F74A-712B-4083-A42A-5FB1F7D04898}" dt="2024-06-07T07:33:16.473" v="26448"/>
          <ac:graphicFrameMkLst>
            <pc:docMk/>
            <pc:sldMk cId="3905609269" sldId="2147480206"/>
            <ac:graphicFrameMk id="69" creationId="{356EC197-085F-D72E-2EF5-83BA85318FEA}"/>
          </ac:graphicFrameMkLst>
        </pc:graphicFrameChg>
        <pc:graphicFrameChg chg="add del mod ord replST">
          <ac:chgData name="Hugo Liabeuf" userId="a9defb0f-a7f4-478c-b61b-a76d3d661b31" providerId="ADAL" clId="{ABD2F74A-712B-4083-A42A-5FB1F7D04898}" dt="2024-06-07T07:18:44.456" v="25424"/>
          <ac:graphicFrameMkLst>
            <pc:docMk/>
            <pc:sldMk cId="3905609269" sldId="2147480206"/>
            <ac:graphicFrameMk id="70" creationId="{8802946D-8D2F-CC44-819E-5D4C012E9F79}"/>
          </ac:graphicFrameMkLst>
        </pc:graphicFrameChg>
        <pc:graphicFrameChg chg="add mod ord replST">
          <ac:chgData name="Hugo Liabeuf" userId="a9defb0f-a7f4-478c-b61b-a76d3d661b31" providerId="ADAL" clId="{ABD2F74A-712B-4083-A42A-5FB1F7D04898}" dt="2024-06-07T07:33:20.962" v="26594"/>
          <ac:graphicFrameMkLst>
            <pc:docMk/>
            <pc:sldMk cId="3905609269" sldId="2147480206"/>
            <ac:graphicFrameMk id="71" creationId="{1774CE94-D1BE-E68D-A984-A05C87878D17}"/>
          </ac:graphicFrameMkLst>
        </pc:graphicFrameChg>
        <pc:graphicFrameChg chg="add del mod ord replST">
          <ac:chgData name="Hugo Liabeuf" userId="a9defb0f-a7f4-478c-b61b-a76d3d661b31" providerId="ADAL" clId="{ABD2F74A-712B-4083-A42A-5FB1F7D04898}" dt="2024-06-07T07:18:56.377" v="25562"/>
          <ac:graphicFrameMkLst>
            <pc:docMk/>
            <pc:sldMk cId="3905609269" sldId="2147480206"/>
            <ac:graphicFrameMk id="72" creationId="{13ABA64B-49D4-521B-0B02-B42B335904F2}"/>
          </ac:graphicFrameMkLst>
        </pc:graphicFrameChg>
        <pc:graphicFrameChg chg="add del mod ord replST">
          <ac:chgData name="Hugo Liabeuf" userId="a9defb0f-a7f4-478c-b61b-a76d3d661b31" providerId="ADAL" clId="{ABD2F74A-712B-4083-A42A-5FB1F7D04898}" dt="2024-06-07T07:21:32.909" v="25716"/>
          <ac:graphicFrameMkLst>
            <pc:docMk/>
            <pc:sldMk cId="3905609269" sldId="2147480206"/>
            <ac:graphicFrameMk id="73" creationId="{240D00AF-C05E-5877-6003-F5F4D62BE081}"/>
          </ac:graphicFrameMkLst>
        </pc:graphicFrameChg>
        <pc:graphicFrameChg chg="add del mod ord replST">
          <ac:chgData name="Hugo Liabeuf" userId="a9defb0f-a7f4-478c-b61b-a76d3d661b31" providerId="ADAL" clId="{ABD2F74A-712B-4083-A42A-5FB1F7D04898}" dt="2024-06-07T07:31:07.828" v="26138"/>
          <ac:graphicFrameMkLst>
            <pc:docMk/>
            <pc:sldMk cId="3905609269" sldId="2147480206"/>
            <ac:graphicFrameMk id="74" creationId="{04187E23-264D-23F7-9A76-65B7A0780AC4}"/>
          </ac:graphicFrameMkLst>
        </pc:graphicFrameChg>
        <pc:graphicFrameChg chg="add del mod ord replST">
          <ac:chgData name="Hugo Liabeuf" userId="a9defb0f-a7f4-478c-b61b-a76d3d661b31" providerId="ADAL" clId="{ABD2F74A-712B-4083-A42A-5FB1F7D04898}" dt="2024-06-07T07:31:01.981" v="26070"/>
          <ac:graphicFrameMkLst>
            <pc:docMk/>
            <pc:sldMk cId="3905609269" sldId="2147480206"/>
            <ac:graphicFrameMk id="75" creationId="{CC55EA66-D4C5-A593-A95B-8357AAC40669}"/>
          </ac:graphicFrameMkLst>
        </pc:graphicFrameChg>
        <pc:graphicFrameChg chg="add mod ord replST">
          <ac:chgData name="Hugo Liabeuf" userId="a9defb0f-a7f4-478c-b61b-a76d3d661b31" providerId="ADAL" clId="{ABD2F74A-712B-4083-A42A-5FB1F7D04898}" dt="2024-06-07T07:33:20.972" v="26609"/>
          <ac:graphicFrameMkLst>
            <pc:docMk/>
            <pc:sldMk cId="3905609269" sldId="2147480206"/>
            <ac:graphicFrameMk id="76" creationId="{9575B0CA-798C-DE76-CFE4-AA1E955858F1}"/>
          </ac:graphicFrameMkLst>
        </pc:graphicFrameChg>
        <pc:graphicFrameChg chg="add mod ord replST">
          <ac:chgData name="Hugo Liabeuf" userId="a9defb0f-a7f4-478c-b61b-a76d3d661b31" providerId="ADAL" clId="{ABD2F74A-712B-4083-A42A-5FB1F7D04898}" dt="2024-06-07T07:33:20.970" v="26600"/>
          <ac:graphicFrameMkLst>
            <pc:docMk/>
            <pc:sldMk cId="3905609269" sldId="2147480206"/>
            <ac:graphicFrameMk id="77" creationId="{98C1902F-DA17-7AF8-E9DC-3DB27211128E}"/>
          </ac:graphicFrameMkLst>
        </pc:graphicFrameChg>
        <pc:graphicFrameChg chg="add del mod ord replST">
          <ac:chgData name="Hugo Liabeuf" userId="a9defb0f-a7f4-478c-b61b-a76d3d661b31" providerId="ADAL" clId="{ABD2F74A-712B-4083-A42A-5FB1F7D04898}" dt="2024-06-07T07:33:20.911" v="26564"/>
          <ac:graphicFrameMkLst>
            <pc:docMk/>
            <pc:sldMk cId="3905609269" sldId="2147480206"/>
            <ac:graphicFrameMk id="79" creationId="{18976B71-007B-BB2B-B11F-F463D4E42446}"/>
          </ac:graphicFrameMkLst>
        </pc:graphicFrameChg>
        <pc:graphicFrameChg chg="add mod ord replST">
          <ac:chgData name="Hugo Liabeuf" userId="a9defb0f-a7f4-478c-b61b-a76d3d661b31" providerId="ADAL" clId="{ABD2F74A-712B-4083-A42A-5FB1F7D04898}" dt="2024-06-07T07:33:20.962" v="26580"/>
          <ac:graphicFrameMkLst>
            <pc:docMk/>
            <pc:sldMk cId="3905609269" sldId="2147480206"/>
            <ac:graphicFrameMk id="81" creationId="{4A12F272-F68A-DF64-2A18-2BADDE50AB75}"/>
          </ac:graphicFrameMkLst>
        </pc:graphicFrameChg>
        <pc:picChg chg="mod">
          <ac:chgData name="Hugo Liabeuf" userId="a9defb0f-a7f4-478c-b61b-a76d3d661b31" providerId="ADAL" clId="{ABD2F74A-712B-4083-A42A-5FB1F7D04898}" dt="2024-06-07T07:33:20.962" v="26587"/>
          <ac:picMkLst>
            <pc:docMk/>
            <pc:sldMk cId="3905609269" sldId="2147480206"/>
            <ac:picMk id="18" creationId="{40214310-041B-E3D3-A8B8-8A15895EB18E}"/>
          </ac:picMkLst>
        </pc:picChg>
        <pc:picChg chg="mod">
          <ac:chgData name="Hugo Liabeuf" userId="a9defb0f-a7f4-478c-b61b-a76d3d661b31" providerId="ADAL" clId="{ABD2F74A-712B-4083-A42A-5FB1F7D04898}" dt="2024-06-07T07:33:20.962" v="26588"/>
          <ac:picMkLst>
            <pc:docMk/>
            <pc:sldMk cId="3905609269" sldId="2147480206"/>
            <ac:picMk id="19" creationId="{3BE35547-62AC-EFEA-C0DB-00D2E4BCFB74}"/>
          </ac:picMkLst>
        </pc:picChg>
        <pc:picChg chg="mod">
          <ac:chgData name="Hugo Liabeuf" userId="a9defb0f-a7f4-478c-b61b-a76d3d661b31" providerId="ADAL" clId="{ABD2F74A-712B-4083-A42A-5FB1F7D04898}" dt="2024-06-07T07:33:20.962" v="26589"/>
          <ac:picMkLst>
            <pc:docMk/>
            <pc:sldMk cId="3905609269" sldId="2147480206"/>
            <ac:picMk id="20" creationId="{1593C3A5-8DAA-FB61-7F52-AD2532FB0065}"/>
          </ac:picMkLst>
        </pc:picChg>
        <pc:picChg chg="mod">
          <ac:chgData name="Hugo Liabeuf" userId="a9defb0f-a7f4-478c-b61b-a76d3d661b31" providerId="ADAL" clId="{ABD2F74A-712B-4083-A42A-5FB1F7D04898}" dt="2024-06-07T07:33:20.962" v="26590"/>
          <ac:picMkLst>
            <pc:docMk/>
            <pc:sldMk cId="3905609269" sldId="2147480206"/>
            <ac:picMk id="21" creationId="{2FC448B6-8024-9087-AB31-7045F11F6893}"/>
          </ac:picMkLst>
        </pc:picChg>
        <pc:picChg chg="mod">
          <ac:chgData name="Hugo Liabeuf" userId="a9defb0f-a7f4-478c-b61b-a76d3d661b31" providerId="ADAL" clId="{ABD2F74A-712B-4083-A42A-5FB1F7D04898}" dt="2024-06-07T07:33:20.962" v="26591"/>
          <ac:picMkLst>
            <pc:docMk/>
            <pc:sldMk cId="3905609269" sldId="2147480206"/>
            <ac:picMk id="22" creationId="{D5732C8C-506C-3DCD-1612-1C73A3E72310}"/>
          </ac:picMkLst>
        </pc:picChg>
        <pc:picChg chg="mod">
          <ac:chgData name="Hugo Liabeuf" userId="a9defb0f-a7f4-478c-b61b-a76d3d661b31" providerId="ADAL" clId="{ABD2F74A-712B-4083-A42A-5FB1F7D04898}" dt="2024-06-07T07:33:20.962" v="26592"/>
          <ac:picMkLst>
            <pc:docMk/>
            <pc:sldMk cId="3905609269" sldId="2147480206"/>
            <ac:picMk id="23" creationId="{EA8018B0-2275-CA10-B03F-727F7463414E}"/>
          </ac:picMkLst>
        </pc:picChg>
        <pc:picChg chg="mod">
          <ac:chgData name="Hugo Liabeuf" userId="a9defb0f-a7f4-478c-b61b-a76d3d661b31" providerId="ADAL" clId="{ABD2F74A-712B-4083-A42A-5FB1F7D04898}" dt="2024-06-07T07:33:20.962" v="26597"/>
          <ac:picMkLst>
            <pc:docMk/>
            <pc:sldMk cId="3905609269" sldId="2147480206"/>
            <ac:picMk id="27" creationId="{526A2C5D-91A2-ACA0-EAD3-05FA148CBD37}"/>
          </ac:picMkLst>
        </pc:picChg>
        <pc:picChg chg="mod">
          <ac:chgData name="Hugo Liabeuf" userId="a9defb0f-a7f4-478c-b61b-a76d3d661b31" providerId="ADAL" clId="{ABD2F74A-712B-4083-A42A-5FB1F7D04898}" dt="2024-06-07T07:33:20.962" v="26598"/>
          <ac:picMkLst>
            <pc:docMk/>
            <pc:sldMk cId="3905609269" sldId="2147480206"/>
            <ac:picMk id="28" creationId="{81021100-7A9D-D6CB-31CC-DF71CD60E3BA}"/>
          </ac:picMkLst>
        </pc:picChg>
        <pc:picChg chg="mod ord">
          <ac:chgData name="Hugo Liabeuf" userId="a9defb0f-a7f4-478c-b61b-a76d3d661b31" providerId="ADAL" clId="{ABD2F74A-712B-4083-A42A-5FB1F7D04898}" dt="2024-06-07T07:33:20.970" v="26605"/>
          <ac:picMkLst>
            <pc:docMk/>
            <pc:sldMk cId="3905609269" sldId="2147480206"/>
            <ac:picMk id="33" creationId="{03D11997-62A8-647E-C319-CAC177B7823C}"/>
          </ac:picMkLst>
        </pc:picChg>
        <pc:picChg chg="mod">
          <ac:chgData name="Hugo Liabeuf" userId="a9defb0f-a7f4-478c-b61b-a76d3d661b31" providerId="ADAL" clId="{ABD2F74A-712B-4083-A42A-5FB1F7D04898}" dt="2024-06-07T07:33:20.972" v="26606"/>
          <ac:picMkLst>
            <pc:docMk/>
            <pc:sldMk cId="3905609269" sldId="2147480206"/>
            <ac:picMk id="34" creationId="{A59DEE9A-DCC2-9841-233B-0A9960292722}"/>
          </ac:picMkLst>
        </pc:picChg>
        <pc:picChg chg="mod">
          <ac:chgData name="Hugo Liabeuf" userId="a9defb0f-a7f4-478c-b61b-a76d3d661b31" providerId="ADAL" clId="{ABD2F74A-712B-4083-A42A-5FB1F7D04898}" dt="2024-06-07T07:33:20.972" v="26607"/>
          <ac:picMkLst>
            <pc:docMk/>
            <pc:sldMk cId="3905609269" sldId="2147480206"/>
            <ac:picMk id="35" creationId="{DDC487DB-DAE3-53F7-8B34-B754AD12CC3C}"/>
          </ac:picMkLst>
        </pc:picChg>
        <pc:picChg chg="mod ord">
          <ac:chgData name="Hugo Liabeuf" userId="a9defb0f-a7f4-478c-b61b-a76d3d661b31" providerId="ADAL" clId="{ABD2F74A-712B-4083-A42A-5FB1F7D04898}" dt="2024-06-07T07:33:20.975" v="26612"/>
          <ac:picMkLst>
            <pc:docMk/>
            <pc:sldMk cId="3905609269" sldId="2147480206"/>
            <ac:picMk id="38" creationId="{2EDB1978-A6D0-87AB-080B-9A057EBD3260}"/>
          </ac:picMkLst>
        </pc:picChg>
        <pc:picChg chg="mod">
          <ac:chgData name="Hugo Liabeuf" userId="a9defb0f-a7f4-478c-b61b-a76d3d661b31" providerId="ADAL" clId="{ABD2F74A-712B-4083-A42A-5FB1F7D04898}" dt="2024-06-07T07:33:20.975" v="26613"/>
          <ac:picMkLst>
            <pc:docMk/>
            <pc:sldMk cId="3905609269" sldId="2147480206"/>
            <ac:picMk id="39" creationId="{645D2D9B-06CF-4744-3C8A-A64F63AA3468}"/>
          </ac:picMkLst>
        </pc:picChg>
      </pc:sldChg>
      <pc:sldChg chg="add ord">
        <pc:chgData name="Hugo Liabeuf" userId="a9defb0f-a7f4-478c-b61b-a76d3d661b31" providerId="ADAL" clId="{ABD2F74A-712B-4083-A42A-5FB1F7D04898}" dt="2024-06-07T07:45:43.688" v="28292"/>
        <pc:sldMkLst>
          <pc:docMk/>
          <pc:sldMk cId="2654514192" sldId="2147480207"/>
        </pc:sldMkLst>
      </pc:sldChg>
    </pc:docChg>
  </pc:docChgLst>
  <pc:docChgLst>
    <pc:chgData name="Tommaso Mazzanti" userId="b40e6897-c53e-4d91-8cb5-f78aefb19534" providerId="ADAL" clId="{DA1D342E-80B8-4013-951D-9A6EF874EAE7}"/>
    <pc:docChg chg="custSel modSld">
      <pc:chgData name="Tommaso Mazzanti" userId="b40e6897-c53e-4d91-8cb5-f78aefb19534" providerId="ADAL" clId="{DA1D342E-80B8-4013-951D-9A6EF874EAE7}" dt="2024-06-11T10:10:20.241" v="2" actId="20578"/>
      <pc:docMkLst>
        <pc:docMk/>
      </pc:docMkLst>
      <pc:sldChg chg="modSp">
        <pc:chgData name="Tommaso Mazzanti" userId="b40e6897-c53e-4d91-8cb5-f78aefb19534" providerId="ADAL" clId="{DA1D342E-80B8-4013-951D-9A6EF874EAE7}" dt="2024-06-11T10:10:20.241" v="2" actId="20578"/>
        <pc:sldMkLst>
          <pc:docMk/>
          <pc:sldMk cId="2592078673" sldId="2147480174"/>
        </pc:sldMkLst>
        <pc:spChg chg="mod">
          <ac:chgData name="Tommaso Mazzanti" userId="b40e6897-c53e-4d91-8cb5-f78aefb19534" providerId="ADAL" clId="{DA1D342E-80B8-4013-951D-9A6EF874EAE7}" dt="2024-06-11T10:10:20.241" v="2" actId="20578"/>
          <ac:spMkLst>
            <pc:docMk/>
            <pc:sldMk cId="2592078673" sldId="2147480174"/>
            <ac:spMk id="19" creationId="{7C6CD252-CE8C-5C39-A7AE-F1D35B18E3B1}"/>
          </ac:spMkLst>
        </pc:spChg>
      </pc:sldChg>
      <pc:sldChg chg="delSp mod">
        <pc:chgData name="Tommaso Mazzanti" userId="b40e6897-c53e-4d91-8cb5-f78aefb19534" providerId="ADAL" clId="{DA1D342E-80B8-4013-951D-9A6EF874EAE7}" dt="2024-06-11T09:24:17.212" v="0" actId="478"/>
        <pc:sldMkLst>
          <pc:docMk/>
          <pc:sldMk cId="3389593180" sldId="2147480176"/>
        </pc:sldMkLst>
        <pc:spChg chg="del">
          <ac:chgData name="Tommaso Mazzanti" userId="b40e6897-c53e-4d91-8cb5-f78aefb19534" providerId="ADAL" clId="{DA1D342E-80B8-4013-951D-9A6EF874EAE7}" dt="2024-06-11T09:24:17.212" v="0" actId="478"/>
          <ac:spMkLst>
            <pc:docMk/>
            <pc:sldMk cId="3389593180" sldId="2147480176"/>
            <ac:spMk id="4" creationId="{D26626C4-E840-B873-4035-12B7F1E89D38}"/>
          </ac:spMkLst>
        </pc:spChg>
      </pc:sldChg>
    </pc:docChg>
  </pc:docChgLst>
  <pc:docChgLst>
    <pc:chgData name="Mike Hemsley" userId="9f02a154-27b8-4070-a6aa-35242cf654f1" providerId="ADAL" clId="{D6B285BA-6E88-47B0-9EE6-0FFBAC9BEB27}"/>
    <pc:docChg chg="custSel delSld modSld">
      <pc:chgData name="Mike Hemsley" userId="9f02a154-27b8-4070-a6aa-35242cf654f1" providerId="ADAL" clId="{D6B285BA-6E88-47B0-9EE6-0FFBAC9BEB27}" dt="2024-06-07T14:55:32.687" v="51" actId="14100"/>
      <pc:docMkLst>
        <pc:docMk/>
      </pc:docMkLst>
      <pc:sldChg chg="del">
        <pc:chgData name="Mike Hemsley" userId="9f02a154-27b8-4070-a6aa-35242cf654f1" providerId="ADAL" clId="{D6B285BA-6E88-47B0-9EE6-0FFBAC9BEB27}" dt="2024-06-07T14:53:43.092" v="2" actId="47"/>
        <pc:sldMkLst>
          <pc:docMk/>
          <pc:sldMk cId="1153556450" sldId="2147480143"/>
        </pc:sldMkLst>
      </pc:sldChg>
      <pc:sldChg chg="modSp mod">
        <pc:chgData name="Mike Hemsley" userId="9f02a154-27b8-4070-a6aa-35242cf654f1" providerId="ADAL" clId="{D6B285BA-6E88-47B0-9EE6-0FFBAC9BEB27}" dt="2024-06-07T14:55:32.687" v="51" actId="14100"/>
        <pc:sldMkLst>
          <pc:docMk/>
          <pc:sldMk cId="402746537" sldId="2147480168"/>
        </pc:sldMkLst>
        <pc:spChg chg="mod">
          <ac:chgData name="Mike Hemsley" userId="9f02a154-27b8-4070-a6aa-35242cf654f1" providerId="ADAL" clId="{D6B285BA-6E88-47B0-9EE6-0FFBAC9BEB27}" dt="2024-06-07T14:55:32.687" v="51" actId="14100"/>
          <ac:spMkLst>
            <pc:docMk/>
            <pc:sldMk cId="402746537" sldId="2147480168"/>
            <ac:spMk id="21" creationId="{70375E2F-92F8-F29B-85D4-AF2407007966}"/>
          </ac:spMkLst>
        </pc:spChg>
      </pc:sldChg>
      <pc:sldChg chg="del">
        <pc:chgData name="Mike Hemsley" userId="9f02a154-27b8-4070-a6aa-35242cf654f1" providerId="ADAL" clId="{D6B285BA-6E88-47B0-9EE6-0FFBAC9BEB27}" dt="2024-06-07T14:53:36.045" v="0" actId="47"/>
        <pc:sldMkLst>
          <pc:docMk/>
          <pc:sldMk cId="3234357912" sldId="2147480186"/>
        </pc:sldMkLst>
      </pc:sldChg>
      <pc:sldChg chg="del">
        <pc:chgData name="Mike Hemsley" userId="9f02a154-27b8-4070-a6aa-35242cf654f1" providerId="ADAL" clId="{D6B285BA-6E88-47B0-9EE6-0FFBAC9BEB27}" dt="2024-06-07T14:53:47.103" v="3" actId="47"/>
        <pc:sldMkLst>
          <pc:docMk/>
          <pc:sldMk cId="1462849642" sldId="2147480189"/>
        </pc:sldMkLst>
      </pc:sldChg>
      <pc:sldChg chg="del">
        <pc:chgData name="Mike Hemsley" userId="9f02a154-27b8-4070-a6aa-35242cf654f1" providerId="ADAL" clId="{D6B285BA-6E88-47B0-9EE6-0FFBAC9BEB27}" dt="2024-06-07T14:53:36.045" v="0" actId="47"/>
        <pc:sldMkLst>
          <pc:docMk/>
          <pc:sldMk cId="1770834126" sldId="2147480191"/>
        </pc:sldMkLst>
      </pc:sldChg>
      <pc:sldChg chg="del">
        <pc:chgData name="Mike Hemsley" userId="9f02a154-27b8-4070-a6aa-35242cf654f1" providerId="ADAL" clId="{D6B285BA-6E88-47B0-9EE6-0FFBAC9BEB27}" dt="2024-06-07T14:53:38.241" v="1" actId="47"/>
        <pc:sldMkLst>
          <pc:docMk/>
          <pc:sldMk cId="296682081" sldId="2147480192"/>
        </pc:sldMkLst>
      </pc:sldChg>
      <pc:sldChg chg="del">
        <pc:chgData name="Mike Hemsley" userId="9f02a154-27b8-4070-a6aa-35242cf654f1" providerId="ADAL" clId="{D6B285BA-6E88-47B0-9EE6-0FFBAC9BEB27}" dt="2024-06-07T14:53:36.045" v="0" actId="47"/>
        <pc:sldMkLst>
          <pc:docMk/>
          <pc:sldMk cId="834293998" sldId="2147480193"/>
        </pc:sldMkLst>
      </pc:sldChg>
      <pc:sldChg chg="del">
        <pc:chgData name="Mike Hemsley" userId="9f02a154-27b8-4070-a6aa-35242cf654f1" providerId="ADAL" clId="{D6B285BA-6E88-47B0-9EE6-0FFBAC9BEB27}" dt="2024-06-07T14:53:36.045" v="0" actId="47"/>
        <pc:sldMkLst>
          <pc:docMk/>
          <pc:sldMk cId="1193546312" sldId="2147480194"/>
        </pc:sldMkLst>
      </pc:sldChg>
      <pc:sldChg chg="del">
        <pc:chgData name="Mike Hemsley" userId="9f02a154-27b8-4070-a6aa-35242cf654f1" providerId="ADAL" clId="{D6B285BA-6E88-47B0-9EE6-0FFBAC9BEB27}" dt="2024-06-07T14:53:36.045" v="0" actId="47"/>
        <pc:sldMkLst>
          <pc:docMk/>
          <pc:sldMk cId="1870629386" sldId="2147480195"/>
        </pc:sldMkLst>
      </pc:sldChg>
      <pc:sldChg chg="del">
        <pc:chgData name="Mike Hemsley" userId="9f02a154-27b8-4070-a6aa-35242cf654f1" providerId="ADAL" clId="{D6B285BA-6E88-47B0-9EE6-0FFBAC9BEB27}" dt="2024-06-07T14:53:36.045" v="0" actId="47"/>
        <pc:sldMkLst>
          <pc:docMk/>
          <pc:sldMk cId="3692994647" sldId="2147480196"/>
        </pc:sldMkLst>
      </pc:sldChg>
      <pc:sldChg chg="del">
        <pc:chgData name="Mike Hemsley" userId="9f02a154-27b8-4070-a6aa-35242cf654f1" providerId="ADAL" clId="{D6B285BA-6E88-47B0-9EE6-0FFBAC9BEB27}" dt="2024-06-07T14:53:36.045" v="0" actId="47"/>
        <pc:sldMkLst>
          <pc:docMk/>
          <pc:sldMk cId="425700436" sldId="2147480198"/>
        </pc:sldMkLst>
      </pc:sldChg>
      <pc:sldChg chg="del">
        <pc:chgData name="Mike Hemsley" userId="9f02a154-27b8-4070-a6aa-35242cf654f1" providerId="ADAL" clId="{D6B285BA-6E88-47B0-9EE6-0FFBAC9BEB27}" dt="2024-06-07T14:53:36.045" v="0" actId="47"/>
        <pc:sldMkLst>
          <pc:docMk/>
          <pc:sldMk cId="3939735184" sldId="2147480199"/>
        </pc:sldMkLst>
      </pc:sldChg>
      <pc:sldChg chg="del">
        <pc:chgData name="Mike Hemsley" userId="9f02a154-27b8-4070-a6aa-35242cf654f1" providerId="ADAL" clId="{D6B285BA-6E88-47B0-9EE6-0FFBAC9BEB27}" dt="2024-06-07T14:53:36.045" v="0" actId="47"/>
        <pc:sldMkLst>
          <pc:docMk/>
          <pc:sldMk cId="1641059709" sldId="2147480200"/>
        </pc:sldMkLst>
      </pc:sldChg>
      <pc:sldChg chg="del">
        <pc:chgData name="Mike Hemsley" userId="9f02a154-27b8-4070-a6aa-35242cf654f1" providerId="ADAL" clId="{D6B285BA-6E88-47B0-9EE6-0FFBAC9BEB27}" dt="2024-06-07T14:53:36.045" v="0" actId="47"/>
        <pc:sldMkLst>
          <pc:docMk/>
          <pc:sldMk cId="2010145902" sldId="2147480201"/>
        </pc:sldMkLst>
      </pc:sldChg>
      <pc:sldChg chg="del">
        <pc:chgData name="Mike Hemsley" userId="9f02a154-27b8-4070-a6aa-35242cf654f1" providerId="ADAL" clId="{D6B285BA-6E88-47B0-9EE6-0FFBAC9BEB27}" dt="2024-06-07T14:53:36.045" v="0" actId="47"/>
        <pc:sldMkLst>
          <pc:docMk/>
          <pc:sldMk cId="3556782556" sldId="2147480202"/>
        </pc:sldMkLst>
      </pc:sldChg>
      <pc:sldChg chg="del">
        <pc:chgData name="Mike Hemsley" userId="9f02a154-27b8-4070-a6aa-35242cf654f1" providerId="ADAL" clId="{D6B285BA-6E88-47B0-9EE6-0FFBAC9BEB27}" dt="2024-06-07T14:53:36.045" v="0" actId="47"/>
        <pc:sldMkLst>
          <pc:docMk/>
          <pc:sldMk cId="2379153866" sldId="2147480203"/>
        </pc:sldMkLst>
      </pc:sldChg>
      <pc:sldChg chg="del">
        <pc:chgData name="Mike Hemsley" userId="9f02a154-27b8-4070-a6aa-35242cf654f1" providerId="ADAL" clId="{D6B285BA-6E88-47B0-9EE6-0FFBAC9BEB27}" dt="2024-06-07T14:53:36.045" v="0" actId="47"/>
        <pc:sldMkLst>
          <pc:docMk/>
          <pc:sldMk cId="406882751" sldId="2147480204"/>
        </pc:sldMkLst>
      </pc:sldChg>
      <pc:sldChg chg="modSp mod">
        <pc:chgData name="Mike Hemsley" userId="9f02a154-27b8-4070-a6aa-35242cf654f1" providerId="ADAL" clId="{D6B285BA-6E88-47B0-9EE6-0FFBAC9BEB27}" dt="2024-06-07T14:55:24.210" v="40" actId="1038"/>
        <pc:sldMkLst>
          <pc:docMk/>
          <pc:sldMk cId="175466614" sldId="2147480205"/>
        </pc:sldMkLst>
        <pc:spChg chg="mod">
          <ac:chgData name="Mike Hemsley" userId="9f02a154-27b8-4070-a6aa-35242cf654f1" providerId="ADAL" clId="{D6B285BA-6E88-47B0-9EE6-0FFBAC9BEB27}" dt="2024-06-07T14:55:24.210" v="40" actId="1038"/>
          <ac:spMkLst>
            <pc:docMk/>
            <pc:sldMk cId="175466614" sldId="2147480205"/>
            <ac:spMk id="36" creationId="{F4D504F4-0AA8-F083-42BF-4E21E6BA202E}"/>
          </ac:spMkLst>
        </pc:spChg>
        <pc:spChg chg="mod">
          <ac:chgData name="Mike Hemsley" userId="9f02a154-27b8-4070-a6aa-35242cf654f1" providerId="ADAL" clId="{D6B285BA-6E88-47B0-9EE6-0FFBAC9BEB27}" dt="2024-06-07T14:55:24.210" v="40" actId="1038"/>
          <ac:spMkLst>
            <pc:docMk/>
            <pc:sldMk cId="175466614" sldId="2147480205"/>
            <ac:spMk id="37" creationId="{06CC8C0A-D571-CC4F-996C-7E6C870FBD48}"/>
          </ac:spMkLst>
        </pc:spChg>
        <pc:spChg chg="mod">
          <ac:chgData name="Mike Hemsley" userId="9f02a154-27b8-4070-a6aa-35242cf654f1" providerId="ADAL" clId="{D6B285BA-6E88-47B0-9EE6-0FFBAC9BEB27}" dt="2024-06-07T14:55:24.210" v="40" actId="1038"/>
          <ac:spMkLst>
            <pc:docMk/>
            <pc:sldMk cId="175466614" sldId="2147480205"/>
            <ac:spMk id="478" creationId="{8D9FDF46-401C-12E9-230D-A34391267AB2}"/>
          </ac:spMkLst>
        </pc:spChg>
      </pc:sldChg>
      <pc:sldChg chg="del">
        <pc:chgData name="Mike Hemsley" userId="9f02a154-27b8-4070-a6aa-35242cf654f1" providerId="ADAL" clId="{D6B285BA-6E88-47B0-9EE6-0FFBAC9BEB27}" dt="2024-06-07T14:53:36.045" v="0" actId="47"/>
        <pc:sldMkLst>
          <pc:docMk/>
          <pc:sldMk cId="3905609269" sldId="2147480206"/>
        </pc:sldMkLst>
      </pc:sldChg>
      <pc:sldChg chg="del">
        <pc:chgData name="Mike Hemsley" userId="9f02a154-27b8-4070-a6aa-35242cf654f1" providerId="ADAL" clId="{D6B285BA-6E88-47B0-9EE6-0FFBAC9BEB27}" dt="2024-06-07T14:53:36.045" v="0" actId="47"/>
        <pc:sldMkLst>
          <pc:docMk/>
          <pc:sldMk cId="4199283748" sldId="2147480208"/>
        </pc:sldMkLst>
      </pc:sldChg>
      <pc:sldChg chg="del">
        <pc:chgData name="Mike Hemsley" userId="9f02a154-27b8-4070-a6aa-35242cf654f1" providerId="ADAL" clId="{D6B285BA-6E88-47B0-9EE6-0FFBAC9BEB27}" dt="2024-06-07T14:53:36.045" v="0" actId="47"/>
        <pc:sldMkLst>
          <pc:docMk/>
          <pc:sldMk cId="877887209" sldId="2147480209"/>
        </pc:sldMkLst>
      </pc:sldChg>
    </pc:docChg>
  </pc:docChgLst>
  <pc:docChgLst>
    <pc:chgData name="Mike Hemsley" userId="9f02a154-27b8-4070-a6aa-35242cf654f1" providerId="ADAL" clId="{5BB78CE2-F28E-4900-AA8F-6935B0DF2F6F}"/>
    <pc:docChg chg="undo custSel addSld delSld modSld sldOrd replTag">
      <pc:chgData name="Mike Hemsley" userId="9f02a154-27b8-4070-a6aa-35242cf654f1" providerId="ADAL" clId="{5BB78CE2-F28E-4900-AA8F-6935B0DF2F6F}" dt="2024-06-07T14:49:54.395" v="3208"/>
      <pc:docMkLst>
        <pc:docMk/>
      </pc:docMkLst>
      <pc:sldChg chg="add">
        <pc:chgData name="Mike Hemsley" userId="9f02a154-27b8-4070-a6aa-35242cf654f1" providerId="ADAL" clId="{5BB78CE2-F28E-4900-AA8F-6935B0DF2F6F}" dt="2024-06-07T14:22:11.935" v="1561"/>
        <pc:sldMkLst>
          <pc:docMk/>
          <pc:sldMk cId="2468953481" sldId="304"/>
        </pc:sldMkLst>
      </pc:sldChg>
      <pc:sldChg chg="add">
        <pc:chgData name="Mike Hemsley" userId="9f02a154-27b8-4070-a6aa-35242cf654f1" providerId="ADAL" clId="{5BB78CE2-F28E-4900-AA8F-6935B0DF2F6F}" dt="2024-06-07T14:22:11.935" v="1561"/>
        <pc:sldMkLst>
          <pc:docMk/>
          <pc:sldMk cId="1015193690" sldId="2147473885"/>
        </pc:sldMkLst>
      </pc:sldChg>
      <pc:sldChg chg="addSp delSp modSp add mod">
        <pc:chgData name="Mike Hemsley" userId="9f02a154-27b8-4070-a6aa-35242cf654f1" providerId="ADAL" clId="{5BB78CE2-F28E-4900-AA8F-6935B0DF2F6F}" dt="2024-06-07T14:22:23.187" v="1589"/>
        <pc:sldMkLst>
          <pc:docMk/>
          <pc:sldMk cId="2328066421" sldId="2147479684"/>
        </pc:sldMkLst>
        <pc:spChg chg="add del mod modVis">
          <ac:chgData name="Mike Hemsley" userId="9f02a154-27b8-4070-a6aa-35242cf654f1" providerId="ADAL" clId="{5BB78CE2-F28E-4900-AA8F-6935B0DF2F6F}" dt="2024-06-07T14:22:23.169" v="1587"/>
          <ac:spMkLst>
            <pc:docMk/>
            <pc:sldMk cId="2328066421" sldId="2147479684"/>
            <ac:spMk id="3" creationId="{806B9689-C24C-7CA8-B12F-65F388B61870}"/>
          </ac:spMkLst>
        </pc:spChg>
        <pc:spChg chg="mod">
          <ac:chgData name="Mike Hemsley" userId="9f02a154-27b8-4070-a6aa-35242cf654f1" providerId="ADAL" clId="{5BB78CE2-F28E-4900-AA8F-6935B0DF2F6F}" dt="2024-06-07T14:22:23.060" v="1563" actId="948"/>
          <ac:spMkLst>
            <pc:docMk/>
            <pc:sldMk cId="2328066421" sldId="2147479684"/>
            <ac:spMk id="14" creationId="{00B4F3B3-EA08-014D-FCD3-D1F6BACE2C3E}"/>
          </ac:spMkLst>
        </pc:spChg>
        <pc:graphicFrameChg chg="mod">
          <ac:chgData name="Mike Hemsley" userId="9f02a154-27b8-4070-a6aa-35242cf654f1" providerId="ADAL" clId="{5BB78CE2-F28E-4900-AA8F-6935B0DF2F6F}" dt="2024-06-07T14:22:23.187" v="1589"/>
          <ac:graphicFrameMkLst>
            <pc:docMk/>
            <pc:sldMk cId="2328066421" sldId="2147479684"/>
            <ac:graphicFrameMk id="89" creationId="{FAE8DBEA-8B48-9494-D6E9-ADF7D539BF96}"/>
          </ac:graphicFrameMkLst>
        </pc:graphicFrameChg>
      </pc:sldChg>
      <pc:sldChg chg="modSp">
        <pc:chgData name="Mike Hemsley" userId="9f02a154-27b8-4070-a6aa-35242cf654f1" providerId="ADAL" clId="{5BB78CE2-F28E-4900-AA8F-6935B0DF2F6F}" dt="2024-06-05T20:27:14.616" v="217" actId="692"/>
        <pc:sldMkLst>
          <pc:docMk/>
          <pc:sldMk cId="2736534439" sldId="2147479826"/>
        </pc:sldMkLst>
        <pc:graphicFrameChg chg="mod">
          <ac:chgData name="Mike Hemsley" userId="9f02a154-27b8-4070-a6aa-35242cf654f1" providerId="ADAL" clId="{5BB78CE2-F28E-4900-AA8F-6935B0DF2F6F}" dt="2024-06-05T20:27:14.616" v="217" actId="692"/>
          <ac:graphicFrameMkLst>
            <pc:docMk/>
            <pc:sldMk cId="2736534439" sldId="2147479826"/>
            <ac:graphicFrameMk id="1304" creationId="{FD119E93-53A2-2493-95F5-C700C20E8380}"/>
          </ac:graphicFrameMkLst>
        </pc:graphicFrameChg>
      </pc:sldChg>
      <pc:sldChg chg="mod modShow">
        <pc:chgData name="Mike Hemsley" userId="9f02a154-27b8-4070-a6aa-35242cf654f1" providerId="ADAL" clId="{5BB78CE2-F28E-4900-AA8F-6935B0DF2F6F}" dt="2024-06-07T14:34:44.646" v="2950" actId="729"/>
        <pc:sldMkLst>
          <pc:docMk/>
          <pc:sldMk cId="1153556450" sldId="2147480143"/>
        </pc:sldMkLst>
      </pc:sldChg>
      <pc:sldChg chg="modSp mod">
        <pc:chgData name="Mike Hemsley" userId="9f02a154-27b8-4070-a6aa-35242cf654f1" providerId="ADAL" clId="{5BB78CE2-F28E-4900-AA8F-6935B0DF2F6F}" dt="2024-06-05T20:28:16.729" v="224" actId="1076"/>
        <pc:sldMkLst>
          <pc:docMk/>
          <pc:sldMk cId="402746537" sldId="2147480168"/>
        </pc:sldMkLst>
        <pc:spChg chg="mod">
          <ac:chgData name="Mike Hemsley" userId="9f02a154-27b8-4070-a6aa-35242cf654f1" providerId="ADAL" clId="{5BB78CE2-F28E-4900-AA8F-6935B0DF2F6F}" dt="2024-06-05T20:28:16.729" v="224" actId="1076"/>
          <ac:spMkLst>
            <pc:docMk/>
            <pc:sldMk cId="402746537" sldId="2147480168"/>
            <ac:spMk id="21" creationId="{70375E2F-92F8-F29B-85D4-AF2407007966}"/>
          </ac:spMkLst>
        </pc:spChg>
        <pc:graphicFrameChg chg="mod">
          <ac:chgData name="Mike Hemsley" userId="9f02a154-27b8-4070-a6aa-35242cf654f1" providerId="ADAL" clId="{5BB78CE2-F28E-4900-AA8F-6935B0DF2F6F}" dt="2024-06-05T20:28:13.451" v="222"/>
          <ac:graphicFrameMkLst>
            <pc:docMk/>
            <pc:sldMk cId="402746537" sldId="2147480168"/>
            <ac:graphicFrameMk id="74" creationId="{FE4711C3-F9CA-E55C-35ED-E7685DEEEF71}"/>
          </ac:graphicFrameMkLst>
        </pc:graphicFrameChg>
      </pc:sldChg>
      <pc:sldChg chg="del">
        <pc:chgData name="Mike Hemsley" userId="9f02a154-27b8-4070-a6aa-35242cf654f1" providerId="ADAL" clId="{5BB78CE2-F28E-4900-AA8F-6935B0DF2F6F}" dt="2024-06-07T14:48:56.078" v="3205" actId="47"/>
        <pc:sldMkLst>
          <pc:docMk/>
          <pc:sldMk cId="332983751" sldId="2147480172"/>
        </pc:sldMkLst>
      </pc:sldChg>
      <pc:sldChg chg="addSp modSp mod">
        <pc:chgData name="Mike Hemsley" userId="9f02a154-27b8-4070-a6aa-35242cf654f1" providerId="ADAL" clId="{5BB78CE2-F28E-4900-AA8F-6935B0DF2F6F}" dt="2024-06-05T20:37:25.661" v="1560" actId="20577"/>
        <pc:sldMkLst>
          <pc:docMk/>
          <pc:sldMk cId="2710792005" sldId="2147480172"/>
        </pc:sldMkLst>
        <pc:spChg chg="add mod">
          <ac:chgData name="Mike Hemsley" userId="9f02a154-27b8-4070-a6aa-35242cf654f1" providerId="ADAL" clId="{5BB78CE2-F28E-4900-AA8F-6935B0DF2F6F}" dt="2024-06-05T20:37:25.661" v="1560" actId="20577"/>
          <ac:spMkLst>
            <pc:docMk/>
            <pc:sldMk cId="2710792005" sldId="2147480172"/>
            <ac:spMk id="14" creationId="{BB4CE32B-7593-92D5-B18F-6E0C4636E17D}"/>
          </ac:spMkLst>
        </pc:spChg>
      </pc:sldChg>
      <pc:sldChg chg="addSp delSp modSp mod">
        <pc:chgData name="Mike Hemsley" userId="9f02a154-27b8-4070-a6aa-35242cf654f1" providerId="ADAL" clId="{5BB78CE2-F28E-4900-AA8F-6935B0DF2F6F}" dt="2024-06-07T14:33:34.530" v="2949"/>
        <pc:sldMkLst>
          <pc:docMk/>
          <pc:sldMk cId="2592078673" sldId="2147480174"/>
        </pc:sldMkLst>
        <pc:spChg chg="add del mod modVis">
          <ac:chgData name="Mike Hemsley" userId="9f02a154-27b8-4070-a6aa-35242cf654f1" providerId="ADAL" clId="{5BB78CE2-F28E-4900-AA8F-6935B0DF2F6F}" dt="2024-06-07T14:31:38.492" v="1642" actId="962"/>
          <ac:spMkLst>
            <pc:docMk/>
            <pc:sldMk cId="2592078673" sldId="2147480174"/>
            <ac:spMk id="2" creationId="{C4BD69CA-C5D7-AB9F-C80A-8AB009DDAAF6}"/>
          </ac:spMkLst>
        </pc:spChg>
        <pc:spChg chg="mod">
          <ac:chgData name="Mike Hemsley" userId="9f02a154-27b8-4070-a6aa-35242cf654f1" providerId="ADAL" clId="{5BB78CE2-F28E-4900-AA8F-6935B0DF2F6F}" dt="2024-06-07T14:33:34.327" v="2923" actId="948"/>
          <ac:spMkLst>
            <pc:docMk/>
            <pc:sldMk cId="2592078673" sldId="2147480174"/>
            <ac:spMk id="5" creationId="{E4289B17-A53F-0074-2AC0-332BFEF9826E}"/>
          </ac:spMkLst>
        </pc:spChg>
        <pc:spChg chg="add del mod modVis">
          <ac:chgData name="Mike Hemsley" userId="9f02a154-27b8-4070-a6aa-35242cf654f1" providerId="ADAL" clId="{5BB78CE2-F28E-4900-AA8F-6935B0DF2F6F}" dt="2024-06-07T14:31:52.809" v="1679"/>
          <ac:spMkLst>
            <pc:docMk/>
            <pc:sldMk cId="2592078673" sldId="2147480174"/>
            <ac:spMk id="18" creationId="{EE47B61F-C148-3273-658A-550F28EFC70D}"/>
          </ac:spMkLst>
        </pc:spChg>
        <pc:spChg chg="add del mod modVis">
          <ac:chgData name="Mike Hemsley" userId="9f02a154-27b8-4070-a6aa-35242cf654f1" providerId="ADAL" clId="{5BB78CE2-F28E-4900-AA8F-6935B0DF2F6F}" dt="2024-06-07T14:31:55.638" v="1726"/>
          <ac:spMkLst>
            <pc:docMk/>
            <pc:sldMk cId="2592078673" sldId="2147480174"/>
            <ac:spMk id="40" creationId="{62CFDFA9-7FBC-A68F-3930-D03C75AD6811}"/>
          </ac:spMkLst>
        </pc:spChg>
        <pc:spChg chg="add del mod modVis">
          <ac:chgData name="Mike Hemsley" userId="9f02a154-27b8-4070-a6aa-35242cf654f1" providerId="ADAL" clId="{5BB78CE2-F28E-4900-AA8F-6935B0DF2F6F}" dt="2024-06-07T14:31:56.901" v="1758"/>
          <ac:spMkLst>
            <pc:docMk/>
            <pc:sldMk cId="2592078673" sldId="2147480174"/>
            <ac:spMk id="41" creationId="{7AB4870A-E54C-F0DA-8F9E-08F10B4CECFC}"/>
          </ac:spMkLst>
        </pc:spChg>
        <pc:spChg chg="add del mod modVis">
          <ac:chgData name="Mike Hemsley" userId="9f02a154-27b8-4070-a6aa-35242cf654f1" providerId="ADAL" clId="{5BB78CE2-F28E-4900-AA8F-6935B0DF2F6F}" dt="2024-06-07T14:32:00.676" v="1799"/>
          <ac:spMkLst>
            <pc:docMk/>
            <pc:sldMk cId="2592078673" sldId="2147480174"/>
            <ac:spMk id="55" creationId="{AFF1B455-E550-39A0-78DE-2044391DBAE0}"/>
          </ac:spMkLst>
        </pc:spChg>
        <pc:spChg chg="add del mod modVis">
          <ac:chgData name="Mike Hemsley" userId="9f02a154-27b8-4070-a6aa-35242cf654f1" providerId="ADAL" clId="{5BB78CE2-F28E-4900-AA8F-6935B0DF2F6F}" dt="2024-06-07T14:32:03.032" v="1844"/>
          <ac:spMkLst>
            <pc:docMk/>
            <pc:sldMk cId="2592078673" sldId="2147480174"/>
            <ac:spMk id="56" creationId="{203A199F-124E-5AB9-2EF3-397069B21B3F}"/>
          </ac:spMkLst>
        </pc:spChg>
        <pc:spChg chg="add del mod modVis">
          <ac:chgData name="Mike Hemsley" userId="9f02a154-27b8-4070-a6aa-35242cf654f1" providerId="ADAL" clId="{5BB78CE2-F28E-4900-AA8F-6935B0DF2F6F}" dt="2024-06-07T14:32:04.619" v="1878"/>
          <ac:spMkLst>
            <pc:docMk/>
            <pc:sldMk cId="2592078673" sldId="2147480174"/>
            <ac:spMk id="57" creationId="{4115B56F-902A-E7B8-0A7B-DCFEC2D6E880}"/>
          </ac:spMkLst>
        </pc:spChg>
        <pc:spChg chg="add del mod modVis">
          <ac:chgData name="Mike Hemsley" userId="9f02a154-27b8-4070-a6aa-35242cf654f1" providerId="ADAL" clId="{5BB78CE2-F28E-4900-AA8F-6935B0DF2F6F}" dt="2024-06-07T14:32:05.625" v="1911"/>
          <ac:spMkLst>
            <pc:docMk/>
            <pc:sldMk cId="2592078673" sldId="2147480174"/>
            <ac:spMk id="58" creationId="{4F2B48B0-269D-68DB-2529-EAE045B4C070}"/>
          </ac:spMkLst>
        </pc:spChg>
        <pc:spChg chg="add del mod modVis">
          <ac:chgData name="Mike Hemsley" userId="9f02a154-27b8-4070-a6aa-35242cf654f1" providerId="ADAL" clId="{5BB78CE2-F28E-4900-AA8F-6935B0DF2F6F}" dt="2024-06-07T14:32:08.552" v="1953"/>
          <ac:spMkLst>
            <pc:docMk/>
            <pc:sldMk cId="2592078673" sldId="2147480174"/>
            <ac:spMk id="59" creationId="{64824F10-1B9D-603A-D67E-249E50B459B4}"/>
          </ac:spMkLst>
        </pc:spChg>
        <pc:spChg chg="add del mod modVis">
          <ac:chgData name="Mike Hemsley" userId="9f02a154-27b8-4070-a6aa-35242cf654f1" providerId="ADAL" clId="{5BB78CE2-F28E-4900-AA8F-6935B0DF2F6F}" dt="2024-06-07T14:32:10.048" v="1988"/>
          <ac:spMkLst>
            <pc:docMk/>
            <pc:sldMk cId="2592078673" sldId="2147480174"/>
            <ac:spMk id="60" creationId="{24E110E3-7550-BB3E-04C7-45FBD9CAC894}"/>
          </ac:spMkLst>
        </pc:spChg>
        <pc:spChg chg="add del mod modVis">
          <ac:chgData name="Mike Hemsley" userId="9f02a154-27b8-4070-a6aa-35242cf654f1" providerId="ADAL" clId="{5BB78CE2-F28E-4900-AA8F-6935B0DF2F6F}" dt="2024-06-07T14:32:11.127" v="2021"/>
          <ac:spMkLst>
            <pc:docMk/>
            <pc:sldMk cId="2592078673" sldId="2147480174"/>
            <ac:spMk id="61" creationId="{AC1B9794-2785-E312-7FD4-6F475323E1D3}"/>
          </ac:spMkLst>
        </pc:spChg>
        <pc:spChg chg="add del mod modVis">
          <ac:chgData name="Mike Hemsley" userId="9f02a154-27b8-4070-a6aa-35242cf654f1" providerId="ADAL" clId="{5BB78CE2-F28E-4900-AA8F-6935B0DF2F6F}" dt="2024-06-07T14:32:18.536" v="2052"/>
          <ac:spMkLst>
            <pc:docMk/>
            <pc:sldMk cId="2592078673" sldId="2147480174"/>
            <ac:spMk id="62" creationId="{F0645BE1-AA31-EC07-DE43-C4EFE902A49D}"/>
          </ac:spMkLst>
        </pc:spChg>
        <pc:spChg chg="add del mod modVis">
          <ac:chgData name="Mike Hemsley" userId="9f02a154-27b8-4070-a6aa-35242cf654f1" providerId="ADAL" clId="{5BB78CE2-F28E-4900-AA8F-6935B0DF2F6F}" dt="2024-06-07T14:32:29.266" v="2085"/>
          <ac:spMkLst>
            <pc:docMk/>
            <pc:sldMk cId="2592078673" sldId="2147480174"/>
            <ac:spMk id="63" creationId="{77A774C1-06BD-CB9C-73AA-C247BFD7EB1D}"/>
          </ac:spMkLst>
        </pc:spChg>
        <pc:spChg chg="add del mod modVis">
          <ac:chgData name="Mike Hemsley" userId="9f02a154-27b8-4070-a6aa-35242cf654f1" providerId="ADAL" clId="{5BB78CE2-F28E-4900-AA8F-6935B0DF2F6F}" dt="2024-06-07T14:32:30.721" v="2113"/>
          <ac:spMkLst>
            <pc:docMk/>
            <pc:sldMk cId="2592078673" sldId="2147480174"/>
            <ac:spMk id="64" creationId="{0ECBD5DD-5692-EB14-CB89-6F1C5610B7FF}"/>
          </ac:spMkLst>
        </pc:spChg>
        <pc:spChg chg="add del mod modVis">
          <ac:chgData name="Mike Hemsley" userId="9f02a154-27b8-4070-a6aa-35242cf654f1" providerId="ADAL" clId="{5BB78CE2-F28E-4900-AA8F-6935B0DF2F6F}" dt="2024-06-07T14:32:31.405" v="2141"/>
          <ac:spMkLst>
            <pc:docMk/>
            <pc:sldMk cId="2592078673" sldId="2147480174"/>
            <ac:spMk id="65" creationId="{6ACE71E4-5421-159E-DDC5-18D830EA5895}"/>
          </ac:spMkLst>
        </pc:spChg>
        <pc:spChg chg="add del mod modVis">
          <ac:chgData name="Mike Hemsley" userId="9f02a154-27b8-4070-a6aa-35242cf654f1" providerId="ADAL" clId="{5BB78CE2-F28E-4900-AA8F-6935B0DF2F6F}" dt="2024-06-07T14:32:32.805" v="2172"/>
          <ac:spMkLst>
            <pc:docMk/>
            <pc:sldMk cId="2592078673" sldId="2147480174"/>
            <ac:spMk id="66" creationId="{F1D79668-DB5A-3B78-3CB7-22C363775E6F}"/>
          </ac:spMkLst>
        </pc:spChg>
        <pc:spChg chg="add del mod modVis">
          <ac:chgData name="Mike Hemsley" userId="9f02a154-27b8-4070-a6aa-35242cf654f1" providerId="ADAL" clId="{5BB78CE2-F28E-4900-AA8F-6935B0DF2F6F}" dt="2024-06-07T14:32:37.187" v="2202"/>
          <ac:spMkLst>
            <pc:docMk/>
            <pc:sldMk cId="2592078673" sldId="2147480174"/>
            <ac:spMk id="67" creationId="{22313787-5BBB-B108-2572-C4C11E7D1CA0}"/>
          </ac:spMkLst>
        </pc:spChg>
        <pc:spChg chg="add del mod modVis">
          <ac:chgData name="Mike Hemsley" userId="9f02a154-27b8-4070-a6aa-35242cf654f1" providerId="ADAL" clId="{5BB78CE2-F28E-4900-AA8F-6935B0DF2F6F}" dt="2024-06-07T14:32:37.601" v="2232"/>
          <ac:spMkLst>
            <pc:docMk/>
            <pc:sldMk cId="2592078673" sldId="2147480174"/>
            <ac:spMk id="68" creationId="{9ED8B4C2-1616-22BC-F3A1-5A0EAABD0281}"/>
          </ac:spMkLst>
        </pc:spChg>
        <pc:spChg chg="add del mod modVis">
          <ac:chgData name="Mike Hemsley" userId="9f02a154-27b8-4070-a6aa-35242cf654f1" providerId="ADAL" clId="{5BB78CE2-F28E-4900-AA8F-6935B0DF2F6F}" dt="2024-06-07T14:32:39.993" v="2270"/>
          <ac:spMkLst>
            <pc:docMk/>
            <pc:sldMk cId="2592078673" sldId="2147480174"/>
            <ac:spMk id="69" creationId="{2768A2EE-6EF5-43D0-6E50-682B03B04853}"/>
          </ac:spMkLst>
        </pc:spChg>
        <pc:spChg chg="add del mod modVis">
          <ac:chgData name="Mike Hemsley" userId="9f02a154-27b8-4070-a6aa-35242cf654f1" providerId="ADAL" clId="{5BB78CE2-F28E-4900-AA8F-6935B0DF2F6F}" dt="2024-06-07T14:32:42.969" v="2306"/>
          <ac:spMkLst>
            <pc:docMk/>
            <pc:sldMk cId="2592078673" sldId="2147480174"/>
            <ac:spMk id="70" creationId="{9445CB5D-B142-197E-69A7-65F8D9DFFD0F}"/>
          </ac:spMkLst>
        </pc:spChg>
        <pc:spChg chg="add del mod modVis">
          <ac:chgData name="Mike Hemsley" userId="9f02a154-27b8-4070-a6aa-35242cf654f1" providerId="ADAL" clId="{5BB78CE2-F28E-4900-AA8F-6935B0DF2F6F}" dt="2024-06-07T14:32:45.094" v="2338"/>
          <ac:spMkLst>
            <pc:docMk/>
            <pc:sldMk cId="2592078673" sldId="2147480174"/>
            <ac:spMk id="71" creationId="{3AD3302E-2B27-06C4-46FA-2F61969366B6}"/>
          </ac:spMkLst>
        </pc:spChg>
        <pc:spChg chg="add del mod modVis">
          <ac:chgData name="Mike Hemsley" userId="9f02a154-27b8-4070-a6aa-35242cf654f1" providerId="ADAL" clId="{5BB78CE2-F28E-4900-AA8F-6935B0DF2F6F}" dt="2024-06-07T14:32:48.602" v="2390"/>
          <ac:spMkLst>
            <pc:docMk/>
            <pc:sldMk cId="2592078673" sldId="2147480174"/>
            <ac:spMk id="72" creationId="{BDFB4503-272B-9855-300E-3D27F535ADDC}"/>
          </ac:spMkLst>
        </pc:spChg>
        <pc:spChg chg="add del mod modVis">
          <ac:chgData name="Mike Hemsley" userId="9f02a154-27b8-4070-a6aa-35242cf654f1" providerId="ADAL" clId="{5BB78CE2-F28E-4900-AA8F-6935B0DF2F6F}" dt="2024-06-07T14:32:49.545" v="2423"/>
          <ac:spMkLst>
            <pc:docMk/>
            <pc:sldMk cId="2592078673" sldId="2147480174"/>
            <ac:spMk id="73" creationId="{5F1ED926-3744-FEF9-26F7-60C8AF435104}"/>
          </ac:spMkLst>
        </pc:spChg>
        <pc:spChg chg="add del mod modVis">
          <ac:chgData name="Mike Hemsley" userId="9f02a154-27b8-4070-a6aa-35242cf654f1" providerId="ADAL" clId="{5BB78CE2-F28E-4900-AA8F-6935B0DF2F6F}" dt="2024-06-07T14:32:50.572" v="2455"/>
          <ac:spMkLst>
            <pc:docMk/>
            <pc:sldMk cId="2592078673" sldId="2147480174"/>
            <ac:spMk id="74" creationId="{CD41D3E6-74D6-DCA2-8C59-B90EF59732BD}"/>
          </ac:spMkLst>
        </pc:spChg>
        <pc:spChg chg="add del mod modVis">
          <ac:chgData name="Mike Hemsley" userId="9f02a154-27b8-4070-a6aa-35242cf654f1" providerId="ADAL" clId="{5BB78CE2-F28E-4900-AA8F-6935B0DF2F6F}" dt="2024-06-07T14:32:54.667" v="2490"/>
          <ac:spMkLst>
            <pc:docMk/>
            <pc:sldMk cId="2592078673" sldId="2147480174"/>
            <ac:spMk id="75" creationId="{3595DF95-17D5-0E0B-781E-2450407283F3}"/>
          </ac:spMkLst>
        </pc:spChg>
        <pc:spChg chg="add del mod modVis">
          <ac:chgData name="Mike Hemsley" userId="9f02a154-27b8-4070-a6aa-35242cf654f1" providerId="ADAL" clId="{5BB78CE2-F28E-4900-AA8F-6935B0DF2F6F}" dt="2024-06-07T14:32:59.883" v="2522"/>
          <ac:spMkLst>
            <pc:docMk/>
            <pc:sldMk cId="2592078673" sldId="2147480174"/>
            <ac:spMk id="76" creationId="{E69AE929-F764-842A-61F2-F746BCCE28BB}"/>
          </ac:spMkLst>
        </pc:spChg>
        <pc:spChg chg="add del mod modVis">
          <ac:chgData name="Mike Hemsley" userId="9f02a154-27b8-4070-a6aa-35242cf654f1" providerId="ADAL" clId="{5BB78CE2-F28E-4900-AA8F-6935B0DF2F6F}" dt="2024-06-07T14:33:00.613" v="2550"/>
          <ac:spMkLst>
            <pc:docMk/>
            <pc:sldMk cId="2592078673" sldId="2147480174"/>
            <ac:spMk id="77" creationId="{98037808-2587-786D-EF66-3CE4049A0ACB}"/>
          </ac:spMkLst>
        </pc:spChg>
        <pc:spChg chg="add del mod modVis">
          <ac:chgData name="Mike Hemsley" userId="9f02a154-27b8-4070-a6aa-35242cf654f1" providerId="ADAL" clId="{5BB78CE2-F28E-4900-AA8F-6935B0DF2F6F}" dt="2024-06-07T14:33:06.213" v="2589"/>
          <ac:spMkLst>
            <pc:docMk/>
            <pc:sldMk cId="2592078673" sldId="2147480174"/>
            <ac:spMk id="78" creationId="{86DA9AA7-6D9C-2E3B-798B-EE15A7281C6D}"/>
          </ac:spMkLst>
        </pc:spChg>
        <pc:spChg chg="add del mod modVis">
          <ac:chgData name="Mike Hemsley" userId="9f02a154-27b8-4070-a6aa-35242cf654f1" providerId="ADAL" clId="{5BB78CE2-F28E-4900-AA8F-6935B0DF2F6F}" dt="2024-06-07T14:33:13.605" v="2638"/>
          <ac:spMkLst>
            <pc:docMk/>
            <pc:sldMk cId="2592078673" sldId="2147480174"/>
            <ac:spMk id="79" creationId="{EB3095A1-949A-DAEE-AE2B-A805460117C4}"/>
          </ac:spMkLst>
        </pc:spChg>
        <pc:spChg chg="add del mod modVis">
          <ac:chgData name="Mike Hemsley" userId="9f02a154-27b8-4070-a6aa-35242cf654f1" providerId="ADAL" clId="{5BB78CE2-F28E-4900-AA8F-6935B0DF2F6F}" dt="2024-06-07T14:33:14.158" v="2670"/>
          <ac:spMkLst>
            <pc:docMk/>
            <pc:sldMk cId="2592078673" sldId="2147480174"/>
            <ac:spMk id="80" creationId="{D88E5A25-DCA4-1FB0-B328-E1A4E6DCB957}"/>
          </ac:spMkLst>
        </pc:spChg>
        <pc:spChg chg="add del mod modVis">
          <ac:chgData name="Mike Hemsley" userId="9f02a154-27b8-4070-a6aa-35242cf654f1" providerId="ADAL" clId="{5BB78CE2-F28E-4900-AA8F-6935B0DF2F6F}" dt="2024-06-07T14:33:15.513" v="2703"/>
          <ac:spMkLst>
            <pc:docMk/>
            <pc:sldMk cId="2592078673" sldId="2147480174"/>
            <ac:spMk id="81" creationId="{07A8832B-55F8-0290-883D-FF7AB56A3D99}"/>
          </ac:spMkLst>
        </pc:spChg>
        <pc:spChg chg="add del mod modVis">
          <ac:chgData name="Mike Hemsley" userId="9f02a154-27b8-4070-a6aa-35242cf654f1" providerId="ADAL" clId="{5BB78CE2-F28E-4900-AA8F-6935B0DF2F6F}" dt="2024-06-07T14:33:16.142" v="2731"/>
          <ac:spMkLst>
            <pc:docMk/>
            <pc:sldMk cId="2592078673" sldId="2147480174"/>
            <ac:spMk id="82" creationId="{FB3025E5-D390-7B61-0B31-EE5272CDF961}"/>
          </ac:spMkLst>
        </pc:spChg>
        <pc:spChg chg="add del mod modVis">
          <ac:chgData name="Mike Hemsley" userId="9f02a154-27b8-4070-a6aa-35242cf654f1" providerId="ADAL" clId="{5BB78CE2-F28E-4900-AA8F-6935B0DF2F6F}" dt="2024-06-07T14:33:17.150" v="2762"/>
          <ac:spMkLst>
            <pc:docMk/>
            <pc:sldMk cId="2592078673" sldId="2147480174"/>
            <ac:spMk id="85" creationId="{1319FB96-CF00-1738-1C44-776C7C15239C}"/>
          </ac:spMkLst>
        </pc:spChg>
        <pc:spChg chg="add del mod modVis">
          <ac:chgData name="Mike Hemsley" userId="9f02a154-27b8-4070-a6aa-35242cf654f1" providerId="ADAL" clId="{5BB78CE2-F28E-4900-AA8F-6935B0DF2F6F}" dt="2024-06-07T14:33:25.379" v="2804"/>
          <ac:spMkLst>
            <pc:docMk/>
            <pc:sldMk cId="2592078673" sldId="2147480174"/>
            <ac:spMk id="86" creationId="{D38B0C12-9B03-6759-7C2F-3DBC790BFEB1}"/>
          </ac:spMkLst>
        </pc:spChg>
        <pc:spChg chg="add del mod modVis">
          <ac:chgData name="Mike Hemsley" userId="9f02a154-27b8-4070-a6aa-35242cf654f1" providerId="ADAL" clId="{5BB78CE2-F28E-4900-AA8F-6935B0DF2F6F}" dt="2024-06-07T14:33:26.678" v="2842"/>
          <ac:spMkLst>
            <pc:docMk/>
            <pc:sldMk cId="2592078673" sldId="2147480174"/>
            <ac:spMk id="87" creationId="{7E21F5F0-7DA3-7517-75FA-A15B0018EB4D}"/>
          </ac:spMkLst>
        </pc:spChg>
        <pc:spChg chg="add del mod modVis">
          <ac:chgData name="Mike Hemsley" userId="9f02a154-27b8-4070-a6aa-35242cf654f1" providerId="ADAL" clId="{5BB78CE2-F28E-4900-AA8F-6935B0DF2F6F}" dt="2024-06-07T14:33:28.076" v="2874"/>
          <ac:spMkLst>
            <pc:docMk/>
            <pc:sldMk cId="2592078673" sldId="2147480174"/>
            <ac:spMk id="88" creationId="{02F9A97D-DE2C-7824-6F62-689E8C8A353F}"/>
          </ac:spMkLst>
        </pc:spChg>
        <pc:spChg chg="add del mod modVis">
          <ac:chgData name="Mike Hemsley" userId="9f02a154-27b8-4070-a6aa-35242cf654f1" providerId="ADAL" clId="{5BB78CE2-F28E-4900-AA8F-6935B0DF2F6F}" dt="2024-06-07T14:33:34.527" v="2947"/>
          <ac:spMkLst>
            <pc:docMk/>
            <pc:sldMk cId="2592078673" sldId="2147480174"/>
            <ac:spMk id="89" creationId="{06C5FAB2-AD85-05F7-9D52-54A55438492D}"/>
          </ac:spMkLst>
        </pc:spChg>
        <pc:graphicFrameChg chg="mod">
          <ac:chgData name="Mike Hemsley" userId="9f02a154-27b8-4070-a6aa-35242cf654f1" providerId="ADAL" clId="{5BB78CE2-F28E-4900-AA8F-6935B0DF2F6F}" dt="2024-06-07T14:33:34.530" v="2949"/>
          <ac:graphicFrameMkLst>
            <pc:docMk/>
            <pc:sldMk cId="2592078673" sldId="2147480174"/>
            <ac:graphicFrameMk id="7" creationId="{62C3987A-E567-EA74-0662-F6734553A9C9}"/>
          </ac:graphicFrameMkLst>
        </pc:graphicFrameChg>
      </pc:sldChg>
      <pc:sldChg chg="addSp modSp mod ord">
        <pc:chgData name="Mike Hemsley" userId="9f02a154-27b8-4070-a6aa-35242cf654f1" providerId="ADAL" clId="{5BB78CE2-F28E-4900-AA8F-6935B0DF2F6F}" dt="2024-06-07T14:47:55.755" v="3203" actId="1076"/>
        <pc:sldMkLst>
          <pc:docMk/>
          <pc:sldMk cId="3888085572" sldId="2147480175"/>
        </pc:sldMkLst>
        <pc:spChg chg="add mod">
          <ac:chgData name="Mike Hemsley" userId="9f02a154-27b8-4070-a6aa-35242cf654f1" providerId="ADAL" clId="{5BB78CE2-F28E-4900-AA8F-6935B0DF2F6F}" dt="2024-06-05T20:34:41.809" v="1082" actId="1076"/>
          <ac:spMkLst>
            <pc:docMk/>
            <pc:sldMk cId="3888085572" sldId="2147480175"/>
            <ac:spMk id="9" creationId="{892989A7-2FCF-D8FB-8C73-648FF7EE05FC}"/>
          </ac:spMkLst>
        </pc:spChg>
        <pc:spChg chg="mod">
          <ac:chgData name="Mike Hemsley" userId="9f02a154-27b8-4070-a6aa-35242cf654f1" providerId="ADAL" clId="{5BB78CE2-F28E-4900-AA8F-6935B0DF2F6F}" dt="2024-06-07T14:47:55.755" v="3203" actId="1076"/>
          <ac:spMkLst>
            <pc:docMk/>
            <pc:sldMk cId="3888085572" sldId="2147480175"/>
            <ac:spMk id="11" creationId="{D891ABEE-8F80-78BC-4505-B4425809BF97}"/>
          </ac:spMkLst>
        </pc:spChg>
      </pc:sldChg>
      <pc:sldChg chg="modSp mod">
        <pc:chgData name="Mike Hemsley" userId="9f02a154-27b8-4070-a6aa-35242cf654f1" providerId="ADAL" clId="{5BB78CE2-F28E-4900-AA8F-6935B0DF2F6F}" dt="2024-06-05T20:23:50.330" v="14" actId="20577"/>
        <pc:sldMkLst>
          <pc:docMk/>
          <pc:sldMk cId="3389593180" sldId="2147480176"/>
        </pc:sldMkLst>
        <pc:spChg chg="mod">
          <ac:chgData name="Mike Hemsley" userId="9f02a154-27b8-4070-a6aa-35242cf654f1" providerId="ADAL" clId="{5BB78CE2-F28E-4900-AA8F-6935B0DF2F6F}" dt="2024-06-05T20:23:50.330" v="14" actId="20577"/>
          <ac:spMkLst>
            <pc:docMk/>
            <pc:sldMk cId="3389593180" sldId="2147480176"/>
            <ac:spMk id="8" creationId="{BD97A9FF-5A15-E5C1-7EE5-30258AE69AD3}"/>
          </ac:spMkLst>
        </pc:spChg>
      </pc:sldChg>
      <pc:sldChg chg="del">
        <pc:chgData name="Mike Hemsley" userId="9f02a154-27b8-4070-a6aa-35242cf654f1" providerId="ADAL" clId="{5BB78CE2-F28E-4900-AA8F-6935B0DF2F6F}" dt="2024-06-07T14:29:48.351" v="1590" actId="47"/>
        <pc:sldMkLst>
          <pc:docMk/>
          <pc:sldMk cId="2491851083" sldId="2147480179"/>
        </pc:sldMkLst>
      </pc:sldChg>
      <pc:sldChg chg="modSp mod">
        <pc:chgData name="Mike Hemsley" userId="9f02a154-27b8-4070-a6aa-35242cf654f1" providerId="ADAL" clId="{5BB78CE2-F28E-4900-AA8F-6935B0DF2F6F}" dt="2024-06-05T20:26:24.096" v="193"/>
        <pc:sldMkLst>
          <pc:docMk/>
          <pc:sldMk cId="17992381" sldId="2147480180"/>
        </pc:sldMkLst>
        <pc:spChg chg="mod">
          <ac:chgData name="Mike Hemsley" userId="9f02a154-27b8-4070-a6aa-35242cf654f1" providerId="ADAL" clId="{5BB78CE2-F28E-4900-AA8F-6935B0DF2F6F}" dt="2024-06-05T20:26:24.096" v="193"/>
          <ac:spMkLst>
            <pc:docMk/>
            <pc:sldMk cId="17992381" sldId="2147480180"/>
            <ac:spMk id="38" creationId="{6A38FAAE-4862-3B00-9B41-B7924FA65C02}"/>
          </ac:spMkLst>
        </pc:spChg>
        <pc:spChg chg="mod">
          <ac:chgData name="Mike Hemsley" userId="9f02a154-27b8-4070-a6aa-35242cf654f1" providerId="ADAL" clId="{5BB78CE2-F28E-4900-AA8F-6935B0DF2F6F}" dt="2024-06-05T20:26:24.096" v="193"/>
          <ac:spMkLst>
            <pc:docMk/>
            <pc:sldMk cId="17992381" sldId="2147480180"/>
            <ac:spMk id="39" creationId="{CA4A5880-27A0-E1F6-28F0-1F03B685E56B}"/>
          </ac:spMkLst>
        </pc:spChg>
        <pc:spChg chg="mod">
          <ac:chgData name="Mike Hemsley" userId="9f02a154-27b8-4070-a6aa-35242cf654f1" providerId="ADAL" clId="{5BB78CE2-F28E-4900-AA8F-6935B0DF2F6F}" dt="2024-06-05T20:26:24.096" v="193"/>
          <ac:spMkLst>
            <pc:docMk/>
            <pc:sldMk cId="17992381" sldId="2147480180"/>
            <ac:spMk id="41" creationId="{C31506A8-4894-2D6F-9446-8E667E3C57E4}"/>
          </ac:spMkLst>
        </pc:spChg>
        <pc:spChg chg="mod">
          <ac:chgData name="Mike Hemsley" userId="9f02a154-27b8-4070-a6aa-35242cf654f1" providerId="ADAL" clId="{5BB78CE2-F28E-4900-AA8F-6935B0DF2F6F}" dt="2024-06-05T20:26:24.096" v="193"/>
          <ac:spMkLst>
            <pc:docMk/>
            <pc:sldMk cId="17992381" sldId="2147480180"/>
            <ac:spMk id="49" creationId="{E198028E-64CE-E81E-00DE-88F04C904738}"/>
          </ac:spMkLst>
        </pc:spChg>
        <pc:spChg chg="mod">
          <ac:chgData name="Mike Hemsley" userId="9f02a154-27b8-4070-a6aa-35242cf654f1" providerId="ADAL" clId="{5BB78CE2-F28E-4900-AA8F-6935B0DF2F6F}" dt="2024-06-05T20:26:24.096" v="193"/>
          <ac:spMkLst>
            <pc:docMk/>
            <pc:sldMk cId="17992381" sldId="2147480180"/>
            <ac:spMk id="53" creationId="{4F877F28-64B1-943A-6AA3-BD82BB72423E}"/>
          </ac:spMkLst>
        </pc:spChg>
        <pc:spChg chg="mod">
          <ac:chgData name="Mike Hemsley" userId="9f02a154-27b8-4070-a6aa-35242cf654f1" providerId="ADAL" clId="{5BB78CE2-F28E-4900-AA8F-6935B0DF2F6F}" dt="2024-06-05T20:26:24.096" v="193"/>
          <ac:spMkLst>
            <pc:docMk/>
            <pc:sldMk cId="17992381" sldId="2147480180"/>
            <ac:spMk id="55" creationId="{8894771A-493A-B0D7-3414-C214CB2C2FEC}"/>
          </ac:spMkLst>
        </pc:spChg>
        <pc:spChg chg="mod">
          <ac:chgData name="Mike Hemsley" userId="9f02a154-27b8-4070-a6aa-35242cf654f1" providerId="ADAL" clId="{5BB78CE2-F28E-4900-AA8F-6935B0DF2F6F}" dt="2024-06-05T20:26:24.096" v="193"/>
          <ac:spMkLst>
            <pc:docMk/>
            <pc:sldMk cId="17992381" sldId="2147480180"/>
            <ac:spMk id="66" creationId="{F47DCAEE-5802-C0D4-C28D-C8FEBE76ADE2}"/>
          </ac:spMkLst>
        </pc:spChg>
        <pc:spChg chg="mod">
          <ac:chgData name="Mike Hemsley" userId="9f02a154-27b8-4070-a6aa-35242cf654f1" providerId="ADAL" clId="{5BB78CE2-F28E-4900-AA8F-6935B0DF2F6F}" dt="2024-06-05T20:26:24.096" v="193"/>
          <ac:spMkLst>
            <pc:docMk/>
            <pc:sldMk cId="17992381" sldId="2147480180"/>
            <ac:spMk id="67" creationId="{024C2268-E7EC-279C-2365-174B91DBBA2D}"/>
          </ac:spMkLst>
        </pc:spChg>
        <pc:spChg chg="mod">
          <ac:chgData name="Mike Hemsley" userId="9f02a154-27b8-4070-a6aa-35242cf654f1" providerId="ADAL" clId="{5BB78CE2-F28E-4900-AA8F-6935B0DF2F6F}" dt="2024-06-05T20:26:24.096" v="193"/>
          <ac:spMkLst>
            <pc:docMk/>
            <pc:sldMk cId="17992381" sldId="2147480180"/>
            <ac:spMk id="75" creationId="{9087133F-BE72-6904-298F-F654609CE063}"/>
          </ac:spMkLst>
        </pc:spChg>
        <pc:spChg chg="mod">
          <ac:chgData name="Mike Hemsley" userId="9f02a154-27b8-4070-a6aa-35242cf654f1" providerId="ADAL" clId="{5BB78CE2-F28E-4900-AA8F-6935B0DF2F6F}" dt="2024-06-05T20:26:24.096" v="193"/>
          <ac:spMkLst>
            <pc:docMk/>
            <pc:sldMk cId="17992381" sldId="2147480180"/>
            <ac:spMk id="77" creationId="{F3FEB242-D860-388F-FD42-8DD570E25C9E}"/>
          </ac:spMkLst>
        </pc:spChg>
        <pc:spChg chg="mod">
          <ac:chgData name="Mike Hemsley" userId="9f02a154-27b8-4070-a6aa-35242cf654f1" providerId="ADAL" clId="{5BB78CE2-F28E-4900-AA8F-6935B0DF2F6F}" dt="2024-06-05T20:26:24.096" v="193"/>
          <ac:spMkLst>
            <pc:docMk/>
            <pc:sldMk cId="17992381" sldId="2147480180"/>
            <ac:spMk id="83" creationId="{BD793C4A-B5ED-2382-9756-CFC3C3AA7F26}"/>
          </ac:spMkLst>
        </pc:spChg>
        <pc:grpChg chg="mod">
          <ac:chgData name="Mike Hemsley" userId="9f02a154-27b8-4070-a6aa-35242cf654f1" providerId="ADAL" clId="{5BB78CE2-F28E-4900-AA8F-6935B0DF2F6F}" dt="2024-06-05T20:26:24.096" v="193"/>
          <ac:grpSpMkLst>
            <pc:docMk/>
            <pc:sldMk cId="17992381" sldId="2147480180"/>
            <ac:grpSpMk id="44" creationId="{15A654F9-8F15-3B29-2559-18334403AE45}"/>
          </ac:grpSpMkLst>
        </pc:grpChg>
        <pc:grpChg chg="mod">
          <ac:chgData name="Mike Hemsley" userId="9f02a154-27b8-4070-a6aa-35242cf654f1" providerId="ADAL" clId="{5BB78CE2-F28E-4900-AA8F-6935B0DF2F6F}" dt="2024-06-05T20:26:24.096" v="193"/>
          <ac:grpSpMkLst>
            <pc:docMk/>
            <pc:sldMk cId="17992381" sldId="2147480180"/>
            <ac:grpSpMk id="45" creationId="{D7AC5AAE-243F-7BE0-5145-FAD1B6EEE4B7}"/>
          </ac:grpSpMkLst>
        </pc:grpChg>
        <pc:grpChg chg="mod">
          <ac:chgData name="Mike Hemsley" userId="9f02a154-27b8-4070-a6aa-35242cf654f1" providerId="ADAL" clId="{5BB78CE2-F28E-4900-AA8F-6935B0DF2F6F}" dt="2024-06-05T20:26:24.096" v="193"/>
          <ac:grpSpMkLst>
            <pc:docMk/>
            <pc:sldMk cId="17992381" sldId="2147480180"/>
            <ac:grpSpMk id="46" creationId="{0900328B-78F1-64B4-CAF8-1A323C1E20BD}"/>
          </ac:grpSpMkLst>
        </pc:grpChg>
        <pc:grpChg chg="mod">
          <ac:chgData name="Mike Hemsley" userId="9f02a154-27b8-4070-a6aa-35242cf654f1" providerId="ADAL" clId="{5BB78CE2-F28E-4900-AA8F-6935B0DF2F6F}" dt="2024-06-05T20:26:24.096" v="193"/>
          <ac:grpSpMkLst>
            <pc:docMk/>
            <pc:sldMk cId="17992381" sldId="2147480180"/>
            <ac:grpSpMk id="47" creationId="{C60426E4-9676-21B0-D2A7-7F795EA2F974}"/>
          </ac:grpSpMkLst>
        </pc:grpChg>
        <pc:grpChg chg="mod">
          <ac:chgData name="Mike Hemsley" userId="9f02a154-27b8-4070-a6aa-35242cf654f1" providerId="ADAL" clId="{5BB78CE2-F28E-4900-AA8F-6935B0DF2F6F}" dt="2024-06-05T20:26:24.096" v="193"/>
          <ac:grpSpMkLst>
            <pc:docMk/>
            <pc:sldMk cId="17992381" sldId="2147480180"/>
            <ac:grpSpMk id="69" creationId="{5279A113-5182-AE05-F4D3-443A9FB3A662}"/>
          </ac:grpSpMkLst>
        </pc:grpChg>
        <pc:grpChg chg="mod">
          <ac:chgData name="Mike Hemsley" userId="9f02a154-27b8-4070-a6aa-35242cf654f1" providerId="ADAL" clId="{5BB78CE2-F28E-4900-AA8F-6935B0DF2F6F}" dt="2024-06-05T20:26:24.096" v="193"/>
          <ac:grpSpMkLst>
            <pc:docMk/>
            <pc:sldMk cId="17992381" sldId="2147480180"/>
            <ac:grpSpMk id="74" creationId="{751D0094-671F-E89C-85AA-9BB3558DE29D}"/>
          </ac:grpSpMkLst>
        </pc:grpChg>
        <pc:grpChg chg="mod">
          <ac:chgData name="Mike Hemsley" userId="9f02a154-27b8-4070-a6aa-35242cf654f1" providerId="ADAL" clId="{5BB78CE2-F28E-4900-AA8F-6935B0DF2F6F}" dt="2024-06-05T20:26:24.096" v="193"/>
          <ac:grpSpMkLst>
            <pc:docMk/>
            <pc:sldMk cId="17992381" sldId="2147480180"/>
            <ac:grpSpMk id="87" creationId="{173301CD-5508-976C-0CB4-526D7943CFA6}"/>
          </ac:grpSpMkLst>
        </pc:grpChg>
        <pc:grpChg chg="mod">
          <ac:chgData name="Mike Hemsley" userId="9f02a154-27b8-4070-a6aa-35242cf654f1" providerId="ADAL" clId="{5BB78CE2-F28E-4900-AA8F-6935B0DF2F6F}" dt="2024-06-05T20:26:24.096" v="193"/>
          <ac:grpSpMkLst>
            <pc:docMk/>
            <pc:sldMk cId="17992381" sldId="2147480180"/>
            <ac:grpSpMk id="99" creationId="{C1126406-41E2-CA91-B28F-D5EA8FABEDED}"/>
          </ac:grpSpMkLst>
        </pc:grpChg>
        <pc:grpChg chg="mod">
          <ac:chgData name="Mike Hemsley" userId="9f02a154-27b8-4070-a6aa-35242cf654f1" providerId="ADAL" clId="{5BB78CE2-F28E-4900-AA8F-6935B0DF2F6F}" dt="2024-06-05T20:26:24.096" v="193"/>
          <ac:grpSpMkLst>
            <pc:docMk/>
            <pc:sldMk cId="17992381" sldId="2147480180"/>
            <ac:grpSpMk id="101" creationId="{E6D93D32-67DD-21E7-DE1E-1102429E5354}"/>
          </ac:grpSpMkLst>
        </pc:grpChg>
        <pc:picChg chg="mod">
          <ac:chgData name="Mike Hemsley" userId="9f02a154-27b8-4070-a6aa-35242cf654f1" providerId="ADAL" clId="{5BB78CE2-F28E-4900-AA8F-6935B0DF2F6F}" dt="2024-06-05T20:26:24.096" v="193"/>
          <ac:picMkLst>
            <pc:docMk/>
            <pc:sldMk cId="17992381" sldId="2147480180"/>
            <ac:picMk id="48" creationId="{0C63BDBF-2C08-9A4C-FD37-7CE5E5625B85}"/>
          </ac:picMkLst>
        </pc:picChg>
        <pc:picChg chg="mod">
          <ac:chgData name="Mike Hemsley" userId="9f02a154-27b8-4070-a6aa-35242cf654f1" providerId="ADAL" clId="{5BB78CE2-F28E-4900-AA8F-6935B0DF2F6F}" dt="2024-06-05T20:26:24.096" v="193"/>
          <ac:picMkLst>
            <pc:docMk/>
            <pc:sldMk cId="17992381" sldId="2147480180"/>
            <ac:picMk id="50" creationId="{9A5F1D59-9648-2DA7-0BFA-FA61A58CDA75}"/>
          </ac:picMkLst>
        </pc:picChg>
        <pc:picChg chg="mod">
          <ac:chgData name="Mike Hemsley" userId="9f02a154-27b8-4070-a6aa-35242cf654f1" providerId="ADAL" clId="{5BB78CE2-F28E-4900-AA8F-6935B0DF2F6F}" dt="2024-06-05T20:26:24.096" v="193"/>
          <ac:picMkLst>
            <pc:docMk/>
            <pc:sldMk cId="17992381" sldId="2147480180"/>
            <ac:picMk id="51" creationId="{4268F195-CA4A-F252-398D-6E1688012406}"/>
          </ac:picMkLst>
        </pc:picChg>
        <pc:picChg chg="mod">
          <ac:chgData name="Mike Hemsley" userId="9f02a154-27b8-4070-a6aa-35242cf654f1" providerId="ADAL" clId="{5BB78CE2-F28E-4900-AA8F-6935B0DF2F6F}" dt="2024-06-05T20:26:24.096" v="193"/>
          <ac:picMkLst>
            <pc:docMk/>
            <pc:sldMk cId="17992381" sldId="2147480180"/>
            <ac:picMk id="52" creationId="{ACB08DED-1A91-7F6E-BFC5-CF5ED8FD0EA4}"/>
          </ac:picMkLst>
        </pc:picChg>
        <pc:picChg chg="mod">
          <ac:chgData name="Mike Hemsley" userId="9f02a154-27b8-4070-a6aa-35242cf654f1" providerId="ADAL" clId="{5BB78CE2-F28E-4900-AA8F-6935B0DF2F6F}" dt="2024-06-05T20:26:24.096" v="193"/>
          <ac:picMkLst>
            <pc:docMk/>
            <pc:sldMk cId="17992381" sldId="2147480180"/>
            <ac:picMk id="54" creationId="{1588EEEE-CDAF-2908-DA3D-5B4C0D231DA5}"/>
          </ac:picMkLst>
        </pc:picChg>
        <pc:picChg chg="mod">
          <ac:chgData name="Mike Hemsley" userId="9f02a154-27b8-4070-a6aa-35242cf654f1" providerId="ADAL" clId="{5BB78CE2-F28E-4900-AA8F-6935B0DF2F6F}" dt="2024-06-05T20:26:24.096" v="193"/>
          <ac:picMkLst>
            <pc:docMk/>
            <pc:sldMk cId="17992381" sldId="2147480180"/>
            <ac:picMk id="56" creationId="{4A5BD05B-F053-5CAC-50A3-98FAF6FF2ECA}"/>
          </ac:picMkLst>
        </pc:picChg>
        <pc:picChg chg="mod">
          <ac:chgData name="Mike Hemsley" userId="9f02a154-27b8-4070-a6aa-35242cf654f1" providerId="ADAL" clId="{5BB78CE2-F28E-4900-AA8F-6935B0DF2F6F}" dt="2024-06-05T20:26:24.096" v="193"/>
          <ac:picMkLst>
            <pc:docMk/>
            <pc:sldMk cId="17992381" sldId="2147480180"/>
            <ac:picMk id="57" creationId="{65BF8CA8-6644-81CC-F990-E418EFBC115E}"/>
          </ac:picMkLst>
        </pc:picChg>
        <pc:picChg chg="mod">
          <ac:chgData name="Mike Hemsley" userId="9f02a154-27b8-4070-a6aa-35242cf654f1" providerId="ADAL" clId="{5BB78CE2-F28E-4900-AA8F-6935B0DF2F6F}" dt="2024-06-05T20:26:24.096" v="193"/>
          <ac:picMkLst>
            <pc:docMk/>
            <pc:sldMk cId="17992381" sldId="2147480180"/>
            <ac:picMk id="58" creationId="{17415435-2EC5-2022-D995-CAE2BE5FE7F5}"/>
          </ac:picMkLst>
        </pc:picChg>
        <pc:picChg chg="mod">
          <ac:chgData name="Mike Hemsley" userId="9f02a154-27b8-4070-a6aa-35242cf654f1" providerId="ADAL" clId="{5BB78CE2-F28E-4900-AA8F-6935B0DF2F6F}" dt="2024-06-05T20:26:24.096" v="193"/>
          <ac:picMkLst>
            <pc:docMk/>
            <pc:sldMk cId="17992381" sldId="2147480180"/>
            <ac:picMk id="59" creationId="{CC74D77D-12D9-04CD-5371-9991811AF42B}"/>
          </ac:picMkLst>
        </pc:picChg>
        <pc:picChg chg="mod">
          <ac:chgData name="Mike Hemsley" userId="9f02a154-27b8-4070-a6aa-35242cf654f1" providerId="ADAL" clId="{5BB78CE2-F28E-4900-AA8F-6935B0DF2F6F}" dt="2024-06-05T20:26:24.096" v="193"/>
          <ac:picMkLst>
            <pc:docMk/>
            <pc:sldMk cId="17992381" sldId="2147480180"/>
            <ac:picMk id="60" creationId="{739D7B5A-CB5C-8305-A0C1-63951E0F870D}"/>
          </ac:picMkLst>
        </pc:picChg>
        <pc:picChg chg="mod">
          <ac:chgData name="Mike Hemsley" userId="9f02a154-27b8-4070-a6aa-35242cf654f1" providerId="ADAL" clId="{5BB78CE2-F28E-4900-AA8F-6935B0DF2F6F}" dt="2024-06-05T20:26:24.096" v="193"/>
          <ac:picMkLst>
            <pc:docMk/>
            <pc:sldMk cId="17992381" sldId="2147480180"/>
            <ac:picMk id="61" creationId="{4B629E13-777A-89FD-B122-94F3A655C617}"/>
          </ac:picMkLst>
        </pc:picChg>
        <pc:picChg chg="mod">
          <ac:chgData name="Mike Hemsley" userId="9f02a154-27b8-4070-a6aa-35242cf654f1" providerId="ADAL" clId="{5BB78CE2-F28E-4900-AA8F-6935B0DF2F6F}" dt="2024-06-05T20:26:24.096" v="193"/>
          <ac:picMkLst>
            <pc:docMk/>
            <pc:sldMk cId="17992381" sldId="2147480180"/>
            <ac:picMk id="62" creationId="{251A1AD8-0E48-889F-21E1-16A3F90E8B2B}"/>
          </ac:picMkLst>
        </pc:picChg>
        <pc:picChg chg="mod">
          <ac:chgData name="Mike Hemsley" userId="9f02a154-27b8-4070-a6aa-35242cf654f1" providerId="ADAL" clId="{5BB78CE2-F28E-4900-AA8F-6935B0DF2F6F}" dt="2024-06-05T20:26:24.096" v="193"/>
          <ac:picMkLst>
            <pc:docMk/>
            <pc:sldMk cId="17992381" sldId="2147480180"/>
            <ac:picMk id="63" creationId="{AB35A637-7409-F03A-0B0E-0CACC29091E1}"/>
          </ac:picMkLst>
        </pc:picChg>
        <pc:picChg chg="mod">
          <ac:chgData name="Mike Hemsley" userId="9f02a154-27b8-4070-a6aa-35242cf654f1" providerId="ADAL" clId="{5BB78CE2-F28E-4900-AA8F-6935B0DF2F6F}" dt="2024-06-05T20:26:24.096" v="193"/>
          <ac:picMkLst>
            <pc:docMk/>
            <pc:sldMk cId="17992381" sldId="2147480180"/>
            <ac:picMk id="64" creationId="{2D0B024E-FF60-35AA-42B8-2310CD8C002F}"/>
          </ac:picMkLst>
        </pc:picChg>
        <pc:picChg chg="mod">
          <ac:chgData name="Mike Hemsley" userId="9f02a154-27b8-4070-a6aa-35242cf654f1" providerId="ADAL" clId="{5BB78CE2-F28E-4900-AA8F-6935B0DF2F6F}" dt="2024-06-05T20:26:24.096" v="193"/>
          <ac:picMkLst>
            <pc:docMk/>
            <pc:sldMk cId="17992381" sldId="2147480180"/>
            <ac:picMk id="65" creationId="{787B5D35-3662-89FB-A119-C015E972DC70}"/>
          </ac:picMkLst>
        </pc:picChg>
        <pc:picChg chg="mod">
          <ac:chgData name="Mike Hemsley" userId="9f02a154-27b8-4070-a6aa-35242cf654f1" providerId="ADAL" clId="{5BB78CE2-F28E-4900-AA8F-6935B0DF2F6F}" dt="2024-06-05T20:26:24.096" v="193"/>
          <ac:picMkLst>
            <pc:docMk/>
            <pc:sldMk cId="17992381" sldId="2147480180"/>
            <ac:picMk id="76" creationId="{D763FD95-0727-D109-9EF6-4EC5401E340A}"/>
          </ac:picMkLst>
        </pc:picChg>
      </pc:sldChg>
      <pc:sldChg chg="addSp modSp mod">
        <pc:chgData name="Mike Hemsley" userId="9f02a154-27b8-4070-a6aa-35242cf654f1" providerId="ADAL" clId="{5BB78CE2-F28E-4900-AA8F-6935B0DF2F6F}" dt="2024-06-05T20:32:57.016" v="825" actId="5793"/>
        <pc:sldMkLst>
          <pc:docMk/>
          <pc:sldMk cId="2534359699" sldId="2147480182"/>
        </pc:sldMkLst>
        <pc:spChg chg="add mod">
          <ac:chgData name="Mike Hemsley" userId="9f02a154-27b8-4070-a6aa-35242cf654f1" providerId="ADAL" clId="{5BB78CE2-F28E-4900-AA8F-6935B0DF2F6F}" dt="2024-06-05T20:32:57.016" v="825" actId="5793"/>
          <ac:spMkLst>
            <pc:docMk/>
            <pc:sldMk cId="2534359699" sldId="2147480182"/>
            <ac:spMk id="5" creationId="{AFEA9EE2-BCE7-B475-DC5D-5E0334BF130A}"/>
          </ac:spMkLst>
        </pc:spChg>
      </pc:sldChg>
      <pc:sldChg chg="modSp mod">
        <pc:chgData name="Mike Hemsley" userId="9f02a154-27b8-4070-a6aa-35242cf654f1" providerId="ADAL" clId="{5BB78CE2-F28E-4900-AA8F-6935B0DF2F6F}" dt="2024-06-05T20:27:29.511" v="218" actId="20577"/>
        <pc:sldMkLst>
          <pc:docMk/>
          <pc:sldMk cId="2161803112" sldId="2147480183"/>
        </pc:sldMkLst>
        <pc:spChg chg="mod">
          <ac:chgData name="Mike Hemsley" userId="9f02a154-27b8-4070-a6aa-35242cf654f1" providerId="ADAL" clId="{5BB78CE2-F28E-4900-AA8F-6935B0DF2F6F}" dt="2024-06-05T20:27:29.511" v="218" actId="20577"/>
          <ac:spMkLst>
            <pc:docMk/>
            <pc:sldMk cId="2161803112" sldId="2147480183"/>
            <ac:spMk id="132" creationId="{BF138C2E-AA15-2756-38D0-D7D20C892043}"/>
          </ac:spMkLst>
        </pc:spChg>
      </pc:sldChg>
      <pc:sldChg chg="addSp modSp mod">
        <pc:chgData name="Mike Hemsley" userId="9f02a154-27b8-4070-a6aa-35242cf654f1" providerId="ADAL" clId="{5BB78CE2-F28E-4900-AA8F-6935B0DF2F6F}" dt="2024-06-05T20:33:30.400" v="921" actId="20577"/>
        <pc:sldMkLst>
          <pc:docMk/>
          <pc:sldMk cId="1510268443" sldId="2147480185"/>
        </pc:sldMkLst>
        <pc:spChg chg="add mod">
          <ac:chgData name="Mike Hemsley" userId="9f02a154-27b8-4070-a6aa-35242cf654f1" providerId="ADAL" clId="{5BB78CE2-F28E-4900-AA8F-6935B0DF2F6F}" dt="2024-06-05T20:33:30.400" v="921" actId="20577"/>
          <ac:spMkLst>
            <pc:docMk/>
            <pc:sldMk cId="1510268443" sldId="2147480185"/>
            <ac:spMk id="2" creationId="{539A4A38-FEE5-C346-9107-A8D6C9DA8A21}"/>
          </ac:spMkLst>
        </pc:spChg>
      </pc:sldChg>
      <pc:sldChg chg="mod ord modShow">
        <pc:chgData name="Mike Hemsley" userId="9f02a154-27b8-4070-a6aa-35242cf654f1" providerId="ADAL" clId="{5BB78CE2-F28E-4900-AA8F-6935B0DF2F6F}" dt="2024-06-05T20:29:21.344" v="229" actId="729"/>
        <pc:sldMkLst>
          <pc:docMk/>
          <pc:sldMk cId="3234357912" sldId="2147480186"/>
        </pc:sldMkLst>
      </pc:sldChg>
      <pc:sldChg chg="addSp modSp mod">
        <pc:chgData name="Mike Hemsley" userId="9f02a154-27b8-4070-a6aa-35242cf654f1" providerId="ADAL" clId="{5BB78CE2-F28E-4900-AA8F-6935B0DF2F6F}" dt="2024-06-05T20:31:19.009" v="446" actId="20577"/>
        <pc:sldMkLst>
          <pc:docMk/>
          <pc:sldMk cId="3993872088" sldId="2147480187"/>
        </pc:sldMkLst>
        <pc:spChg chg="add mod">
          <ac:chgData name="Mike Hemsley" userId="9f02a154-27b8-4070-a6aa-35242cf654f1" providerId="ADAL" clId="{5BB78CE2-F28E-4900-AA8F-6935B0DF2F6F}" dt="2024-06-05T20:31:19.009" v="446" actId="20577"/>
          <ac:spMkLst>
            <pc:docMk/>
            <pc:sldMk cId="3993872088" sldId="2147480187"/>
            <ac:spMk id="2" creationId="{DBF7BAED-4FFA-5776-27FA-4CAB38149DC1}"/>
          </ac:spMkLst>
        </pc:spChg>
      </pc:sldChg>
      <pc:sldChg chg="addSp modSp del mod">
        <pc:chgData name="Mike Hemsley" userId="9f02a154-27b8-4070-a6aa-35242cf654f1" providerId="ADAL" clId="{5BB78CE2-F28E-4900-AA8F-6935B0DF2F6F}" dt="2024-06-07T14:35:53.810" v="2953" actId="47"/>
        <pc:sldMkLst>
          <pc:docMk/>
          <pc:sldMk cId="1683357367" sldId="2147480188"/>
        </pc:sldMkLst>
        <pc:spChg chg="add mod">
          <ac:chgData name="Mike Hemsley" userId="9f02a154-27b8-4070-a6aa-35242cf654f1" providerId="ADAL" clId="{5BB78CE2-F28E-4900-AA8F-6935B0DF2F6F}" dt="2024-06-05T20:36:04.503" v="1243" actId="20577"/>
          <ac:spMkLst>
            <pc:docMk/>
            <pc:sldMk cId="1683357367" sldId="2147480188"/>
            <ac:spMk id="8" creationId="{7DCDC054-ACBA-8915-D3EF-EC09722A6025}"/>
          </ac:spMkLst>
        </pc:spChg>
      </pc:sldChg>
      <pc:sldChg chg="del">
        <pc:chgData name="Mike Hemsley" userId="9f02a154-27b8-4070-a6aa-35242cf654f1" providerId="ADAL" clId="{5BB78CE2-F28E-4900-AA8F-6935B0DF2F6F}" dt="2024-06-07T14:49:42.450" v="3207" actId="47"/>
        <pc:sldMkLst>
          <pc:docMk/>
          <pc:sldMk cId="2322559351" sldId="2147480197"/>
        </pc:sldMkLst>
      </pc:sldChg>
      <pc:sldChg chg="delSp mod">
        <pc:chgData name="Mike Hemsley" userId="9f02a154-27b8-4070-a6aa-35242cf654f1" providerId="ADAL" clId="{5BB78CE2-F28E-4900-AA8F-6935B0DF2F6F}" dt="2024-06-07T14:49:33.151" v="3206" actId="478"/>
        <pc:sldMkLst>
          <pc:docMk/>
          <pc:sldMk cId="2010145902" sldId="2147480201"/>
        </pc:sldMkLst>
        <pc:spChg chg="del">
          <ac:chgData name="Mike Hemsley" userId="9f02a154-27b8-4070-a6aa-35242cf654f1" providerId="ADAL" clId="{5BB78CE2-F28E-4900-AA8F-6935B0DF2F6F}" dt="2024-06-07T14:49:33.151" v="3206" actId="478"/>
          <ac:spMkLst>
            <pc:docMk/>
            <pc:sldMk cId="2010145902" sldId="2147480201"/>
            <ac:spMk id="63" creationId="{0150362D-AEF5-ABDA-95DE-2FEF3D5694FE}"/>
          </ac:spMkLst>
        </pc:spChg>
      </pc:sldChg>
      <pc:sldChg chg="addSp delSp modSp mod">
        <pc:chgData name="Mike Hemsley" userId="9f02a154-27b8-4070-a6aa-35242cf654f1" providerId="ADAL" clId="{5BB78CE2-F28E-4900-AA8F-6935B0DF2F6F}" dt="2024-06-07T14:47:14.837" v="3196" actId="1076"/>
        <pc:sldMkLst>
          <pc:docMk/>
          <pc:sldMk cId="175466614" sldId="2147480205"/>
        </pc:sldMkLst>
        <pc:spChg chg="mod">
          <ac:chgData name="Mike Hemsley" userId="9f02a154-27b8-4070-a6aa-35242cf654f1" providerId="ADAL" clId="{5BB78CE2-F28E-4900-AA8F-6935B0DF2F6F}" dt="2024-06-07T14:37:48.245" v="3013" actId="948"/>
          <ac:spMkLst>
            <pc:docMk/>
            <pc:sldMk cId="175466614" sldId="2147480205"/>
            <ac:spMk id="2" creationId="{84E13208-AA70-4116-9C35-A3E9EE4F8C77}"/>
          </ac:spMkLst>
        </pc:spChg>
        <pc:spChg chg="del mod">
          <ac:chgData name="Mike Hemsley" userId="9f02a154-27b8-4070-a6aa-35242cf654f1" providerId="ADAL" clId="{5BB78CE2-F28E-4900-AA8F-6935B0DF2F6F}" dt="2024-06-07T14:45:35.930" v="3120" actId="478"/>
          <ac:spMkLst>
            <pc:docMk/>
            <pc:sldMk cId="175466614" sldId="2147480205"/>
            <ac:spMk id="14" creationId="{BB4CE32B-7593-92D5-B18F-6E0C4636E17D}"/>
          </ac:spMkLst>
        </pc:spChg>
        <pc:spChg chg="del">
          <ac:chgData name="Mike Hemsley" userId="9f02a154-27b8-4070-a6aa-35242cf654f1" providerId="ADAL" clId="{5BB78CE2-F28E-4900-AA8F-6935B0DF2F6F}" dt="2024-06-07T14:37:48.143" v="2985"/>
          <ac:spMkLst>
            <pc:docMk/>
            <pc:sldMk cId="175466614" sldId="2147480205"/>
            <ac:spMk id="15" creationId="{F9B2D6F0-982B-B677-9637-30E9983E3DC5}"/>
          </ac:spMkLst>
        </pc:spChg>
        <pc:spChg chg="add del mod modVis">
          <ac:chgData name="Mike Hemsley" userId="9f02a154-27b8-4070-a6aa-35242cf654f1" providerId="ADAL" clId="{5BB78CE2-F28E-4900-AA8F-6935B0DF2F6F}" dt="2024-06-07T14:37:48.288" v="3026"/>
          <ac:spMkLst>
            <pc:docMk/>
            <pc:sldMk cId="175466614" sldId="2147480205"/>
            <ac:spMk id="16" creationId="{B66A6C79-25E1-E88B-01BA-2CDB52B4564A}"/>
          </ac:spMkLst>
        </pc:spChg>
        <pc:spChg chg="del">
          <ac:chgData name="Mike Hemsley" userId="9f02a154-27b8-4070-a6aa-35242cf654f1" providerId="ADAL" clId="{5BB78CE2-F28E-4900-AA8F-6935B0DF2F6F}" dt="2024-06-07T14:37:48.136" v="2975"/>
          <ac:spMkLst>
            <pc:docMk/>
            <pc:sldMk cId="175466614" sldId="2147480205"/>
            <ac:spMk id="26" creationId="{D24A3DD5-6D57-3DE7-CF7F-75F8C020C0A9}"/>
          </ac:spMkLst>
        </pc:spChg>
        <pc:spChg chg="del">
          <ac:chgData name="Mike Hemsley" userId="9f02a154-27b8-4070-a6aa-35242cf654f1" providerId="ADAL" clId="{5BB78CE2-F28E-4900-AA8F-6935B0DF2F6F}" dt="2024-06-07T14:37:48.131" v="2969"/>
          <ac:spMkLst>
            <pc:docMk/>
            <pc:sldMk cId="175466614" sldId="2147480205"/>
            <ac:spMk id="28" creationId="{F1D230D5-F309-E484-1B81-E558370625C5}"/>
          </ac:spMkLst>
        </pc:spChg>
        <pc:spChg chg="del">
          <ac:chgData name="Mike Hemsley" userId="9f02a154-27b8-4070-a6aa-35242cf654f1" providerId="ADAL" clId="{5BB78CE2-F28E-4900-AA8F-6935B0DF2F6F}" dt="2024-06-07T14:37:48.142" v="2984"/>
          <ac:spMkLst>
            <pc:docMk/>
            <pc:sldMk cId="175466614" sldId="2147480205"/>
            <ac:spMk id="29" creationId="{EC12E3DE-9947-66F4-2C45-A2BA0A2B3E49}"/>
          </ac:spMkLst>
        </pc:spChg>
        <pc:spChg chg="del">
          <ac:chgData name="Mike Hemsley" userId="9f02a154-27b8-4070-a6aa-35242cf654f1" providerId="ADAL" clId="{5BB78CE2-F28E-4900-AA8F-6935B0DF2F6F}" dt="2024-06-07T14:37:48.140" v="2981"/>
          <ac:spMkLst>
            <pc:docMk/>
            <pc:sldMk cId="175466614" sldId="2147480205"/>
            <ac:spMk id="33" creationId="{DD652E6F-8EB0-66EA-5B2A-45022C86C13A}"/>
          </ac:spMkLst>
        </pc:spChg>
        <pc:spChg chg="add mod">
          <ac:chgData name="Mike Hemsley" userId="9f02a154-27b8-4070-a6aa-35242cf654f1" providerId="ADAL" clId="{5BB78CE2-F28E-4900-AA8F-6935B0DF2F6F}" dt="2024-06-07T14:46:47.992" v="3169" actId="1076"/>
          <ac:spMkLst>
            <pc:docMk/>
            <pc:sldMk cId="175466614" sldId="2147480205"/>
            <ac:spMk id="36" creationId="{F4D504F4-0AA8-F083-42BF-4E21E6BA202E}"/>
          </ac:spMkLst>
        </pc:spChg>
        <pc:spChg chg="add mod">
          <ac:chgData name="Mike Hemsley" userId="9f02a154-27b8-4070-a6aa-35242cf654f1" providerId="ADAL" clId="{5BB78CE2-F28E-4900-AA8F-6935B0DF2F6F}" dt="2024-06-07T14:46:54.624" v="3171" actId="1076"/>
          <ac:spMkLst>
            <pc:docMk/>
            <pc:sldMk cId="175466614" sldId="2147480205"/>
            <ac:spMk id="37" creationId="{06CC8C0A-D571-CC4F-996C-7E6C870FBD48}"/>
          </ac:spMkLst>
        </pc:spChg>
        <pc:spChg chg="add mod">
          <ac:chgData name="Mike Hemsley" userId="9f02a154-27b8-4070-a6aa-35242cf654f1" providerId="ADAL" clId="{5BB78CE2-F28E-4900-AA8F-6935B0DF2F6F}" dt="2024-06-07T14:47:05.091" v="3193" actId="1076"/>
          <ac:spMkLst>
            <pc:docMk/>
            <pc:sldMk cId="175466614" sldId="2147480205"/>
            <ac:spMk id="38" creationId="{A6A1F433-9987-FAC7-780C-5A415DF061EF}"/>
          </ac:spMkLst>
        </pc:spChg>
        <pc:spChg chg="del">
          <ac:chgData name="Mike Hemsley" userId="9f02a154-27b8-4070-a6aa-35242cf654f1" providerId="ADAL" clId="{5BB78CE2-F28E-4900-AA8F-6935B0DF2F6F}" dt="2024-06-07T14:37:48.138" v="2978"/>
          <ac:spMkLst>
            <pc:docMk/>
            <pc:sldMk cId="175466614" sldId="2147480205"/>
            <ac:spMk id="45" creationId="{00BE26AC-DDEF-4FB0-06E3-25C5317C1F05}"/>
          </ac:spMkLst>
        </pc:spChg>
        <pc:spChg chg="del">
          <ac:chgData name="Mike Hemsley" userId="9f02a154-27b8-4070-a6aa-35242cf654f1" providerId="ADAL" clId="{5BB78CE2-F28E-4900-AA8F-6935B0DF2F6F}" dt="2024-06-07T14:37:48.135" v="2974"/>
          <ac:spMkLst>
            <pc:docMk/>
            <pc:sldMk cId="175466614" sldId="2147480205"/>
            <ac:spMk id="46" creationId="{A04B88BF-4914-0143-58F8-561B32BAA8F3}"/>
          </ac:spMkLst>
        </pc:spChg>
        <pc:spChg chg="del">
          <ac:chgData name="Mike Hemsley" userId="9f02a154-27b8-4070-a6aa-35242cf654f1" providerId="ADAL" clId="{5BB78CE2-F28E-4900-AA8F-6935B0DF2F6F}" dt="2024-06-07T14:37:48.128" v="2965"/>
          <ac:spMkLst>
            <pc:docMk/>
            <pc:sldMk cId="175466614" sldId="2147480205"/>
            <ac:spMk id="47" creationId="{7955C530-3BAA-B707-1BFE-06280BA683CD}"/>
          </ac:spMkLst>
        </pc:spChg>
        <pc:spChg chg="del">
          <ac:chgData name="Mike Hemsley" userId="9f02a154-27b8-4070-a6aa-35242cf654f1" providerId="ADAL" clId="{5BB78CE2-F28E-4900-AA8F-6935B0DF2F6F}" dt="2024-06-07T14:37:48.127" v="2963"/>
          <ac:spMkLst>
            <pc:docMk/>
            <pc:sldMk cId="175466614" sldId="2147480205"/>
            <ac:spMk id="48" creationId="{3A1ECD36-88DE-6F5F-D252-1ACF22FC0A6B}"/>
          </ac:spMkLst>
        </pc:spChg>
        <pc:spChg chg="del">
          <ac:chgData name="Mike Hemsley" userId="9f02a154-27b8-4070-a6aa-35242cf654f1" providerId="ADAL" clId="{5BB78CE2-F28E-4900-AA8F-6935B0DF2F6F}" dt="2024-06-07T14:37:48.125" v="2961"/>
          <ac:spMkLst>
            <pc:docMk/>
            <pc:sldMk cId="175466614" sldId="2147480205"/>
            <ac:spMk id="49" creationId="{2BEF8691-2063-6C1D-C8EF-BD6BA31CE238}"/>
          </ac:spMkLst>
        </pc:spChg>
        <pc:spChg chg="del">
          <ac:chgData name="Mike Hemsley" userId="9f02a154-27b8-4070-a6aa-35242cf654f1" providerId="ADAL" clId="{5BB78CE2-F28E-4900-AA8F-6935B0DF2F6F}" dt="2024-06-07T14:37:48.123" v="2959"/>
          <ac:spMkLst>
            <pc:docMk/>
            <pc:sldMk cId="175466614" sldId="2147480205"/>
            <ac:spMk id="50" creationId="{5D9DF8A3-398E-CBEC-759E-74D7936BC852}"/>
          </ac:spMkLst>
        </pc:spChg>
        <pc:spChg chg="del">
          <ac:chgData name="Mike Hemsley" userId="9f02a154-27b8-4070-a6aa-35242cf654f1" providerId="ADAL" clId="{5BB78CE2-F28E-4900-AA8F-6935B0DF2F6F}" dt="2024-06-07T14:37:48.121" v="2957"/>
          <ac:spMkLst>
            <pc:docMk/>
            <pc:sldMk cId="175466614" sldId="2147480205"/>
            <ac:spMk id="52" creationId="{8B5E8ACA-DDD4-A82E-C019-CB4D476EDA3E}"/>
          </ac:spMkLst>
        </pc:spChg>
        <pc:spChg chg="del">
          <ac:chgData name="Mike Hemsley" userId="9f02a154-27b8-4070-a6aa-35242cf654f1" providerId="ADAL" clId="{5BB78CE2-F28E-4900-AA8F-6935B0DF2F6F}" dt="2024-06-07T14:37:48.117" v="2955"/>
          <ac:spMkLst>
            <pc:docMk/>
            <pc:sldMk cId="175466614" sldId="2147480205"/>
            <ac:spMk id="53" creationId="{EBFFF237-8371-B340-E301-9DC72E3FDDF5}"/>
          </ac:spMkLst>
        </pc:spChg>
        <pc:spChg chg="mod">
          <ac:chgData name="Mike Hemsley" userId="9f02a154-27b8-4070-a6aa-35242cf654f1" providerId="ADAL" clId="{5BB78CE2-F28E-4900-AA8F-6935B0DF2F6F}" dt="2024-06-07T14:37:48.172" v="2988"/>
          <ac:spMkLst>
            <pc:docMk/>
            <pc:sldMk cId="175466614" sldId="2147480205"/>
            <ac:spMk id="60" creationId="{BCE5E507-7D06-8D2E-6DEA-6E269AE124B9}"/>
          </ac:spMkLst>
        </pc:spChg>
        <pc:spChg chg="mod">
          <ac:chgData name="Mike Hemsley" userId="9f02a154-27b8-4070-a6aa-35242cf654f1" providerId="ADAL" clId="{5BB78CE2-F28E-4900-AA8F-6935B0DF2F6F}" dt="2024-06-07T14:37:48.216" v="3008"/>
          <ac:spMkLst>
            <pc:docMk/>
            <pc:sldMk cId="175466614" sldId="2147480205"/>
            <ac:spMk id="61" creationId="{EF344034-BBFF-BABA-7A46-9729D13202C9}"/>
          </ac:spMkLst>
        </pc:spChg>
        <pc:spChg chg="mod">
          <ac:chgData name="Mike Hemsley" userId="9f02a154-27b8-4070-a6aa-35242cf654f1" providerId="ADAL" clId="{5BB78CE2-F28E-4900-AA8F-6935B0DF2F6F}" dt="2024-06-07T14:37:48.220" v="3009"/>
          <ac:spMkLst>
            <pc:docMk/>
            <pc:sldMk cId="175466614" sldId="2147480205"/>
            <ac:spMk id="62" creationId="{B7D8552D-A755-2793-6C63-CC8BA3696306}"/>
          </ac:spMkLst>
        </pc:spChg>
        <pc:spChg chg="mod">
          <ac:chgData name="Mike Hemsley" userId="9f02a154-27b8-4070-a6aa-35242cf654f1" providerId="ADAL" clId="{5BB78CE2-F28E-4900-AA8F-6935B0DF2F6F}" dt="2024-06-07T14:37:48.224" v="3010"/>
          <ac:spMkLst>
            <pc:docMk/>
            <pc:sldMk cId="175466614" sldId="2147480205"/>
            <ac:spMk id="63" creationId="{67B41AC7-5FAF-D304-A79E-D3DA8745F504}"/>
          </ac:spMkLst>
        </pc:spChg>
        <pc:spChg chg="mod">
          <ac:chgData name="Mike Hemsley" userId="9f02a154-27b8-4070-a6aa-35242cf654f1" providerId="ADAL" clId="{5BB78CE2-F28E-4900-AA8F-6935B0DF2F6F}" dt="2024-06-07T14:37:48.227" v="3011"/>
          <ac:spMkLst>
            <pc:docMk/>
            <pc:sldMk cId="175466614" sldId="2147480205"/>
            <ac:spMk id="64" creationId="{1709261E-9FA1-1825-9F1C-C05DF46675B8}"/>
          </ac:spMkLst>
        </pc:spChg>
        <pc:spChg chg="mod">
          <ac:chgData name="Mike Hemsley" userId="9f02a154-27b8-4070-a6aa-35242cf654f1" providerId="ADAL" clId="{5BB78CE2-F28E-4900-AA8F-6935B0DF2F6F}" dt="2024-06-07T14:37:48.232" v="3012"/>
          <ac:spMkLst>
            <pc:docMk/>
            <pc:sldMk cId="175466614" sldId="2147480205"/>
            <ac:spMk id="65" creationId="{A43FE94B-B97F-1860-CD5A-6757C71366C2}"/>
          </ac:spMkLst>
        </pc:spChg>
        <pc:spChg chg="del">
          <ac:chgData name="Mike Hemsley" userId="9f02a154-27b8-4070-a6aa-35242cf654f1" providerId="ADAL" clId="{5BB78CE2-F28E-4900-AA8F-6935B0DF2F6F}" dt="2024-06-07T14:37:48.129" v="2966"/>
          <ac:spMkLst>
            <pc:docMk/>
            <pc:sldMk cId="175466614" sldId="2147480205"/>
            <ac:spMk id="66" creationId="{880A09B3-9CA8-4F76-EAB8-0329BE76EBD6}"/>
          </ac:spMkLst>
        </pc:spChg>
        <pc:spChg chg="del">
          <ac:chgData name="Mike Hemsley" userId="9f02a154-27b8-4070-a6aa-35242cf654f1" providerId="ADAL" clId="{5BB78CE2-F28E-4900-AA8F-6935B0DF2F6F}" dt="2024-06-07T14:37:48.128" v="2964"/>
          <ac:spMkLst>
            <pc:docMk/>
            <pc:sldMk cId="175466614" sldId="2147480205"/>
            <ac:spMk id="69" creationId="{82F911CB-0A25-E3A0-B68E-C8D8F2A36665}"/>
          </ac:spMkLst>
        </pc:spChg>
        <pc:spChg chg="del">
          <ac:chgData name="Mike Hemsley" userId="9f02a154-27b8-4070-a6aa-35242cf654f1" providerId="ADAL" clId="{5BB78CE2-F28E-4900-AA8F-6935B0DF2F6F}" dt="2024-06-07T14:37:48.126" v="2962"/>
          <ac:spMkLst>
            <pc:docMk/>
            <pc:sldMk cId="175466614" sldId="2147480205"/>
            <ac:spMk id="70" creationId="{45D89EFD-4AF9-E4C3-3909-13268E599626}"/>
          </ac:spMkLst>
        </pc:spChg>
        <pc:spChg chg="del">
          <ac:chgData name="Mike Hemsley" userId="9f02a154-27b8-4070-a6aa-35242cf654f1" providerId="ADAL" clId="{5BB78CE2-F28E-4900-AA8F-6935B0DF2F6F}" dt="2024-06-07T14:37:48.124" v="2960"/>
          <ac:spMkLst>
            <pc:docMk/>
            <pc:sldMk cId="175466614" sldId="2147480205"/>
            <ac:spMk id="71" creationId="{C7A6585E-8560-061B-6DA0-FA48BC901910}"/>
          </ac:spMkLst>
        </pc:spChg>
        <pc:spChg chg="del">
          <ac:chgData name="Mike Hemsley" userId="9f02a154-27b8-4070-a6aa-35242cf654f1" providerId="ADAL" clId="{5BB78CE2-F28E-4900-AA8F-6935B0DF2F6F}" dt="2024-06-07T14:37:48.122" v="2958"/>
          <ac:spMkLst>
            <pc:docMk/>
            <pc:sldMk cId="175466614" sldId="2147480205"/>
            <ac:spMk id="77" creationId="{CA60CA01-BC61-6C55-1C36-14DA788AAB11}"/>
          </ac:spMkLst>
        </pc:spChg>
        <pc:spChg chg="del">
          <ac:chgData name="Mike Hemsley" userId="9f02a154-27b8-4070-a6aa-35242cf654f1" providerId="ADAL" clId="{5BB78CE2-F28E-4900-AA8F-6935B0DF2F6F}" dt="2024-06-07T14:37:48.120" v="2956"/>
          <ac:spMkLst>
            <pc:docMk/>
            <pc:sldMk cId="175466614" sldId="2147480205"/>
            <ac:spMk id="78" creationId="{4415A80B-DCBA-74A7-7C4E-1973B9DFD8A8}"/>
          </ac:spMkLst>
        </pc:spChg>
        <pc:spChg chg="mod">
          <ac:chgData name="Mike Hemsley" userId="9f02a154-27b8-4070-a6aa-35242cf654f1" providerId="ADAL" clId="{5BB78CE2-F28E-4900-AA8F-6935B0DF2F6F}" dt="2024-06-07T14:46:51.411" v="3170" actId="1076"/>
          <ac:spMkLst>
            <pc:docMk/>
            <pc:sldMk cId="175466614" sldId="2147480205"/>
            <ac:spMk id="478" creationId="{8D9FDF46-401C-12E9-230D-A34391267AB2}"/>
          </ac:spMkLst>
        </pc:spChg>
        <pc:spChg chg="mod">
          <ac:chgData name="Mike Hemsley" userId="9f02a154-27b8-4070-a6aa-35242cf654f1" providerId="ADAL" clId="{5BB78CE2-F28E-4900-AA8F-6935B0DF2F6F}" dt="2024-06-07T14:45:27.273" v="3114" actId="14100"/>
          <ac:spMkLst>
            <pc:docMk/>
            <pc:sldMk cId="175466614" sldId="2147480205"/>
            <ac:spMk id="479" creationId="{5FF0FEB4-7467-4CB4-1499-0C0367EEBED2}"/>
          </ac:spMkLst>
        </pc:spChg>
        <pc:graphicFrameChg chg="mod">
          <ac:chgData name="Mike Hemsley" userId="9f02a154-27b8-4070-a6aa-35242cf654f1" providerId="ADAL" clId="{5BB78CE2-F28E-4900-AA8F-6935B0DF2F6F}" dt="2024-06-07T14:37:48.344" v="3028"/>
          <ac:graphicFrameMkLst>
            <pc:docMk/>
            <pc:sldMk cId="175466614" sldId="2147480205"/>
            <ac:graphicFrameMk id="7" creationId="{41EABC86-5A72-4793-82A5-A6A26A1B8109}"/>
          </ac:graphicFrameMkLst>
        </pc:graphicFrameChg>
        <pc:graphicFrameChg chg="del">
          <ac:chgData name="Mike Hemsley" userId="9f02a154-27b8-4070-a6aa-35242cf654f1" providerId="ADAL" clId="{5BB78CE2-F28E-4900-AA8F-6935B0DF2F6F}" dt="2024-06-07T14:37:48.149" v="2987"/>
          <ac:graphicFrameMkLst>
            <pc:docMk/>
            <pc:sldMk cId="175466614" sldId="2147480205"/>
            <ac:graphicFrameMk id="467" creationId="{894395F2-367A-DA08-01F5-415B22FEECD4}"/>
          </ac:graphicFrameMkLst>
        </pc:graphicFrameChg>
        <pc:picChg chg="add del mod">
          <ac:chgData name="Mike Hemsley" userId="9f02a154-27b8-4070-a6aa-35242cf654f1" providerId="ADAL" clId="{5BB78CE2-F28E-4900-AA8F-6935B0DF2F6F}" dt="2024-06-07T14:39:33.260" v="3031" actId="478"/>
          <ac:picMkLst>
            <pc:docMk/>
            <pc:sldMk cId="175466614" sldId="2147480205"/>
            <ac:picMk id="18" creationId="{5858C32A-E049-5664-C18B-0BE4A0DCCC9E}"/>
          </ac:picMkLst>
        </pc:picChg>
        <pc:picChg chg="add mod modCrop">
          <ac:chgData name="Mike Hemsley" userId="9f02a154-27b8-4070-a6aa-35242cf654f1" providerId="ADAL" clId="{5BB78CE2-F28E-4900-AA8F-6935B0DF2F6F}" dt="2024-06-07T14:47:01.251" v="3192" actId="1038"/>
          <ac:picMkLst>
            <pc:docMk/>
            <pc:sldMk cId="175466614" sldId="2147480205"/>
            <ac:picMk id="20" creationId="{428B144C-9720-CA4F-E4C0-44DFDA371A70}"/>
          </ac:picMkLst>
        </pc:picChg>
        <pc:cxnChg chg="del">
          <ac:chgData name="Mike Hemsley" userId="9f02a154-27b8-4070-a6aa-35242cf654f1" providerId="ADAL" clId="{5BB78CE2-F28E-4900-AA8F-6935B0DF2F6F}" dt="2024-06-07T14:37:48.141" v="2983"/>
          <ac:cxnSpMkLst>
            <pc:docMk/>
            <pc:sldMk cId="175466614" sldId="2147480205"/>
            <ac:cxnSpMk id="3" creationId="{9F6586DC-2D75-4061-4E72-5EE1FC55BDA4}"/>
          </ac:cxnSpMkLst>
        </pc:cxnChg>
        <pc:cxnChg chg="del">
          <ac:chgData name="Mike Hemsley" userId="9f02a154-27b8-4070-a6aa-35242cf654f1" providerId="ADAL" clId="{5BB78CE2-F28E-4900-AA8F-6935B0DF2F6F}" dt="2024-06-07T14:37:48.140" v="2980"/>
          <ac:cxnSpMkLst>
            <pc:docMk/>
            <pc:sldMk cId="175466614" sldId="2147480205"/>
            <ac:cxnSpMk id="5" creationId="{3413CCA2-0761-1DD0-956E-300EA41FB321}"/>
          </ac:cxnSpMkLst>
        </pc:cxnChg>
        <pc:cxnChg chg="del">
          <ac:chgData name="Mike Hemsley" userId="9f02a154-27b8-4070-a6aa-35242cf654f1" providerId="ADAL" clId="{5BB78CE2-F28E-4900-AA8F-6935B0DF2F6F}" dt="2024-06-07T14:37:48.137" v="2977"/>
          <ac:cxnSpMkLst>
            <pc:docMk/>
            <pc:sldMk cId="175466614" sldId="2147480205"/>
            <ac:cxnSpMk id="6" creationId="{A29D34B3-8FC6-2F45-1810-26EE324FD7DB}"/>
          </ac:cxnSpMkLst>
        </pc:cxnChg>
        <pc:cxnChg chg="del">
          <ac:chgData name="Mike Hemsley" userId="9f02a154-27b8-4070-a6aa-35242cf654f1" providerId="ADAL" clId="{5BB78CE2-F28E-4900-AA8F-6935B0DF2F6F}" dt="2024-06-07T14:37:48.134" v="2973"/>
          <ac:cxnSpMkLst>
            <pc:docMk/>
            <pc:sldMk cId="175466614" sldId="2147480205"/>
            <ac:cxnSpMk id="8" creationId="{108CD7C5-57E3-07C4-A110-B324389F3BED}"/>
          </ac:cxnSpMkLst>
        </pc:cxnChg>
        <pc:cxnChg chg="del">
          <ac:chgData name="Mike Hemsley" userId="9f02a154-27b8-4070-a6aa-35242cf654f1" providerId="ADAL" clId="{5BB78CE2-F28E-4900-AA8F-6935B0DF2F6F}" dt="2024-06-07T14:37:48.133" v="2971"/>
          <ac:cxnSpMkLst>
            <pc:docMk/>
            <pc:sldMk cId="175466614" sldId="2147480205"/>
            <ac:cxnSpMk id="12" creationId="{1C11FC50-0159-14EB-E976-3B793D9C6C4E}"/>
          </ac:cxnSpMkLst>
        </pc:cxnChg>
        <pc:cxnChg chg="del">
          <ac:chgData name="Mike Hemsley" userId="9f02a154-27b8-4070-a6aa-35242cf654f1" providerId="ADAL" clId="{5BB78CE2-F28E-4900-AA8F-6935B0DF2F6F}" dt="2024-06-07T14:37:48.131" v="2968"/>
          <ac:cxnSpMkLst>
            <pc:docMk/>
            <pc:sldMk cId="175466614" sldId="2147480205"/>
            <ac:cxnSpMk id="13" creationId="{0B0F6E08-8442-39CC-D27C-78A7E11247D9}"/>
          </ac:cxnSpMkLst>
        </pc:cxnChg>
        <pc:cxnChg chg="add mod">
          <ac:chgData name="Mike Hemsley" userId="9f02a154-27b8-4070-a6aa-35242cf654f1" providerId="ADAL" clId="{5BB78CE2-F28E-4900-AA8F-6935B0DF2F6F}" dt="2024-06-07T14:47:11.747" v="3195" actId="14100"/>
          <ac:cxnSpMkLst>
            <pc:docMk/>
            <pc:sldMk cId="175466614" sldId="2147480205"/>
            <ac:cxnSpMk id="22" creationId="{B78CFC9B-4BA6-871F-0159-AC29134406E6}"/>
          </ac:cxnSpMkLst>
        </pc:cxnChg>
        <pc:cxnChg chg="add mod">
          <ac:chgData name="Mike Hemsley" userId="9f02a154-27b8-4070-a6aa-35242cf654f1" providerId="ADAL" clId="{5BB78CE2-F28E-4900-AA8F-6935B0DF2F6F}" dt="2024-06-07T14:47:14.837" v="3196" actId="1076"/>
          <ac:cxnSpMkLst>
            <pc:docMk/>
            <pc:sldMk cId="175466614" sldId="2147480205"/>
            <ac:cxnSpMk id="24" creationId="{1A2EC291-F1E1-1C4B-F4C8-5B56273BB2F7}"/>
          </ac:cxnSpMkLst>
        </pc:cxnChg>
        <pc:cxnChg chg="add del mod">
          <ac:chgData name="Mike Hemsley" userId="9f02a154-27b8-4070-a6aa-35242cf654f1" providerId="ADAL" clId="{5BB78CE2-F28E-4900-AA8F-6935B0DF2F6F}" dt="2024-06-07T14:45:31.751" v="3119" actId="1037"/>
          <ac:cxnSpMkLst>
            <pc:docMk/>
            <pc:sldMk cId="175466614" sldId="2147480205"/>
            <ac:cxnSpMk id="27" creationId="{375A28FC-ECD3-3F89-A61A-4ACA9C13F80E}"/>
          </ac:cxnSpMkLst>
        </pc:cxnChg>
        <pc:cxnChg chg="add del mod">
          <ac:chgData name="Mike Hemsley" userId="9f02a154-27b8-4070-a6aa-35242cf654f1" providerId="ADAL" clId="{5BB78CE2-F28E-4900-AA8F-6935B0DF2F6F}" dt="2024-06-07T14:43:35.977" v="3062" actId="478"/>
          <ac:cxnSpMkLst>
            <pc:docMk/>
            <pc:sldMk cId="175466614" sldId="2147480205"/>
            <ac:cxnSpMk id="30" creationId="{7D85747A-2A24-CC65-AC00-9DB7792C586D}"/>
          </ac:cxnSpMkLst>
        </pc:cxnChg>
        <pc:cxnChg chg="add del mod">
          <ac:chgData name="Mike Hemsley" userId="9f02a154-27b8-4070-a6aa-35242cf654f1" providerId="ADAL" clId="{5BB78CE2-F28E-4900-AA8F-6935B0DF2F6F}" dt="2024-06-07T14:43:35.224" v="3061" actId="478"/>
          <ac:cxnSpMkLst>
            <pc:docMk/>
            <pc:sldMk cId="175466614" sldId="2147480205"/>
            <ac:cxnSpMk id="32" creationId="{79992E7E-2FF8-0143-404A-D5889B648657}"/>
          </ac:cxnSpMkLst>
        </pc:cxnChg>
        <pc:cxnChg chg="mod">
          <ac:chgData name="Mike Hemsley" userId="9f02a154-27b8-4070-a6aa-35242cf654f1" providerId="ADAL" clId="{5BB78CE2-F28E-4900-AA8F-6935B0DF2F6F}" dt="2024-06-07T14:43:49.600" v="3065" actId="14100"/>
          <ac:cxnSpMkLst>
            <pc:docMk/>
            <pc:sldMk cId="175466614" sldId="2147480205"/>
            <ac:cxnSpMk id="484" creationId="{69D76279-5933-9C00-1FBB-1EDF125CEAF7}"/>
          </ac:cxnSpMkLst>
        </pc:cxnChg>
      </pc:sldChg>
      <pc:sldChg chg="add">
        <pc:chgData name="Mike Hemsley" userId="9f02a154-27b8-4070-a6aa-35242cf654f1" providerId="ADAL" clId="{5BB78CE2-F28E-4900-AA8F-6935B0DF2F6F}" dt="2024-06-07T14:48:54.264" v="3204"/>
        <pc:sldMkLst>
          <pc:docMk/>
          <pc:sldMk cId="4199283748" sldId="2147480208"/>
        </pc:sldMkLst>
      </pc:sldChg>
      <pc:sldChg chg="add">
        <pc:chgData name="Mike Hemsley" userId="9f02a154-27b8-4070-a6aa-35242cf654f1" providerId="ADAL" clId="{5BB78CE2-F28E-4900-AA8F-6935B0DF2F6F}" dt="2024-06-07T14:49:54.395" v="3208"/>
        <pc:sldMkLst>
          <pc:docMk/>
          <pc:sldMk cId="877887209" sldId="2147480209"/>
        </pc:sldMkLst>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6033666491320358E-2"/>
          <c:y val="5.5099081681971966E-2"/>
          <c:w val="0.92438190426091527"/>
          <c:h val="0.88931851135814399"/>
        </c:manualLayout>
      </c:layout>
      <c:lineChart>
        <c:grouping val="standard"/>
        <c:varyColors val="0"/>
        <c:ser>
          <c:idx val="0"/>
          <c:order val="0"/>
          <c:spPr>
            <a:ln w="19050" cmpd="sng" algn="ctr">
              <a:solidFill>
                <a:srgbClr val="969696"/>
              </a:solidFill>
              <a:prstDash val="solid"/>
            </a:ln>
          </c:spPr>
          <c:marker>
            <c:symbol val="none"/>
          </c:marker>
          <c:val>
            <c:numRef>
              <c:f>Sheet1!$A$1:$M$1</c:f>
              <c:numCache>
                <c:formatCode>General</c:formatCode>
                <c:ptCount val="13"/>
                <c:pt idx="0">
                  <c:v>56.308127703112064</c:v>
                </c:pt>
                <c:pt idx="1">
                  <c:v>56.567268842913812</c:v>
                </c:pt>
                <c:pt idx="2">
                  <c:v>56.218429979078188</c:v>
                </c:pt>
                <c:pt idx="3">
                  <c:v>56.785832944077406</c:v>
                </c:pt>
                <c:pt idx="4">
                  <c:v>57.832342324089268</c:v>
                </c:pt>
                <c:pt idx="5">
                  <c:v>59.090624827612281</c:v>
                </c:pt>
                <c:pt idx="6">
                  <c:v>56.805925800885625</c:v>
                </c:pt>
                <c:pt idx="7">
                  <c:v>58.675225004571075</c:v>
                </c:pt>
                <c:pt idx="8">
                  <c:v>58.675225004571075</c:v>
                </c:pt>
                <c:pt idx="9">
                  <c:v>58.882924916091689</c:v>
                </c:pt>
              </c:numCache>
            </c:numRef>
          </c:val>
          <c:smooth val="0"/>
          <c:extLst>
            <c:ext xmlns:c16="http://schemas.microsoft.com/office/drawing/2014/chart" uri="{C3380CC4-5D6E-409C-BE32-E72D297353CC}">
              <c16:uniqueId val="{00000000-E4D7-44F2-8DB6-A593B3558DA9}"/>
            </c:ext>
          </c:extLst>
        </c:ser>
        <c:ser>
          <c:idx val="1"/>
          <c:order val="1"/>
          <c:spPr>
            <a:ln w="19050" cmpd="sng" algn="ctr">
              <a:solidFill>
                <a:srgbClr val="969696"/>
              </a:solidFill>
              <a:prstDash val="lgDash"/>
            </a:ln>
          </c:spPr>
          <c:marker>
            <c:symbol val="none"/>
          </c:marker>
          <c:val>
            <c:numRef>
              <c:f>Sheet1!$A$2:$M$2</c:f>
              <c:numCache>
                <c:formatCode>General</c:formatCode>
                <c:ptCount val="13"/>
                <c:pt idx="9">
                  <c:v>58.882924916091689</c:v>
                </c:pt>
                <c:pt idx="10">
                  <c:v>58.882924916091689</c:v>
                </c:pt>
                <c:pt idx="11">
                  <c:v>58.882924916091689</c:v>
                </c:pt>
              </c:numCache>
            </c:numRef>
          </c:val>
          <c:smooth val="0"/>
          <c:extLst>
            <c:ext xmlns:c16="http://schemas.microsoft.com/office/drawing/2014/chart" uri="{C3380CC4-5D6E-409C-BE32-E72D297353CC}">
              <c16:uniqueId val="{00000001-E4D7-44F2-8DB6-A593B3558DA9}"/>
            </c:ext>
          </c:extLst>
        </c:ser>
        <c:dLbls>
          <c:showLegendKey val="0"/>
          <c:showVal val="0"/>
          <c:showCatName val="0"/>
          <c:showSerName val="0"/>
          <c:showPercent val="0"/>
          <c:showBubbleSize val="0"/>
        </c:dLbls>
        <c:marker val="1"/>
        <c:smooth val="0"/>
        <c:axId val="1689732191"/>
        <c:axId val="1"/>
      </c:lineChart>
      <c:lineChart>
        <c:grouping val="standard"/>
        <c:varyColors val="0"/>
        <c:ser>
          <c:idx val="2"/>
          <c:order val="2"/>
          <c:spPr>
            <a:ln w="19050" cmpd="sng" algn="ctr">
              <a:solidFill>
                <a:srgbClr val="F87907"/>
              </a:solidFill>
              <a:prstDash val="solid"/>
            </a:ln>
          </c:spPr>
          <c:marker>
            <c:symbol val="none"/>
          </c:marker>
          <c:val>
            <c:numRef>
              <c:f>Sheet1!$A$3:$M$3</c:f>
              <c:numCache>
                <c:formatCode>General</c:formatCode>
                <c:ptCount val="13"/>
                <c:pt idx="0">
                  <c:v>3.8848920863309302</c:v>
                </c:pt>
                <c:pt idx="1">
                  <c:v>3.60431654676258</c:v>
                </c:pt>
                <c:pt idx="2">
                  <c:v>3.60431654676258</c:v>
                </c:pt>
                <c:pt idx="3">
                  <c:v>3.3956834532374001</c:v>
                </c:pt>
                <c:pt idx="4">
                  <c:v>3.2949640287769699</c:v>
                </c:pt>
                <c:pt idx="5">
                  <c:v>3.0071942446043098</c:v>
                </c:pt>
                <c:pt idx="6">
                  <c:v>2.8992805755395601</c:v>
                </c:pt>
                <c:pt idx="7">
                  <c:v>2.7122302158273301</c:v>
                </c:pt>
                <c:pt idx="8">
                  <c:v>2.7122302158273301</c:v>
                </c:pt>
                <c:pt idx="9">
                  <c:v>2.7122302158273301</c:v>
                </c:pt>
              </c:numCache>
            </c:numRef>
          </c:val>
          <c:smooth val="0"/>
          <c:extLst>
            <c:ext xmlns:c16="http://schemas.microsoft.com/office/drawing/2014/chart" uri="{C3380CC4-5D6E-409C-BE32-E72D297353CC}">
              <c16:uniqueId val="{00000002-E4D7-44F2-8DB6-A593B3558DA9}"/>
            </c:ext>
          </c:extLst>
        </c:ser>
        <c:ser>
          <c:idx val="3"/>
          <c:order val="3"/>
          <c:spPr>
            <a:ln w="19050" cmpd="sng" algn="ctr">
              <a:solidFill>
                <a:srgbClr val="F87907"/>
              </a:solidFill>
              <a:prstDash val="lgDash"/>
            </a:ln>
          </c:spPr>
          <c:marker>
            <c:symbol val="none"/>
          </c:marker>
          <c:val>
            <c:numRef>
              <c:f>Sheet1!$A$4:$M$4</c:f>
              <c:numCache>
                <c:formatCode>General</c:formatCode>
                <c:ptCount val="13"/>
                <c:pt idx="9">
                  <c:v>2.7122302158273301</c:v>
                </c:pt>
                <c:pt idx="10">
                  <c:v>2.7122302158273301</c:v>
                </c:pt>
                <c:pt idx="11">
                  <c:v>2.7122302158273301</c:v>
                </c:pt>
              </c:numCache>
            </c:numRef>
          </c:val>
          <c:smooth val="0"/>
          <c:extLst>
            <c:ext xmlns:c16="http://schemas.microsoft.com/office/drawing/2014/chart" uri="{C3380CC4-5D6E-409C-BE32-E72D297353CC}">
              <c16:uniqueId val="{00000003-E4D7-44F2-8DB6-A593B3558DA9}"/>
            </c:ext>
          </c:extLst>
        </c:ser>
        <c:dLbls>
          <c:showLegendKey val="0"/>
          <c:showVal val="0"/>
          <c:showCatName val="0"/>
          <c:showSerName val="0"/>
          <c:showPercent val="0"/>
          <c:showBubbleSize val="0"/>
        </c:dLbls>
        <c:marker val="1"/>
        <c:smooth val="0"/>
        <c:axId val="2"/>
        <c:axId val="3"/>
      </c:lineChart>
      <c:catAx>
        <c:axId val="168973219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60"/>
          <c:min val="45"/>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200" kern="1200">
                <a:solidFill>
                  <a:schemeClr val="tx1"/>
                </a:solidFill>
                <a:latin typeface="Century Gothic"/>
                <a:ea typeface="Verdana"/>
                <a:cs typeface="Inter"/>
              </a:defRPr>
            </a:pPr>
            <a:endParaRPr lang="en-US"/>
          </a:p>
        </c:txPr>
        <c:crossAx val="1689732191"/>
        <c:crosses val="min"/>
        <c:crossBetween val="midCat"/>
        <c:majorUnit val="5"/>
      </c:valAx>
      <c:catAx>
        <c:axId val="2"/>
        <c:scaling>
          <c:orientation val="minMax"/>
        </c:scaling>
        <c:delete val="1"/>
        <c:axPos val="b"/>
        <c:majorGridlines>
          <c:spPr>
            <a:ln>
              <a:noFill/>
            </a:ln>
          </c:spPr>
        </c:majorGridlines>
        <c:majorTickMark val="none"/>
        <c:minorTickMark val="none"/>
        <c:tickLblPos val="none"/>
        <c:crossAx val="3"/>
        <c:crosses val="min"/>
        <c:auto val="0"/>
        <c:lblAlgn val="ctr"/>
        <c:lblOffset val="100"/>
        <c:noMultiLvlLbl val="0"/>
      </c:catAx>
      <c:valAx>
        <c:axId val="3"/>
        <c:scaling>
          <c:orientation val="minMax"/>
          <c:max val="4"/>
          <c:min val="1"/>
        </c:scaling>
        <c:delete val="0"/>
        <c:axPos val="r"/>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sz="1200" kern="1200">
                <a:solidFill>
                  <a:schemeClr val="tx1"/>
                </a:solidFill>
                <a:latin typeface="Century Gothic"/>
                <a:ea typeface="Verdana"/>
                <a:cs typeface="Inter"/>
              </a:defRPr>
            </a:pPr>
            <a:endParaRPr lang="en-US"/>
          </a:p>
        </c:txPr>
        <c:crossAx val="2"/>
        <c:crosses val="max"/>
        <c:crossBetween val="midCat"/>
        <c:majorUnit val="0.5"/>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6186499652052888E-2"/>
          <c:y val="7.9754601226993863E-2"/>
          <c:w val="0.92762700069589421"/>
          <c:h val="0.8404907975460123"/>
        </c:manualLayout>
      </c:layout>
      <c:scatterChart>
        <c:scatterStyle val="lineMarker"/>
        <c:varyColors val="0"/>
        <c:ser>
          <c:idx val="0"/>
          <c:order val="0"/>
          <c:spPr>
            <a:ln>
              <a:noFill/>
            </a:ln>
          </c:spPr>
          <c:marker>
            <c:symbol val="none"/>
          </c:marker>
          <c:dPt>
            <c:idx val="0"/>
            <c:marker>
              <c:symbol val="circle"/>
              <c:size val="10"/>
              <c:spPr>
                <a:solidFill>
                  <a:srgbClr val="235DFF"/>
                </a:solidFill>
                <a:ln w="9525" cmpd="sng" algn="ctr">
                  <a:solidFill>
                    <a:srgbClr val="235DFF"/>
                  </a:solidFill>
                  <a:prstDash val="solid"/>
                </a:ln>
              </c:spPr>
            </c:marker>
            <c:bubble3D val="0"/>
            <c:extLst>
              <c:ext xmlns:c16="http://schemas.microsoft.com/office/drawing/2014/chart" uri="{C3380CC4-5D6E-409C-BE32-E72D297353CC}">
                <c16:uniqueId val="{00000000-A22E-4266-AFD5-22842E0A2CA2}"/>
              </c:ext>
            </c:extLst>
          </c:dPt>
          <c:dPt>
            <c:idx val="1"/>
            <c:marker>
              <c:symbol val="circle"/>
              <c:size val="10"/>
              <c:spPr>
                <a:solidFill>
                  <a:srgbClr val="235DFF"/>
                </a:solidFill>
                <a:ln w="9525" cmpd="sng" algn="ctr">
                  <a:solidFill>
                    <a:srgbClr val="235DFF"/>
                  </a:solidFill>
                  <a:prstDash val="solid"/>
                </a:ln>
              </c:spPr>
            </c:marker>
            <c:bubble3D val="0"/>
            <c:extLst>
              <c:ext xmlns:c16="http://schemas.microsoft.com/office/drawing/2014/chart" uri="{C3380CC4-5D6E-409C-BE32-E72D297353CC}">
                <c16:uniqueId val="{00000001-A22E-4266-AFD5-22842E0A2CA2}"/>
              </c:ext>
            </c:extLst>
          </c:dPt>
          <c:errBars>
            <c:errDir val="x"/>
            <c:errBarType val="plus"/>
            <c:errValType val="cust"/>
            <c:noEndCap val="1"/>
            <c:plus>
              <c:numRef>
                <c:f>Sheet1!$A$2:$B$2</c:f>
                <c:numCache>
                  <c:formatCode>General</c:formatCode>
                  <c:ptCount val="2"/>
                  <c:pt idx="0">
                    <c:v>-1.2000000000000002</c:v>
                  </c:pt>
                  <c:pt idx="1">
                    <c:v>-1.6999999999999997</c:v>
                  </c:pt>
                </c:numCache>
              </c:numRef>
            </c:plus>
            <c:spPr>
              <a:ln w="38100" cmpd="sng" algn="ctr">
                <a:solidFill>
                  <a:srgbClr val="969696"/>
                </a:solidFill>
                <a:prstDash val="solid"/>
              </a:ln>
            </c:spPr>
          </c:errBars>
          <c:xVal>
            <c:numRef>
              <c:f>Sheet1!$A$3:$B$3</c:f>
              <c:numCache>
                <c:formatCode>General</c:formatCode>
                <c:ptCount val="2"/>
                <c:pt idx="0">
                  <c:v>3.7</c:v>
                </c:pt>
                <c:pt idx="1">
                  <c:v>3.9</c:v>
                </c:pt>
              </c:numCache>
            </c:numRef>
          </c:xVal>
          <c:yVal>
            <c:numRef>
              <c:f>Sheet1!$A$1:$B$1</c:f>
              <c:numCache>
                <c:formatCode>General</c:formatCode>
                <c:ptCount val="2"/>
                <c:pt idx="0">
                  <c:v>0</c:v>
                </c:pt>
                <c:pt idx="1">
                  <c:v>1</c:v>
                </c:pt>
              </c:numCache>
            </c:numRef>
          </c:yVal>
          <c:smooth val="0"/>
          <c:extLst>
            <c:ext xmlns:c16="http://schemas.microsoft.com/office/drawing/2014/chart" uri="{C3380CC4-5D6E-409C-BE32-E72D297353CC}">
              <c16:uniqueId val="{00000002-A22E-4266-AFD5-22842E0A2CA2}"/>
            </c:ext>
          </c:extLst>
        </c:ser>
        <c:ser>
          <c:idx val="1"/>
          <c:order val="1"/>
          <c:spPr>
            <a:ln>
              <a:noFill/>
            </a:ln>
          </c:spPr>
          <c:marker>
            <c:symbol val="none"/>
          </c:marker>
          <c:dPt>
            <c:idx val="0"/>
            <c:marker>
              <c:symbol val="circle"/>
              <c:size val="10"/>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3-A22E-4266-AFD5-22842E0A2CA2}"/>
              </c:ext>
            </c:extLst>
          </c:dPt>
          <c:dPt>
            <c:idx val="1"/>
            <c:marker>
              <c:symbol val="circle"/>
              <c:size val="10"/>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4-A22E-4266-AFD5-22842E0A2CA2}"/>
              </c:ext>
            </c:extLst>
          </c:dPt>
          <c:xVal>
            <c:numRef>
              <c:f>Sheet1!$A$4:$B$4</c:f>
              <c:numCache>
                <c:formatCode>General</c:formatCode>
                <c:ptCount val="2"/>
                <c:pt idx="0">
                  <c:v>2.5</c:v>
                </c:pt>
                <c:pt idx="1">
                  <c:v>2.2000000000000002</c:v>
                </c:pt>
              </c:numCache>
            </c:numRef>
          </c:xVal>
          <c:yVal>
            <c:numRef>
              <c:f>Sheet1!$A$1:$B$1</c:f>
              <c:numCache>
                <c:formatCode>General</c:formatCode>
                <c:ptCount val="2"/>
                <c:pt idx="0">
                  <c:v>0</c:v>
                </c:pt>
                <c:pt idx="1">
                  <c:v>1</c:v>
                </c:pt>
              </c:numCache>
            </c:numRef>
          </c:yVal>
          <c:smooth val="0"/>
          <c:extLst>
            <c:ext xmlns:c16="http://schemas.microsoft.com/office/drawing/2014/chart" uri="{C3380CC4-5D6E-409C-BE32-E72D297353CC}">
              <c16:uniqueId val="{00000005-A22E-4266-AFD5-22842E0A2CA2}"/>
            </c:ext>
          </c:extLst>
        </c:ser>
        <c:dLbls>
          <c:showLegendKey val="0"/>
          <c:showVal val="0"/>
          <c:showCatName val="0"/>
          <c:showSerName val="0"/>
          <c:showPercent val="0"/>
          <c:showBubbleSize val="0"/>
        </c:dLbls>
        <c:axId val="5"/>
        <c:axId val="4"/>
      </c:scatterChart>
      <c:valAx>
        <c:axId val="4"/>
        <c:scaling>
          <c:orientation val="maxMin"/>
          <c:max val="1.5"/>
          <c:min val="-0.5"/>
        </c:scaling>
        <c:delete val="0"/>
        <c:axPos val="l"/>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5"/>
        <c:crosses val="min"/>
        <c:crossBetween val="midCat"/>
      </c:valAx>
      <c:valAx>
        <c:axId val="5"/>
        <c:scaling>
          <c:orientation val="minMax"/>
          <c:max val="5"/>
          <c:min val="0"/>
        </c:scaling>
        <c:delete val="1"/>
        <c:axPos val="t"/>
        <c:numFmt formatCode="General" sourceLinked="1"/>
        <c:majorTickMark val="out"/>
        <c:minorTickMark val="none"/>
        <c:tickLblPos val="nextTo"/>
        <c:crossAx val="4"/>
        <c:crosses val="min"/>
        <c:crossBetween val="between"/>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6186499652052888E-2"/>
          <c:y val="9.7560975609756101E-2"/>
          <c:w val="0.92762700069589421"/>
          <c:h val="0.80487804878048785"/>
        </c:manualLayout>
      </c:layout>
      <c:scatterChart>
        <c:scatterStyle val="lineMarker"/>
        <c:varyColors val="0"/>
        <c:ser>
          <c:idx val="0"/>
          <c:order val="0"/>
          <c:spPr>
            <a:ln>
              <a:noFill/>
            </a:ln>
          </c:spPr>
          <c:marker>
            <c:symbol val="none"/>
          </c:marker>
          <c:dPt>
            <c:idx val="0"/>
            <c:marker>
              <c:symbol val="circle"/>
              <c:size val="10"/>
              <c:spPr>
                <a:solidFill>
                  <a:srgbClr val="235DFF"/>
                </a:solidFill>
                <a:ln w="9525" cmpd="sng" algn="ctr">
                  <a:solidFill>
                    <a:srgbClr val="235DFF"/>
                  </a:solidFill>
                  <a:prstDash val="solid"/>
                </a:ln>
              </c:spPr>
            </c:marker>
            <c:bubble3D val="0"/>
            <c:extLst>
              <c:ext xmlns:c16="http://schemas.microsoft.com/office/drawing/2014/chart" uri="{C3380CC4-5D6E-409C-BE32-E72D297353CC}">
                <c16:uniqueId val="{00000000-98CA-4E7D-A997-439804FE436F}"/>
              </c:ext>
            </c:extLst>
          </c:dPt>
          <c:dPt>
            <c:idx val="1"/>
            <c:marker>
              <c:symbol val="circle"/>
              <c:size val="10"/>
              <c:spPr>
                <a:solidFill>
                  <a:srgbClr val="235DFF"/>
                </a:solidFill>
                <a:ln w="9525" cmpd="sng" algn="ctr">
                  <a:solidFill>
                    <a:srgbClr val="235DFF"/>
                  </a:solidFill>
                  <a:prstDash val="solid"/>
                </a:ln>
              </c:spPr>
            </c:marker>
            <c:bubble3D val="0"/>
            <c:extLst>
              <c:ext xmlns:c16="http://schemas.microsoft.com/office/drawing/2014/chart" uri="{C3380CC4-5D6E-409C-BE32-E72D297353CC}">
                <c16:uniqueId val="{00000001-98CA-4E7D-A997-439804FE436F}"/>
              </c:ext>
            </c:extLst>
          </c:dPt>
          <c:dPt>
            <c:idx val="2"/>
            <c:marker>
              <c:symbol val="circle"/>
              <c:size val="10"/>
              <c:spPr>
                <a:solidFill>
                  <a:srgbClr val="235DFF"/>
                </a:solidFill>
                <a:ln w="9525" cmpd="sng" algn="ctr">
                  <a:solidFill>
                    <a:srgbClr val="235DFF"/>
                  </a:solidFill>
                  <a:prstDash val="solid"/>
                </a:ln>
              </c:spPr>
            </c:marker>
            <c:bubble3D val="0"/>
            <c:extLst>
              <c:ext xmlns:c16="http://schemas.microsoft.com/office/drawing/2014/chart" uri="{C3380CC4-5D6E-409C-BE32-E72D297353CC}">
                <c16:uniqueId val="{00000002-98CA-4E7D-A997-439804FE436F}"/>
              </c:ext>
            </c:extLst>
          </c:dPt>
          <c:xVal>
            <c:numRef>
              <c:f>Sheet1!$A$2:$C$2</c:f>
              <c:numCache>
                <c:formatCode>General</c:formatCode>
                <c:ptCount val="3"/>
                <c:pt idx="0">
                  <c:v>3.4</c:v>
                </c:pt>
                <c:pt idx="1">
                  <c:v>2.1</c:v>
                </c:pt>
                <c:pt idx="2">
                  <c:v>2</c:v>
                </c:pt>
              </c:numCache>
            </c:numRef>
          </c:xVal>
          <c:yVal>
            <c:numRef>
              <c:f>Sheet1!$A$1:$C$1</c:f>
              <c:numCache>
                <c:formatCode>General</c:formatCode>
                <c:ptCount val="3"/>
                <c:pt idx="0">
                  <c:v>0</c:v>
                </c:pt>
                <c:pt idx="1">
                  <c:v>1</c:v>
                </c:pt>
                <c:pt idx="2">
                  <c:v>2</c:v>
                </c:pt>
              </c:numCache>
            </c:numRef>
          </c:yVal>
          <c:smooth val="0"/>
          <c:extLst>
            <c:ext xmlns:c16="http://schemas.microsoft.com/office/drawing/2014/chart" uri="{C3380CC4-5D6E-409C-BE32-E72D297353CC}">
              <c16:uniqueId val="{00000003-98CA-4E7D-A997-439804FE436F}"/>
            </c:ext>
          </c:extLst>
        </c:ser>
        <c:ser>
          <c:idx val="1"/>
          <c:order val="1"/>
          <c:spPr>
            <a:ln>
              <a:noFill/>
            </a:ln>
          </c:spPr>
          <c:marker>
            <c:symbol val="none"/>
          </c:marker>
          <c:dPt>
            <c:idx val="0"/>
            <c:marker>
              <c:symbol val="circle"/>
              <c:size val="10"/>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4-98CA-4E7D-A997-439804FE436F}"/>
              </c:ext>
            </c:extLst>
          </c:dPt>
          <c:dPt>
            <c:idx val="1"/>
            <c:marker>
              <c:symbol val="circle"/>
              <c:size val="10"/>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5-98CA-4E7D-A997-439804FE436F}"/>
              </c:ext>
            </c:extLst>
          </c:dPt>
          <c:dPt>
            <c:idx val="2"/>
            <c:marker>
              <c:symbol val="circle"/>
              <c:size val="10"/>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6-98CA-4E7D-A997-439804FE436F}"/>
              </c:ext>
            </c:extLst>
          </c:dPt>
          <c:errBars>
            <c:errDir val="x"/>
            <c:errBarType val="plus"/>
            <c:errValType val="cust"/>
            <c:noEndCap val="1"/>
            <c:plus>
              <c:numRef>
                <c:f>Sheet1!$A$3:$C$3</c:f>
                <c:numCache>
                  <c:formatCode>General</c:formatCode>
                  <c:ptCount val="3"/>
                  <c:pt idx="0">
                    <c:v>-0.30000000000000027</c:v>
                  </c:pt>
                  <c:pt idx="1">
                    <c:v>-0.60000000000000009</c:v>
                  </c:pt>
                  <c:pt idx="2">
                    <c:v>-1</c:v>
                  </c:pt>
                </c:numCache>
              </c:numRef>
            </c:plus>
            <c:spPr>
              <a:ln w="38100" cmpd="sng" algn="ctr">
                <a:solidFill>
                  <a:srgbClr val="969696"/>
                </a:solidFill>
                <a:prstDash val="solid"/>
              </a:ln>
            </c:spPr>
          </c:errBars>
          <c:xVal>
            <c:numRef>
              <c:f>Sheet1!$A$4:$C$4</c:f>
              <c:numCache>
                <c:formatCode>General</c:formatCode>
                <c:ptCount val="3"/>
                <c:pt idx="0">
                  <c:v>3.7</c:v>
                </c:pt>
                <c:pt idx="1">
                  <c:v>2.7</c:v>
                </c:pt>
                <c:pt idx="2">
                  <c:v>3</c:v>
                </c:pt>
              </c:numCache>
            </c:numRef>
          </c:xVal>
          <c:yVal>
            <c:numRef>
              <c:f>Sheet1!$A$1:$C$1</c:f>
              <c:numCache>
                <c:formatCode>General</c:formatCode>
                <c:ptCount val="3"/>
                <c:pt idx="0">
                  <c:v>0</c:v>
                </c:pt>
                <c:pt idx="1">
                  <c:v>1</c:v>
                </c:pt>
                <c:pt idx="2">
                  <c:v>2</c:v>
                </c:pt>
              </c:numCache>
            </c:numRef>
          </c:yVal>
          <c:smooth val="0"/>
          <c:extLst>
            <c:ext xmlns:c16="http://schemas.microsoft.com/office/drawing/2014/chart" uri="{C3380CC4-5D6E-409C-BE32-E72D297353CC}">
              <c16:uniqueId val="{00000007-98CA-4E7D-A997-439804FE436F}"/>
            </c:ext>
          </c:extLst>
        </c:ser>
        <c:dLbls>
          <c:showLegendKey val="0"/>
          <c:showVal val="0"/>
          <c:showCatName val="0"/>
          <c:showSerName val="0"/>
          <c:showPercent val="0"/>
          <c:showBubbleSize val="0"/>
        </c:dLbls>
        <c:axId val="5"/>
        <c:axId val="4"/>
      </c:scatterChart>
      <c:valAx>
        <c:axId val="4"/>
        <c:scaling>
          <c:orientation val="maxMin"/>
          <c:max val="2.5"/>
          <c:min val="-0.5"/>
        </c:scaling>
        <c:delete val="0"/>
        <c:axPos val="l"/>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5"/>
        <c:crosses val="min"/>
        <c:crossBetween val="midCat"/>
      </c:valAx>
      <c:valAx>
        <c:axId val="5"/>
        <c:scaling>
          <c:orientation val="minMax"/>
          <c:max val="3.7"/>
          <c:min val="0"/>
        </c:scaling>
        <c:delete val="1"/>
        <c:axPos val="t"/>
        <c:numFmt formatCode="General" sourceLinked="1"/>
        <c:majorTickMark val="out"/>
        <c:minorTickMark val="none"/>
        <c:tickLblPos val="nextTo"/>
        <c:crossAx val="4"/>
        <c:crosses val="min"/>
        <c:crossBetween val="between"/>
      </c:valAx>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6186499652052888E-2"/>
          <c:y val="0.11685393258426967"/>
          <c:w val="0.92762700069589421"/>
          <c:h val="0.76629213483146064"/>
        </c:manualLayout>
      </c:layout>
      <c:scatterChart>
        <c:scatterStyle val="lineMarker"/>
        <c:varyColors val="0"/>
        <c:ser>
          <c:idx val="0"/>
          <c:order val="0"/>
          <c:spPr>
            <a:ln>
              <a:noFill/>
            </a:ln>
          </c:spPr>
          <c:marker>
            <c:symbol val="none"/>
          </c:marker>
          <c:dPt>
            <c:idx val="0"/>
            <c:marker>
              <c:symbol val="circle"/>
              <c:size val="10"/>
              <c:spPr>
                <a:solidFill>
                  <a:srgbClr val="235DFF"/>
                </a:solidFill>
                <a:ln w="9525" cmpd="sng" algn="ctr">
                  <a:solidFill>
                    <a:srgbClr val="235DFF"/>
                  </a:solidFill>
                  <a:prstDash val="solid"/>
                </a:ln>
              </c:spPr>
            </c:marker>
            <c:bubble3D val="0"/>
            <c:extLst>
              <c:ext xmlns:c16="http://schemas.microsoft.com/office/drawing/2014/chart" uri="{C3380CC4-5D6E-409C-BE32-E72D297353CC}">
                <c16:uniqueId val="{00000000-5119-4E7C-9C73-4F4AE4EED0C2}"/>
              </c:ext>
            </c:extLst>
          </c:dPt>
          <c:dPt>
            <c:idx val="1"/>
            <c:marker>
              <c:symbol val="circle"/>
              <c:size val="10"/>
              <c:spPr>
                <a:solidFill>
                  <a:srgbClr val="235DFF"/>
                </a:solidFill>
                <a:ln w="9525" cmpd="sng" algn="ctr">
                  <a:solidFill>
                    <a:srgbClr val="235DFF"/>
                  </a:solidFill>
                  <a:prstDash val="solid"/>
                </a:ln>
              </c:spPr>
            </c:marker>
            <c:bubble3D val="0"/>
            <c:extLst>
              <c:ext xmlns:c16="http://schemas.microsoft.com/office/drawing/2014/chart" uri="{C3380CC4-5D6E-409C-BE32-E72D297353CC}">
                <c16:uniqueId val="{00000001-5119-4E7C-9C73-4F4AE4EED0C2}"/>
              </c:ext>
            </c:extLst>
          </c:dPt>
          <c:xVal>
            <c:numRef>
              <c:f>Sheet1!$A$2:$B$2</c:f>
              <c:numCache>
                <c:formatCode>General</c:formatCode>
                <c:ptCount val="2"/>
                <c:pt idx="0">
                  <c:v>4.0999999999999996</c:v>
                </c:pt>
                <c:pt idx="1">
                  <c:v>2.1</c:v>
                </c:pt>
              </c:numCache>
            </c:numRef>
          </c:xVal>
          <c:yVal>
            <c:numRef>
              <c:f>Sheet1!$A$1:$B$1</c:f>
              <c:numCache>
                <c:formatCode>General</c:formatCode>
                <c:ptCount val="2"/>
                <c:pt idx="0">
                  <c:v>0</c:v>
                </c:pt>
                <c:pt idx="1">
                  <c:v>1</c:v>
                </c:pt>
              </c:numCache>
            </c:numRef>
          </c:yVal>
          <c:smooth val="0"/>
          <c:extLst>
            <c:ext xmlns:c16="http://schemas.microsoft.com/office/drawing/2014/chart" uri="{C3380CC4-5D6E-409C-BE32-E72D297353CC}">
              <c16:uniqueId val="{00000002-5119-4E7C-9C73-4F4AE4EED0C2}"/>
            </c:ext>
          </c:extLst>
        </c:ser>
        <c:ser>
          <c:idx val="1"/>
          <c:order val="1"/>
          <c:spPr>
            <a:ln>
              <a:noFill/>
            </a:ln>
          </c:spPr>
          <c:marker>
            <c:symbol val="none"/>
          </c:marker>
          <c:dPt>
            <c:idx val="0"/>
            <c:marker>
              <c:symbol val="circle"/>
              <c:size val="10"/>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3-5119-4E7C-9C73-4F4AE4EED0C2}"/>
              </c:ext>
            </c:extLst>
          </c:dPt>
          <c:dPt>
            <c:idx val="1"/>
            <c:marker>
              <c:symbol val="circle"/>
              <c:size val="10"/>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4-5119-4E7C-9C73-4F4AE4EED0C2}"/>
              </c:ext>
            </c:extLst>
          </c:dPt>
          <c:errBars>
            <c:errDir val="x"/>
            <c:errBarType val="plus"/>
            <c:errValType val="cust"/>
            <c:noEndCap val="1"/>
            <c:plus>
              <c:numRef>
                <c:f>Sheet1!$A$3:$B$3</c:f>
                <c:numCache>
                  <c:formatCode>General</c:formatCode>
                  <c:ptCount val="2"/>
                  <c:pt idx="0">
                    <c:v>3.3</c:v>
                  </c:pt>
                  <c:pt idx="1">
                    <c:v>1.2000000000000002</c:v>
                  </c:pt>
                </c:numCache>
              </c:numRef>
            </c:plus>
            <c:spPr>
              <a:ln w="38100" cmpd="sng" algn="ctr">
                <a:solidFill>
                  <a:srgbClr val="969696"/>
                </a:solidFill>
                <a:prstDash val="solid"/>
              </a:ln>
            </c:spPr>
          </c:errBars>
          <c:xVal>
            <c:numRef>
              <c:f>Sheet1!$A$4:$B$4</c:f>
              <c:numCache>
                <c:formatCode>General</c:formatCode>
                <c:ptCount val="2"/>
                <c:pt idx="0">
                  <c:v>0.8</c:v>
                </c:pt>
                <c:pt idx="1">
                  <c:v>0.9</c:v>
                </c:pt>
              </c:numCache>
            </c:numRef>
          </c:xVal>
          <c:yVal>
            <c:numRef>
              <c:f>Sheet1!$A$1:$B$1</c:f>
              <c:numCache>
                <c:formatCode>General</c:formatCode>
                <c:ptCount val="2"/>
                <c:pt idx="0">
                  <c:v>0</c:v>
                </c:pt>
                <c:pt idx="1">
                  <c:v>1</c:v>
                </c:pt>
              </c:numCache>
            </c:numRef>
          </c:yVal>
          <c:smooth val="0"/>
          <c:extLst>
            <c:ext xmlns:c16="http://schemas.microsoft.com/office/drawing/2014/chart" uri="{C3380CC4-5D6E-409C-BE32-E72D297353CC}">
              <c16:uniqueId val="{00000005-5119-4E7C-9C73-4F4AE4EED0C2}"/>
            </c:ext>
          </c:extLst>
        </c:ser>
        <c:dLbls>
          <c:showLegendKey val="0"/>
          <c:showVal val="0"/>
          <c:showCatName val="0"/>
          <c:showSerName val="0"/>
          <c:showPercent val="0"/>
          <c:showBubbleSize val="0"/>
        </c:dLbls>
        <c:axId val="5"/>
        <c:axId val="4"/>
      </c:scatterChart>
      <c:valAx>
        <c:axId val="4"/>
        <c:scaling>
          <c:orientation val="maxMin"/>
          <c:max val="1.5"/>
          <c:min val="-0.5"/>
        </c:scaling>
        <c:delete val="0"/>
        <c:axPos val="l"/>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5"/>
        <c:crosses val="min"/>
        <c:crossBetween val="midCat"/>
      </c:valAx>
      <c:valAx>
        <c:axId val="5"/>
        <c:scaling>
          <c:orientation val="minMax"/>
          <c:max val="5.0000000000000009"/>
          <c:min val="0"/>
        </c:scaling>
        <c:delete val="1"/>
        <c:axPos val="t"/>
        <c:numFmt formatCode="General" sourceLinked="1"/>
        <c:majorTickMark val="out"/>
        <c:minorTickMark val="none"/>
        <c:tickLblPos val="nextTo"/>
        <c:crossAx val="4"/>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5863377609108162E-2"/>
          <c:y val="1.7814319972593355E-2"/>
          <c:w val="0.92827324478178364"/>
          <c:h val="0.90133607399794446"/>
        </c:manualLayout>
      </c:layout>
      <c:scatterChart>
        <c:scatterStyle val="lineMarker"/>
        <c:varyColors val="0"/>
        <c:ser>
          <c:idx val="0"/>
          <c:order val="0"/>
          <c:spPr>
            <a:ln w="19050" cmpd="sng" algn="ctr">
              <a:solidFill>
                <a:srgbClr val="000000"/>
              </a:solidFill>
              <a:prstDash val="solid"/>
            </a:ln>
          </c:spPr>
          <c:marker>
            <c:symbol val="none"/>
          </c:marker>
          <c:xVal>
            <c:numRef>
              <c:f>Sheet1!$A$1:$AJ$1</c:f>
              <c:numCache>
                <c:formatCode>General</c:formatCode>
                <c:ptCount val="36"/>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pt idx="26">
                  <c:v>2026</c:v>
                </c:pt>
                <c:pt idx="27">
                  <c:v>2027</c:v>
                </c:pt>
                <c:pt idx="28">
                  <c:v>2028</c:v>
                </c:pt>
                <c:pt idx="29">
                  <c:v>2029</c:v>
                </c:pt>
                <c:pt idx="30">
                  <c:v>2030</c:v>
                </c:pt>
                <c:pt idx="31">
                  <c:v>2031</c:v>
                </c:pt>
                <c:pt idx="32">
                  <c:v>2032</c:v>
                </c:pt>
                <c:pt idx="33">
                  <c:v>2033</c:v>
                </c:pt>
                <c:pt idx="34">
                  <c:v>2034</c:v>
                </c:pt>
                <c:pt idx="35">
                  <c:v>2035</c:v>
                </c:pt>
              </c:numCache>
            </c:numRef>
          </c:xVal>
          <c:yVal>
            <c:numRef>
              <c:f>Sheet1!$A$2:$AJ$2</c:f>
              <c:numCache>
                <c:formatCode>General</c:formatCode>
                <c:ptCount val="36"/>
                <c:pt idx="0">
                  <c:v>23.237549978791218</c:v>
                </c:pt>
                <c:pt idx="1">
                  <c:v>23.422423320914586</c:v>
                </c:pt>
                <c:pt idx="2">
                  <c:v>24.498140290523214</c:v>
                </c:pt>
                <c:pt idx="3">
                  <c:v>26.254151805597228</c:v>
                </c:pt>
                <c:pt idx="4">
                  <c:v>27.779619730983878</c:v>
                </c:pt>
                <c:pt idx="5">
                  <c:v>28.76973873510072</c:v>
                </c:pt>
                <c:pt idx="6">
                  <c:v>30.276012692796645</c:v>
                </c:pt>
                <c:pt idx="7">
                  <c:v>30.93930321911969</c:v>
                </c:pt>
                <c:pt idx="8">
                  <c:v>31.437666817437364</c:v>
                </c:pt>
                <c:pt idx="9">
                  <c:v>31.994707066929319</c:v>
                </c:pt>
                <c:pt idx="10">
                  <c:v>33.629090683082126</c:v>
                </c:pt>
                <c:pt idx="11">
                  <c:v>34.679078995104405</c:v>
                </c:pt>
                <c:pt idx="12">
                  <c:v>35.806358781641549</c:v>
                </c:pt>
                <c:pt idx="13">
                  <c:v>36.600629802896762</c:v>
                </c:pt>
                <c:pt idx="14">
                  <c:v>37.388472936536928</c:v>
                </c:pt>
                <c:pt idx="15">
                  <c:v>37.647614076338684</c:v>
                </c:pt>
                <c:pt idx="16">
                  <c:v>37.29877521250306</c:v>
                </c:pt>
                <c:pt idx="17">
                  <c:v>37.866178177502292</c:v>
                </c:pt>
                <c:pt idx="18">
                  <c:v>38.912687557514133</c:v>
                </c:pt>
                <c:pt idx="19">
                  <c:v>40.170970061037153</c:v>
                </c:pt>
                <c:pt idx="20">
                  <c:v>37.886271034310496</c:v>
                </c:pt>
                <c:pt idx="21">
                  <c:v>39.755570237995954</c:v>
                </c:pt>
                <c:pt idx="22">
                  <c:v>39.755570237995954</c:v>
                </c:pt>
                <c:pt idx="23">
                  <c:v>39.963270149516561</c:v>
                </c:pt>
              </c:numCache>
            </c:numRef>
          </c:yVal>
          <c:smooth val="0"/>
          <c:extLst>
            <c:ext xmlns:c16="http://schemas.microsoft.com/office/drawing/2014/chart" uri="{C3380CC4-5D6E-409C-BE32-E72D297353CC}">
              <c16:uniqueId val="{00000000-7F0D-4CF7-A528-1BF34351FBFB}"/>
            </c:ext>
          </c:extLst>
        </c:ser>
        <c:ser>
          <c:idx val="1"/>
          <c:order val="1"/>
          <c:spPr>
            <a:ln w="28575" cmpd="sng" algn="ctr">
              <a:solidFill>
                <a:schemeClr val="accent4"/>
              </a:solidFill>
              <a:prstDash val="solid"/>
            </a:ln>
          </c:spPr>
          <c:marker>
            <c:symbol val="none"/>
          </c:marker>
          <c:xVal>
            <c:numRef>
              <c:f>Sheet1!$A$1:$AJ$1</c:f>
              <c:numCache>
                <c:formatCode>General</c:formatCode>
                <c:ptCount val="36"/>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pt idx="26">
                  <c:v>2026</c:v>
                </c:pt>
                <c:pt idx="27">
                  <c:v>2027</c:v>
                </c:pt>
                <c:pt idx="28">
                  <c:v>2028</c:v>
                </c:pt>
                <c:pt idx="29">
                  <c:v>2029</c:v>
                </c:pt>
                <c:pt idx="30">
                  <c:v>2030</c:v>
                </c:pt>
                <c:pt idx="31">
                  <c:v>2031</c:v>
                </c:pt>
                <c:pt idx="32">
                  <c:v>2032</c:v>
                </c:pt>
                <c:pt idx="33">
                  <c:v>2033</c:v>
                </c:pt>
                <c:pt idx="34">
                  <c:v>2034</c:v>
                </c:pt>
                <c:pt idx="35">
                  <c:v>2035</c:v>
                </c:pt>
              </c:numCache>
            </c:numRef>
          </c:xVal>
          <c:yVal>
            <c:numRef>
              <c:f>Sheet1!$A$3:$AJ$3</c:f>
              <c:numCache>
                <c:formatCode>General</c:formatCode>
                <c:ptCount val="36"/>
                <c:pt idx="23">
                  <c:v>39.963270149516561</c:v>
                </c:pt>
                <c:pt idx="24">
                  <c:v>38.821807691470724</c:v>
                </c:pt>
                <c:pt idx="25">
                  <c:v>37.680345233424873</c:v>
                </c:pt>
                <c:pt idx="26">
                  <c:v>37.680345233424873</c:v>
                </c:pt>
                <c:pt idx="27">
                  <c:v>37.680345233424873</c:v>
                </c:pt>
                <c:pt idx="28">
                  <c:v>37.680345233424873</c:v>
                </c:pt>
                <c:pt idx="29">
                  <c:v>37.680345233424873</c:v>
                </c:pt>
                <c:pt idx="30">
                  <c:v>37.680345233424873</c:v>
                </c:pt>
                <c:pt idx="31">
                  <c:v>37.560345233424883</c:v>
                </c:pt>
                <c:pt idx="32">
                  <c:v>37.440345233424878</c:v>
                </c:pt>
                <c:pt idx="33">
                  <c:v>37.320345233424888</c:v>
                </c:pt>
                <c:pt idx="34">
                  <c:v>37.200345233424883</c:v>
                </c:pt>
                <c:pt idx="35">
                  <c:v>37.080345233424879</c:v>
                </c:pt>
              </c:numCache>
            </c:numRef>
          </c:yVal>
          <c:smooth val="0"/>
          <c:extLst>
            <c:ext xmlns:c16="http://schemas.microsoft.com/office/drawing/2014/chart" uri="{C3380CC4-5D6E-409C-BE32-E72D297353CC}">
              <c16:uniqueId val="{00000001-7F0D-4CF7-A528-1BF34351FBFB}"/>
            </c:ext>
          </c:extLst>
        </c:ser>
        <c:ser>
          <c:idx val="2"/>
          <c:order val="2"/>
          <c:spPr>
            <a:ln w="28575" cmpd="sng" algn="ctr">
              <a:solidFill>
                <a:schemeClr val="accent5"/>
              </a:solidFill>
              <a:prstDash val="solid"/>
            </a:ln>
          </c:spPr>
          <c:marker>
            <c:symbol val="none"/>
          </c:marker>
          <c:xVal>
            <c:numRef>
              <c:f>Sheet1!$A$1:$AJ$1</c:f>
              <c:numCache>
                <c:formatCode>General</c:formatCode>
                <c:ptCount val="36"/>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pt idx="26">
                  <c:v>2026</c:v>
                </c:pt>
                <c:pt idx="27">
                  <c:v>2027</c:v>
                </c:pt>
                <c:pt idx="28">
                  <c:v>2028</c:v>
                </c:pt>
                <c:pt idx="29">
                  <c:v>2029</c:v>
                </c:pt>
                <c:pt idx="30">
                  <c:v>2030</c:v>
                </c:pt>
                <c:pt idx="31">
                  <c:v>2031</c:v>
                </c:pt>
                <c:pt idx="32">
                  <c:v>2032</c:v>
                </c:pt>
                <c:pt idx="33">
                  <c:v>2033</c:v>
                </c:pt>
                <c:pt idx="34">
                  <c:v>2034</c:v>
                </c:pt>
                <c:pt idx="35">
                  <c:v>2035</c:v>
                </c:pt>
              </c:numCache>
            </c:numRef>
          </c:xVal>
          <c:yVal>
            <c:numRef>
              <c:f>Sheet1!$A$4:$AJ$4</c:f>
              <c:numCache>
                <c:formatCode>General</c:formatCode>
                <c:ptCount val="36"/>
                <c:pt idx="23">
                  <c:v>39.963270149516561</c:v>
                </c:pt>
                <c:pt idx="24">
                  <c:v>38.471807691470715</c:v>
                </c:pt>
                <c:pt idx="25">
                  <c:v>36.98034523342487</c:v>
                </c:pt>
                <c:pt idx="26">
                  <c:v>36.84034523342487</c:v>
                </c:pt>
                <c:pt idx="27">
                  <c:v>36.700345233424869</c:v>
                </c:pt>
                <c:pt idx="28">
                  <c:v>36.560345233424869</c:v>
                </c:pt>
                <c:pt idx="29">
                  <c:v>36.420345233424868</c:v>
                </c:pt>
                <c:pt idx="30">
                  <c:v>36.280345233424882</c:v>
                </c:pt>
                <c:pt idx="31">
                  <c:v>36.080345233424879</c:v>
                </c:pt>
                <c:pt idx="32">
                  <c:v>35.880345233424876</c:v>
                </c:pt>
                <c:pt idx="33">
                  <c:v>35.680345233424873</c:v>
                </c:pt>
                <c:pt idx="34">
                  <c:v>35.48034523342487</c:v>
                </c:pt>
                <c:pt idx="35">
                  <c:v>35.280345233424882</c:v>
                </c:pt>
              </c:numCache>
            </c:numRef>
          </c:yVal>
          <c:smooth val="0"/>
          <c:extLst>
            <c:ext xmlns:c16="http://schemas.microsoft.com/office/drawing/2014/chart" uri="{C3380CC4-5D6E-409C-BE32-E72D297353CC}">
              <c16:uniqueId val="{00000002-7F0D-4CF7-A528-1BF34351FBFB}"/>
            </c:ext>
          </c:extLst>
        </c:ser>
        <c:ser>
          <c:idx val="3"/>
          <c:order val="3"/>
          <c:spPr>
            <a:ln w="28575" cmpd="sng" algn="ctr">
              <a:solidFill>
                <a:srgbClr val="E59E6D"/>
              </a:solidFill>
              <a:prstDash val="solid"/>
            </a:ln>
          </c:spPr>
          <c:marker>
            <c:symbol val="none"/>
          </c:marker>
          <c:xVal>
            <c:numRef>
              <c:f>Sheet1!$A$1:$AJ$1</c:f>
              <c:numCache>
                <c:formatCode>General</c:formatCode>
                <c:ptCount val="36"/>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pt idx="26">
                  <c:v>2026</c:v>
                </c:pt>
                <c:pt idx="27">
                  <c:v>2027</c:v>
                </c:pt>
                <c:pt idx="28">
                  <c:v>2028</c:v>
                </c:pt>
                <c:pt idx="29">
                  <c:v>2029</c:v>
                </c:pt>
                <c:pt idx="30">
                  <c:v>2030</c:v>
                </c:pt>
                <c:pt idx="31">
                  <c:v>2031</c:v>
                </c:pt>
                <c:pt idx="32">
                  <c:v>2032</c:v>
                </c:pt>
                <c:pt idx="33">
                  <c:v>2033</c:v>
                </c:pt>
                <c:pt idx="34">
                  <c:v>2034</c:v>
                </c:pt>
                <c:pt idx="35">
                  <c:v>2035</c:v>
                </c:pt>
              </c:numCache>
            </c:numRef>
          </c:xVal>
          <c:yVal>
            <c:numRef>
              <c:f>Sheet1!$A$5:$AJ$5</c:f>
              <c:numCache>
                <c:formatCode>General</c:formatCode>
                <c:ptCount val="36"/>
                <c:pt idx="23">
                  <c:v>39.963270149516561</c:v>
                </c:pt>
                <c:pt idx="24">
                  <c:v>37.521807691470727</c:v>
                </c:pt>
                <c:pt idx="25">
                  <c:v>35.080345233424879</c:v>
                </c:pt>
                <c:pt idx="26">
                  <c:v>34.620345233424871</c:v>
                </c:pt>
                <c:pt idx="27">
                  <c:v>34.160345233424877</c:v>
                </c:pt>
                <c:pt idx="28">
                  <c:v>33.700345233424869</c:v>
                </c:pt>
                <c:pt idx="29">
                  <c:v>33.240345233424875</c:v>
                </c:pt>
                <c:pt idx="30">
                  <c:v>32.780345233424882</c:v>
                </c:pt>
                <c:pt idx="31">
                  <c:v>32.500345233424881</c:v>
                </c:pt>
                <c:pt idx="32">
                  <c:v>32.220345233424879</c:v>
                </c:pt>
                <c:pt idx="33">
                  <c:v>31.940345233424875</c:v>
                </c:pt>
                <c:pt idx="34">
                  <c:v>31.660345233424874</c:v>
                </c:pt>
                <c:pt idx="35">
                  <c:v>31.380345233424872</c:v>
                </c:pt>
              </c:numCache>
            </c:numRef>
          </c:yVal>
          <c:smooth val="0"/>
          <c:extLst>
            <c:ext xmlns:c16="http://schemas.microsoft.com/office/drawing/2014/chart" uri="{C3380CC4-5D6E-409C-BE32-E72D297353CC}">
              <c16:uniqueId val="{00000003-7F0D-4CF7-A528-1BF34351FBFB}"/>
            </c:ext>
          </c:extLst>
        </c:ser>
        <c:ser>
          <c:idx val="4"/>
          <c:order val="4"/>
          <c:spPr>
            <a:ln w="12700" cmpd="sng" algn="ctr">
              <a:solidFill>
                <a:schemeClr val="accent3"/>
              </a:solidFill>
              <a:prstDash val="dash"/>
            </a:ln>
          </c:spPr>
          <c:marker>
            <c:symbol val="none"/>
          </c:marker>
          <c:xVal>
            <c:numRef>
              <c:f>Sheet1!$A$1:$AJ$1</c:f>
              <c:numCache>
                <c:formatCode>General</c:formatCode>
                <c:ptCount val="36"/>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pt idx="26">
                  <c:v>2026</c:v>
                </c:pt>
                <c:pt idx="27">
                  <c:v>2027</c:v>
                </c:pt>
                <c:pt idx="28">
                  <c:v>2028</c:v>
                </c:pt>
                <c:pt idx="29">
                  <c:v>2029</c:v>
                </c:pt>
                <c:pt idx="30">
                  <c:v>2030</c:v>
                </c:pt>
                <c:pt idx="31">
                  <c:v>2031</c:v>
                </c:pt>
                <c:pt idx="32">
                  <c:v>2032</c:v>
                </c:pt>
                <c:pt idx="33">
                  <c:v>2033</c:v>
                </c:pt>
                <c:pt idx="34">
                  <c:v>2034</c:v>
                </c:pt>
                <c:pt idx="35">
                  <c:v>2035</c:v>
                </c:pt>
              </c:numCache>
            </c:numRef>
          </c:xVal>
          <c:yVal>
            <c:numRef>
              <c:f>Sheet1!$A$6:$AJ$6</c:f>
              <c:numCache>
                <c:formatCode>General</c:formatCode>
                <c:ptCount val="36"/>
                <c:pt idx="23">
                  <c:v>39.963270149516561</c:v>
                </c:pt>
                <c:pt idx="24">
                  <c:v>32.821807691470724</c:v>
                </c:pt>
                <c:pt idx="25">
                  <c:v>25.680345233424877</c:v>
                </c:pt>
                <c:pt idx="26">
                  <c:v>24.180345233424877</c:v>
                </c:pt>
                <c:pt idx="27">
                  <c:v>22.680345233424877</c:v>
                </c:pt>
                <c:pt idx="28">
                  <c:v>21.180345233424877</c:v>
                </c:pt>
                <c:pt idx="29">
                  <c:v>19.680345233424877</c:v>
                </c:pt>
                <c:pt idx="30">
                  <c:v>18.180345233424877</c:v>
                </c:pt>
                <c:pt idx="31">
                  <c:v>17.060345233424879</c:v>
                </c:pt>
                <c:pt idx="32">
                  <c:v>15.940345233424882</c:v>
                </c:pt>
                <c:pt idx="33">
                  <c:v>14.820345233424884</c:v>
                </c:pt>
                <c:pt idx="34">
                  <c:v>13.700345233424887</c:v>
                </c:pt>
                <c:pt idx="35">
                  <c:v>12.580345233424875</c:v>
                </c:pt>
              </c:numCache>
            </c:numRef>
          </c:yVal>
          <c:smooth val="0"/>
          <c:extLst>
            <c:ext xmlns:c16="http://schemas.microsoft.com/office/drawing/2014/chart" uri="{C3380CC4-5D6E-409C-BE32-E72D297353CC}">
              <c16:uniqueId val="{00000004-7F0D-4CF7-A528-1BF34351FBFB}"/>
            </c:ext>
          </c:extLst>
        </c:ser>
        <c:ser>
          <c:idx val="5"/>
          <c:order val="5"/>
          <c:spPr>
            <a:ln w="28575" cmpd="sng" algn="ctr">
              <a:solidFill>
                <a:schemeClr val="accent3"/>
              </a:solidFill>
              <a:prstDash val="solid"/>
            </a:ln>
          </c:spPr>
          <c:marker>
            <c:symbol val="none"/>
          </c:marker>
          <c:xVal>
            <c:numRef>
              <c:f>Sheet1!$A$1:$AJ$1</c:f>
              <c:numCache>
                <c:formatCode>General</c:formatCode>
                <c:ptCount val="36"/>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pt idx="26">
                  <c:v>2026</c:v>
                </c:pt>
                <c:pt idx="27">
                  <c:v>2027</c:v>
                </c:pt>
                <c:pt idx="28">
                  <c:v>2028</c:v>
                </c:pt>
                <c:pt idx="29">
                  <c:v>2029</c:v>
                </c:pt>
                <c:pt idx="30">
                  <c:v>2030</c:v>
                </c:pt>
                <c:pt idx="31">
                  <c:v>2031</c:v>
                </c:pt>
                <c:pt idx="32">
                  <c:v>2032</c:v>
                </c:pt>
                <c:pt idx="33">
                  <c:v>2033</c:v>
                </c:pt>
                <c:pt idx="34">
                  <c:v>2034</c:v>
                </c:pt>
                <c:pt idx="35">
                  <c:v>2035</c:v>
                </c:pt>
              </c:numCache>
            </c:numRef>
          </c:xVal>
          <c:yVal>
            <c:numRef>
              <c:f>Sheet1!$A$7:$AJ$7</c:f>
              <c:numCache>
                <c:formatCode>General</c:formatCode>
                <c:ptCount val="36"/>
                <c:pt idx="23">
                  <c:v>39.963270149516561</c:v>
                </c:pt>
                <c:pt idx="24">
                  <c:v>34.421807691470718</c:v>
                </c:pt>
                <c:pt idx="25">
                  <c:v>28.880345233424872</c:v>
                </c:pt>
                <c:pt idx="26">
                  <c:v>27.480345233424874</c:v>
                </c:pt>
                <c:pt idx="27">
                  <c:v>26.080345233424875</c:v>
                </c:pt>
                <c:pt idx="28">
                  <c:v>24.680345233424877</c:v>
                </c:pt>
                <c:pt idx="29">
                  <c:v>23.280345233424878</c:v>
                </c:pt>
                <c:pt idx="30">
                  <c:v>21.880345233424872</c:v>
                </c:pt>
                <c:pt idx="31">
                  <c:v>20.900345233424876</c:v>
                </c:pt>
                <c:pt idx="32">
                  <c:v>19.920345233424879</c:v>
                </c:pt>
                <c:pt idx="33">
                  <c:v>18.940345233424882</c:v>
                </c:pt>
                <c:pt idx="34">
                  <c:v>17.960345233424885</c:v>
                </c:pt>
                <c:pt idx="35">
                  <c:v>16.980345233424874</c:v>
                </c:pt>
              </c:numCache>
            </c:numRef>
          </c:yVal>
          <c:smooth val="0"/>
          <c:extLst>
            <c:ext xmlns:c16="http://schemas.microsoft.com/office/drawing/2014/chart" uri="{C3380CC4-5D6E-409C-BE32-E72D297353CC}">
              <c16:uniqueId val="{00000005-7F0D-4CF7-A528-1BF34351FBFB}"/>
            </c:ext>
          </c:extLst>
        </c:ser>
        <c:ser>
          <c:idx val="6"/>
          <c:order val="6"/>
          <c:spPr>
            <a:ln w="12700" cmpd="sng" algn="ctr">
              <a:solidFill>
                <a:schemeClr val="accent3"/>
              </a:solidFill>
              <a:prstDash val="dash"/>
            </a:ln>
          </c:spPr>
          <c:marker>
            <c:symbol val="none"/>
          </c:marker>
          <c:xVal>
            <c:numRef>
              <c:f>Sheet1!$A$1:$AJ$1</c:f>
              <c:numCache>
                <c:formatCode>General</c:formatCode>
                <c:ptCount val="36"/>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pt idx="26">
                  <c:v>2026</c:v>
                </c:pt>
                <c:pt idx="27">
                  <c:v>2027</c:v>
                </c:pt>
                <c:pt idx="28">
                  <c:v>2028</c:v>
                </c:pt>
                <c:pt idx="29">
                  <c:v>2029</c:v>
                </c:pt>
                <c:pt idx="30">
                  <c:v>2030</c:v>
                </c:pt>
                <c:pt idx="31">
                  <c:v>2031</c:v>
                </c:pt>
                <c:pt idx="32">
                  <c:v>2032</c:v>
                </c:pt>
                <c:pt idx="33">
                  <c:v>2033</c:v>
                </c:pt>
                <c:pt idx="34">
                  <c:v>2034</c:v>
                </c:pt>
                <c:pt idx="35">
                  <c:v>2035</c:v>
                </c:pt>
              </c:numCache>
            </c:numRef>
          </c:xVal>
          <c:yVal>
            <c:numRef>
              <c:f>Sheet1!$A$8:$AJ$8</c:f>
              <c:numCache>
                <c:formatCode>General</c:formatCode>
                <c:ptCount val="36"/>
                <c:pt idx="23">
                  <c:v>39.963270149516561</c:v>
                </c:pt>
                <c:pt idx="24">
                  <c:v>36.211807691470725</c:v>
                </c:pt>
                <c:pt idx="25">
                  <c:v>32.460345233424874</c:v>
                </c:pt>
                <c:pt idx="26">
                  <c:v>31.384345233424877</c:v>
                </c:pt>
                <c:pt idx="27">
                  <c:v>30.308345233424877</c:v>
                </c:pt>
                <c:pt idx="28">
                  <c:v>29.232345233424876</c:v>
                </c:pt>
                <c:pt idx="29">
                  <c:v>28.156345233424876</c:v>
                </c:pt>
                <c:pt idx="30">
                  <c:v>27.080345233424875</c:v>
                </c:pt>
                <c:pt idx="31">
                  <c:v>25.680345233424877</c:v>
                </c:pt>
                <c:pt idx="32">
                  <c:v>24.280345233424878</c:v>
                </c:pt>
                <c:pt idx="33">
                  <c:v>22.88034523342488</c:v>
                </c:pt>
                <c:pt idx="34">
                  <c:v>21.480345233424881</c:v>
                </c:pt>
                <c:pt idx="35">
                  <c:v>20.080345233424875</c:v>
                </c:pt>
              </c:numCache>
            </c:numRef>
          </c:yVal>
          <c:smooth val="0"/>
          <c:extLst>
            <c:ext xmlns:c16="http://schemas.microsoft.com/office/drawing/2014/chart" uri="{C3380CC4-5D6E-409C-BE32-E72D297353CC}">
              <c16:uniqueId val="{00000006-7F0D-4CF7-A528-1BF34351FBFB}"/>
            </c:ext>
          </c:extLst>
        </c:ser>
        <c:ser>
          <c:idx val="7"/>
          <c:order val="7"/>
          <c:spPr>
            <a:ln w="12700" cmpd="sng" algn="ctr">
              <a:solidFill>
                <a:schemeClr val="accent2"/>
              </a:solidFill>
              <a:prstDash val="dash"/>
            </a:ln>
          </c:spPr>
          <c:marker>
            <c:symbol val="none"/>
          </c:marker>
          <c:xVal>
            <c:numRef>
              <c:f>Sheet1!$A$1:$AJ$1</c:f>
              <c:numCache>
                <c:formatCode>General</c:formatCode>
                <c:ptCount val="36"/>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pt idx="26">
                  <c:v>2026</c:v>
                </c:pt>
                <c:pt idx="27">
                  <c:v>2027</c:v>
                </c:pt>
                <c:pt idx="28">
                  <c:v>2028</c:v>
                </c:pt>
                <c:pt idx="29">
                  <c:v>2029</c:v>
                </c:pt>
                <c:pt idx="30">
                  <c:v>2030</c:v>
                </c:pt>
                <c:pt idx="31">
                  <c:v>2031</c:v>
                </c:pt>
                <c:pt idx="32">
                  <c:v>2032</c:v>
                </c:pt>
                <c:pt idx="33">
                  <c:v>2033</c:v>
                </c:pt>
                <c:pt idx="34">
                  <c:v>2034</c:v>
                </c:pt>
                <c:pt idx="35">
                  <c:v>2035</c:v>
                </c:pt>
              </c:numCache>
            </c:numRef>
          </c:xVal>
          <c:yVal>
            <c:numRef>
              <c:f>Sheet1!$A$9:$AJ$9</c:f>
              <c:numCache>
                <c:formatCode>General</c:formatCode>
                <c:ptCount val="36"/>
                <c:pt idx="23">
                  <c:v>39.963270149516561</c:v>
                </c:pt>
                <c:pt idx="24">
                  <c:v>30.006807691470723</c:v>
                </c:pt>
                <c:pt idx="25">
                  <c:v>20.050345233424874</c:v>
                </c:pt>
                <c:pt idx="26">
                  <c:v>17.556345233424874</c:v>
                </c:pt>
                <c:pt idx="27">
                  <c:v>15.062345233424875</c:v>
                </c:pt>
                <c:pt idx="28">
                  <c:v>12.568345233424875</c:v>
                </c:pt>
                <c:pt idx="29">
                  <c:v>10.074345233424875</c:v>
                </c:pt>
                <c:pt idx="30">
                  <c:v>7.5803452334248753</c:v>
                </c:pt>
                <c:pt idx="31">
                  <c:v>6.3203452334248738</c:v>
                </c:pt>
                <c:pt idx="32">
                  <c:v>5.0603452334248722</c:v>
                </c:pt>
                <c:pt idx="33">
                  <c:v>3.8003452334248706</c:v>
                </c:pt>
                <c:pt idx="34">
                  <c:v>2.5403452334248691</c:v>
                </c:pt>
                <c:pt idx="35">
                  <c:v>1.2803452334248746</c:v>
                </c:pt>
              </c:numCache>
            </c:numRef>
          </c:yVal>
          <c:smooth val="0"/>
          <c:extLst>
            <c:ext xmlns:c16="http://schemas.microsoft.com/office/drawing/2014/chart" uri="{C3380CC4-5D6E-409C-BE32-E72D297353CC}">
              <c16:uniqueId val="{00000007-7F0D-4CF7-A528-1BF34351FBFB}"/>
            </c:ext>
          </c:extLst>
        </c:ser>
        <c:ser>
          <c:idx val="8"/>
          <c:order val="8"/>
          <c:spPr>
            <a:ln w="28575" cmpd="sng" algn="ctr">
              <a:solidFill>
                <a:schemeClr val="accent2"/>
              </a:solidFill>
              <a:prstDash val="solid"/>
            </a:ln>
          </c:spPr>
          <c:marker>
            <c:symbol val="none"/>
          </c:marker>
          <c:xVal>
            <c:numRef>
              <c:f>Sheet1!$A$1:$AJ$1</c:f>
              <c:numCache>
                <c:formatCode>General</c:formatCode>
                <c:ptCount val="36"/>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pt idx="26">
                  <c:v>2026</c:v>
                </c:pt>
                <c:pt idx="27">
                  <c:v>2027</c:v>
                </c:pt>
                <c:pt idx="28">
                  <c:v>2028</c:v>
                </c:pt>
                <c:pt idx="29">
                  <c:v>2029</c:v>
                </c:pt>
                <c:pt idx="30">
                  <c:v>2030</c:v>
                </c:pt>
                <c:pt idx="31">
                  <c:v>2031</c:v>
                </c:pt>
                <c:pt idx="32">
                  <c:v>2032</c:v>
                </c:pt>
                <c:pt idx="33">
                  <c:v>2033</c:v>
                </c:pt>
                <c:pt idx="34">
                  <c:v>2034</c:v>
                </c:pt>
                <c:pt idx="35">
                  <c:v>2035</c:v>
                </c:pt>
              </c:numCache>
            </c:numRef>
          </c:xVal>
          <c:yVal>
            <c:numRef>
              <c:f>Sheet1!$A$10:$AJ$10</c:f>
              <c:numCache>
                <c:formatCode>General</c:formatCode>
                <c:ptCount val="36"/>
                <c:pt idx="23">
                  <c:v>39.963270149516561</c:v>
                </c:pt>
                <c:pt idx="24">
                  <c:v>31.82180769147072</c:v>
                </c:pt>
                <c:pt idx="25">
                  <c:v>23.680345233424877</c:v>
                </c:pt>
                <c:pt idx="26">
                  <c:v>21.70034523342488</c:v>
                </c:pt>
                <c:pt idx="27">
                  <c:v>19.720345233424883</c:v>
                </c:pt>
                <c:pt idx="28">
                  <c:v>17.740345233424886</c:v>
                </c:pt>
                <c:pt idx="29">
                  <c:v>15.760345233424889</c:v>
                </c:pt>
                <c:pt idx="30">
                  <c:v>13.780345233424878</c:v>
                </c:pt>
                <c:pt idx="31">
                  <c:v>12.200345233424876</c:v>
                </c:pt>
                <c:pt idx="32">
                  <c:v>10.620345233424874</c:v>
                </c:pt>
                <c:pt idx="33">
                  <c:v>9.0403452334248726</c:v>
                </c:pt>
                <c:pt idx="34">
                  <c:v>7.4603452334248708</c:v>
                </c:pt>
                <c:pt idx="35">
                  <c:v>5.880345233424876</c:v>
                </c:pt>
              </c:numCache>
            </c:numRef>
          </c:yVal>
          <c:smooth val="0"/>
          <c:extLst>
            <c:ext xmlns:c16="http://schemas.microsoft.com/office/drawing/2014/chart" uri="{C3380CC4-5D6E-409C-BE32-E72D297353CC}">
              <c16:uniqueId val="{00000008-7F0D-4CF7-A528-1BF34351FBFB}"/>
            </c:ext>
          </c:extLst>
        </c:ser>
        <c:ser>
          <c:idx val="9"/>
          <c:order val="9"/>
          <c:spPr>
            <a:ln w="12700" cmpd="sng" algn="ctr">
              <a:solidFill>
                <a:schemeClr val="accent2"/>
              </a:solidFill>
              <a:prstDash val="dash"/>
            </a:ln>
          </c:spPr>
          <c:marker>
            <c:symbol val="none"/>
          </c:marker>
          <c:xVal>
            <c:numRef>
              <c:f>Sheet1!$A$1:$AJ$1</c:f>
              <c:numCache>
                <c:formatCode>General</c:formatCode>
                <c:ptCount val="36"/>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pt idx="26">
                  <c:v>2026</c:v>
                </c:pt>
                <c:pt idx="27">
                  <c:v>2027</c:v>
                </c:pt>
                <c:pt idx="28">
                  <c:v>2028</c:v>
                </c:pt>
                <c:pt idx="29">
                  <c:v>2029</c:v>
                </c:pt>
                <c:pt idx="30">
                  <c:v>2030</c:v>
                </c:pt>
                <c:pt idx="31">
                  <c:v>2031</c:v>
                </c:pt>
                <c:pt idx="32">
                  <c:v>2032</c:v>
                </c:pt>
                <c:pt idx="33">
                  <c:v>2033</c:v>
                </c:pt>
                <c:pt idx="34">
                  <c:v>2034</c:v>
                </c:pt>
                <c:pt idx="35">
                  <c:v>2035</c:v>
                </c:pt>
              </c:numCache>
            </c:numRef>
          </c:xVal>
          <c:yVal>
            <c:numRef>
              <c:f>Sheet1!$A$11:$AJ$11</c:f>
              <c:numCache>
                <c:formatCode>General</c:formatCode>
                <c:ptCount val="36"/>
                <c:pt idx="23">
                  <c:v>39.963270149516561</c:v>
                </c:pt>
                <c:pt idx="24">
                  <c:v>32.981807691470721</c:v>
                </c:pt>
                <c:pt idx="25">
                  <c:v>26.000345233424877</c:v>
                </c:pt>
                <c:pt idx="26">
                  <c:v>23.81634523342488</c:v>
                </c:pt>
                <c:pt idx="27">
                  <c:v>21.632345233424882</c:v>
                </c:pt>
                <c:pt idx="28">
                  <c:v>19.448345233424885</c:v>
                </c:pt>
                <c:pt idx="29">
                  <c:v>17.264345233424887</c:v>
                </c:pt>
                <c:pt idx="30">
                  <c:v>15.080345233424875</c:v>
                </c:pt>
                <c:pt idx="31">
                  <c:v>13.680345233424877</c:v>
                </c:pt>
                <c:pt idx="32">
                  <c:v>12.280345233424878</c:v>
                </c:pt>
                <c:pt idx="33">
                  <c:v>10.88034523342488</c:v>
                </c:pt>
                <c:pt idx="34">
                  <c:v>9.480345233424881</c:v>
                </c:pt>
                <c:pt idx="35">
                  <c:v>8.0803452334248753</c:v>
                </c:pt>
              </c:numCache>
            </c:numRef>
          </c:yVal>
          <c:smooth val="0"/>
          <c:extLst>
            <c:ext xmlns:c16="http://schemas.microsoft.com/office/drawing/2014/chart" uri="{C3380CC4-5D6E-409C-BE32-E72D297353CC}">
              <c16:uniqueId val="{00000009-7F0D-4CF7-A528-1BF34351FBFB}"/>
            </c:ext>
          </c:extLst>
        </c:ser>
        <c:dLbls>
          <c:showLegendKey val="0"/>
          <c:showVal val="0"/>
          <c:showCatName val="0"/>
          <c:showSerName val="0"/>
          <c:showPercent val="0"/>
          <c:showBubbleSize val="0"/>
        </c:dLbls>
        <c:axId val="4"/>
        <c:axId val="5"/>
      </c:scatterChart>
      <c:valAx>
        <c:axId val="4"/>
        <c:scaling>
          <c:orientation val="minMax"/>
          <c:max val="2035"/>
          <c:min val="2000"/>
        </c:scaling>
        <c:delete val="0"/>
        <c:axPos val="b"/>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000" kern="1200">
                <a:solidFill>
                  <a:schemeClr val="tx1"/>
                </a:solidFill>
                <a:latin typeface="Century Gothic"/>
                <a:ea typeface="Verdana"/>
                <a:cs typeface="Inter"/>
              </a:defRPr>
            </a:pPr>
            <a:endParaRPr lang="en-US"/>
          </a:p>
        </c:txPr>
        <c:crossAx val="5"/>
        <c:crosses val="min"/>
        <c:crossBetween val="midCat"/>
        <c:majorUnit val="5"/>
      </c:valAx>
      <c:valAx>
        <c:axId val="5"/>
        <c:scaling>
          <c:orientation val="minMax"/>
          <c:max val="41.080345233424879"/>
          <c:min val="0"/>
        </c:scaling>
        <c:delete val="0"/>
        <c:axPos val="l"/>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4"/>
        <c:crosses val="min"/>
        <c:crossBetween val="midCat"/>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8700361010830319E-2"/>
          <c:y val="4.1021950341849585E-2"/>
          <c:w val="0.90878459687123947"/>
          <c:h val="0.91759625764663544"/>
        </c:manualLayout>
      </c:layout>
      <c:lineChart>
        <c:grouping val="standard"/>
        <c:varyColors val="0"/>
        <c:ser>
          <c:idx val="0"/>
          <c:order val="0"/>
          <c:spPr>
            <a:ln w="38100" cmpd="sng" algn="ctr">
              <a:solidFill>
                <a:srgbClr val="E59E6D"/>
              </a:solidFill>
              <a:prstDash val="solid"/>
            </a:ln>
          </c:spPr>
          <c:marker>
            <c:symbol val="none"/>
          </c:marker>
          <c:val>
            <c:numRef>
              <c:f>Sheet1!$A$1:$AC$1</c:f>
              <c:numCache>
                <c:formatCode>General</c:formatCode>
                <c:ptCount val="29"/>
                <c:pt idx="0">
                  <c:v>414.03035236795523</c:v>
                </c:pt>
                <c:pt idx="1">
                  <c:v>407.79791481248651</c:v>
                </c:pt>
                <c:pt idx="2">
                  <c:v>373.1332471175599</c:v>
                </c:pt>
                <c:pt idx="3">
                  <c:v>311.99375528422206</c:v>
                </c:pt>
                <c:pt idx="4">
                  <c:v>258.47380076574865</c:v>
                </c:pt>
                <c:pt idx="5">
                  <c:v>224.54815959846709</c:v>
                </c:pt>
                <c:pt idx="6">
                  <c:v>209.20315382859138</c:v>
                </c:pt>
                <c:pt idx="7">
                  <c:v>171.07917087139293</c:v>
                </c:pt>
                <c:pt idx="8">
                  <c:v>177.63085930628972</c:v>
                </c:pt>
                <c:pt idx="9">
                  <c:v>184.18254774118651</c:v>
                </c:pt>
                <c:pt idx="10">
                  <c:v>176.59833116153786</c:v>
                </c:pt>
                <c:pt idx="11">
                  <c:v>158.65837767469498</c:v>
                </c:pt>
                <c:pt idx="12">
                  <c:v>150.67030970344018</c:v>
                </c:pt>
                <c:pt idx="13">
                  <c:v>121.16697848904488</c:v>
                </c:pt>
                <c:pt idx="14">
                  <c:v>122.78503171417839</c:v>
                </c:pt>
                <c:pt idx="15">
                  <c:v>102.18455668677619</c:v>
                </c:pt>
                <c:pt idx="16">
                  <c:v>91.67581737812948</c:v>
                </c:pt>
                <c:pt idx="17">
                  <c:v>81.16707806948277</c:v>
                </c:pt>
                <c:pt idx="18">
                  <c:v>69.919356169458823</c:v>
                </c:pt>
                <c:pt idx="19">
                  <c:v>66.725905769130165</c:v>
                </c:pt>
                <c:pt idx="20">
                  <c:v>59.118671318116768</c:v>
                </c:pt>
                <c:pt idx="21">
                  <c:v>58.807257579652337</c:v>
                </c:pt>
                <c:pt idx="22">
                  <c:v>50.251311994788402</c:v>
                </c:pt>
                <c:pt idx="23">
                  <c:v>43.260010094792506</c:v>
                </c:pt>
                <c:pt idx="24">
                  <c:v>48.218901037015073</c:v>
                </c:pt>
                <c:pt idx="25">
                  <c:v>45.45407539146526</c:v>
                </c:pt>
                <c:pt idx="26">
                  <c:v>44.7</c:v>
                </c:pt>
                <c:pt idx="27">
                  <c:v>43.412183696046391</c:v>
                </c:pt>
                <c:pt idx="28">
                  <c:v>41.203077079564473</c:v>
                </c:pt>
              </c:numCache>
            </c:numRef>
          </c:val>
          <c:smooth val="0"/>
          <c:extLst>
            <c:ext xmlns:c16="http://schemas.microsoft.com/office/drawing/2014/chart" uri="{C3380CC4-5D6E-409C-BE32-E72D297353CC}">
              <c16:uniqueId val="{00000000-E881-470D-86B4-42E18F9FE452}"/>
            </c:ext>
          </c:extLst>
        </c:ser>
        <c:ser>
          <c:idx val="1"/>
          <c:order val="1"/>
          <c:spPr>
            <a:ln w="19050" cmpd="sng" algn="ctr">
              <a:solidFill>
                <a:schemeClr val="accent3"/>
              </a:solidFill>
              <a:prstDash val="solid"/>
            </a:ln>
          </c:spPr>
          <c:marker>
            <c:symbol val="none"/>
          </c:marker>
          <c:val>
            <c:numRef>
              <c:f>Sheet1!$A$2:$AC$2</c:f>
              <c:numCache>
                <c:formatCode>General</c:formatCode>
                <c:ptCount val="29"/>
              </c:numCache>
            </c:numRef>
          </c:val>
          <c:smooth val="0"/>
          <c:extLst>
            <c:ext xmlns:c16="http://schemas.microsoft.com/office/drawing/2014/chart" uri="{C3380CC4-5D6E-409C-BE32-E72D297353CC}">
              <c16:uniqueId val="{00000001-E881-470D-86B4-42E18F9FE452}"/>
            </c:ext>
          </c:extLst>
        </c:ser>
        <c:ser>
          <c:idx val="2"/>
          <c:order val="2"/>
          <c:spPr>
            <a:ln w="38100" cmpd="sng" algn="ctr">
              <a:solidFill>
                <a:srgbClr val="364D6E"/>
              </a:solidFill>
              <a:prstDash val="solid"/>
            </a:ln>
          </c:spPr>
          <c:marker>
            <c:symbol val="none"/>
          </c:marker>
          <c:val>
            <c:numRef>
              <c:f>Sheet1!$A$3:$AC$3</c:f>
              <c:numCache>
                <c:formatCode>General</c:formatCode>
                <c:ptCount val="29"/>
                <c:pt idx="0">
                  <c:v>126.73883661830011</c:v>
                </c:pt>
                <c:pt idx="1">
                  <c:v>115.04349170361962</c:v>
                </c:pt>
                <c:pt idx="2">
                  <c:v>117.82766764582875</c:v>
                </c:pt>
                <c:pt idx="3">
                  <c:v>111.61265186952919</c:v>
                </c:pt>
                <c:pt idx="4">
                  <c:v>102.05737559490139</c:v>
                </c:pt>
                <c:pt idx="5">
                  <c:v>99.646949843665183</c:v>
                </c:pt>
                <c:pt idx="6">
                  <c:v>105.05721142947267</c:v>
                </c:pt>
                <c:pt idx="7">
                  <c:v>100.13532673911487</c:v>
                </c:pt>
                <c:pt idx="8">
                  <c:v>100.62515466227239</c:v>
                </c:pt>
                <c:pt idx="9">
                  <c:v>101.11498258542991</c:v>
                </c:pt>
                <c:pt idx="10">
                  <c:v>101.31276250246742</c:v>
                </c:pt>
                <c:pt idx="11">
                  <c:v>105.53984872244408</c:v>
                </c:pt>
                <c:pt idx="12">
                  <c:v>101.88472705098995</c:v>
                </c:pt>
                <c:pt idx="13">
                  <c:v>98.9428482765029</c:v>
                </c:pt>
                <c:pt idx="14">
                  <c:v>83.145281980124224</c:v>
                </c:pt>
                <c:pt idx="15">
                  <c:v>80.577791155801549</c:v>
                </c:pt>
                <c:pt idx="16">
                  <c:v>72.672403668499584</c:v>
                </c:pt>
                <c:pt idx="17">
                  <c:v>64.767016181197604</c:v>
                </c:pt>
                <c:pt idx="18">
                  <c:v>60.944594528256523</c:v>
                </c:pt>
                <c:pt idx="19">
                  <c:v>57.942347204458258</c:v>
                </c:pt>
                <c:pt idx="20">
                  <c:v>55.168599218600903</c:v>
                </c:pt>
                <c:pt idx="21">
                  <c:v>52.050065002799961</c:v>
                </c:pt>
                <c:pt idx="22">
                  <c:v>47.845355163933831</c:v>
                </c:pt>
                <c:pt idx="23">
                  <c:v>46.482327858752953</c:v>
                </c:pt>
                <c:pt idx="24">
                  <c:v>48.8413193475211</c:v>
                </c:pt>
                <c:pt idx="25">
                  <c:v>45.921196885634018</c:v>
                </c:pt>
                <c:pt idx="26">
                  <c:v>43.029207503379638</c:v>
                </c:pt>
                <c:pt idx="27">
                  <c:v>41.204592176430779</c:v>
                </c:pt>
                <c:pt idx="28">
                  <c:v>39.996392543580285</c:v>
                </c:pt>
              </c:numCache>
            </c:numRef>
          </c:val>
          <c:smooth val="0"/>
          <c:extLst>
            <c:ext xmlns:c16="http://schemas.microsoft.com/office/drawing/2014/chart" uri="{C3380CC4-5D6E-409C-BE32-E72D297353CC}">
              <c16:uniqueId val="{00000002-E881-470D-86B4-42E18F9FE452}"/>
            </c:ext>
          </c:extLst>
        </c:ser>
        <c:ser>
          <c:idx val="3"/>
          <c:order val="3"/>
          <c:spPr>
            <a:ln w="38100" cmpd="sng" algn="ctr">
              <a:solidFill>
                <a:srgbClr val="9DB1CF"/>
              </a:solidFill>
              <a:prstDash val="solid"/>
            </a:ln>
          </c:spPr>
          <c:marker>
            <c:symbol val="none"/>
          </c:marker>
          <c:val>
            <c:numRef>
              <c:f>Sheet1!$A$4:$AC$4</c:f>
              <c:numCache>
                <c:formatCode>General</c:formatCode>
                <c:ptCount val="29"/>
                <c:pt idx="0">
                  <c:v>217.95234161873054</c:v>
                </c:pt>
                <c:pt idx="1">
                  <c:v>237.4398914377482</c:v>
                </c:pt>
                <c:pt idx="2">
                  <c:v>241.90799066066697</c:v>
                </c:pt>
                <c:pt idx="3">
                  <c:v>242.86272992905245</c:v>
                </c:pt>
                <c:pt idx="4">
                  <c:v>278.02016237586201</c:v>
                </c:pt>
                <c:pt idx="5">
                  <c:v>289.10169300745395</c:v>
                </c:pt>
                <c:pt idx="6">
                  <c:v>279.26890899461421</c:v>
                </c:pt>
                <c:pt idx="7">
                  <c:v>270.58017322511836</c:v>
                </c:pt>
                <c:pt idx="8">
                  <c:v>266.31928164991336</c:v>
                </c:pt>
                <c:pt idx="9">
                  <c:v>262.05839007470831</c:v>
                </c:pt>
                <c:pt idx="10">
                  <c:v>251.03215969986684</c:v>
                </c:pt>
                <c:pt idx="11">
                  <c:v>216.88297528646234</c:v>
                </c:pt>
                <c:pt idx="12">
                  <c:v>214.98067684652159</c:v>
                </c:pt>
                <c:pt idx="13">
                  <c:v>196.0557466187297</c:v>
                </c:pt>
                <c:pt idx="14">
                  <c:v>153.87000937489501</c:v>
                </c:pt>
                <c:pt idx="15">
                  <c:v>147.8691709905487</c:v>
                </c:pt>
                <c:pt idx="16">
                  <c:v>142.41927233989517</c:v>
                </c:pt>
                <c:pt idx="17">
                  <c:v>136.96937368924165</c:v>
                </c:pt>
                <c:pt idx="18">
                  <c:v>133.82156442477765</c:v>
                </c:pt>
                <c:pt idx="19">
                  <c:v>104.31756699502895</c:v>
                </c:pt>
                <c:pt idx="20">
                  <c:v>91.537174032712969</c:v>
                </c:pt>
                <c:pt idx="21">
                  <c:v>94.948668955772931</c:v>
                </c:pt>
                <c:pt idx="22">
                  <c:v>97.898811528436539</c:v>
                </c:pt>
                <c:pt idx="23">
                  <c:v>96.788732787678541</c:v>
                </c:pt>
                <c:pt idx="24">
                  <c:v>98.923154005895412</c:v>
                </c:pt>
                <c:pt idx="25">
                  <c:v>86.46661698634378</c:v>
                </c:pt>
                <c:pt idx="26">
                  <c:v>77.680602123828578</c:v>
                </c:pt>
                <c:pt idx="27">
                  <c:v>72.946010639953883</c:v>
                </c:pt>
                <c:pt idx="28">
                  <c:v>80.749916547994047</c:v>
                </c:pt>
              </c:numCache>
            </c:numRef>
          </c:val>
          <c:smooth val="0"/>
          <c:extLst>
            <c:ext xmlns:c16="http://schemas.microsoft.com/office/drawing/2014/chart" uri="{C3380CC4-5D6E-409C-BE32-E72D297353CC}">
              <c16:uniqueId val="{00000003-E881-470D-86B4-42E18F9FE452}"/>
            </c:ext>
          </c:extLst>
        </c:ser>
        <c:ser>
          <c:idx val="4"/>
          <c:order val="4"/>
          <c:spPr>
            <a:ln w="38100" cmpd="sng" algn="ctr">
              <a:solidFill>
                <a:schemeClr val="accent5"/>
              </a:solidFill>
              <a:prstDash val="solid"/>
            </a:ln>
          </c:spPr>
          <c:marker>
            <c:symbol val="none"/>
          </c:marker>
          <c:val>
            <c:numRef>
              <c:f>Sheet1!$A$5:$AC$5</c:f>
              <c:numCache>
                <c:formatCode>General</c:formatCode>
                <c:ptCount val="29"/>
                <c:pt idx="15">
                  <c:v>457.6805842020832</c:v>
                </c:pt>
                <c:pt idx="16">
                  <c:v>362.39014990180516</c:v>
                </c:pt>
                <c:pt idx="17">
                  <c:v>335.81635445517736</c:v>
                </c:pt>
                <c:pt idx="18">
                  <c:v>225.20647648847952</c:v>
                </c:pt>
                <c:pt idx="19">
                  <c:v>218.6101743382614</c:v>
                </c:pt>
                <c:pt idx="20">
                  <c:v>222.55633849846177</c:v>
                </c:pt>
                <c:pt idx="21">
                  <c:v>178.13347849501091</c:v>
                </c:pt>
                <c:pt idx="22">
                  <c:v>157.17045607854615</c:v>
                </c:pt>
                <c:pt idx="23">
                  <c:v>152.45686406121158</c:v>
                </c:pt>
                <c:pt idx="24">
                  <c:v>152.43252239062119</c:v>
                </c:pt>
                <c:pt idx="25">
                  <c:v>153</c:v>
                </c:pt>
                <c:pt idx="26">
                  <c:v>181.65544082147372</c:v>
                </c:pt>
                <c:pt idx="27">
                  <c:v>153.85261568656793</c:v>
                </c:pt>
                <c:pt idx="28">
                  <c:v>135.13860806160869</c:v>
                </c:pt>
              </c:numCache>
            </c:numRef>
          </c:val>
          <c:smooth val="0"/>
          <c:extLst>
            <c:ext xmlns:c16="http://schemas.microsoft.com/office/drawing/2014/chart" uri="{C3380CC4-5D6E-409C-BE32-E72D297353CC}">
              <c16:uniqueId val="{00000004-E881-470D-86B4-42E18F9FE452}"/>
            </c:ext>
          </c:extLst>
        </c:ser>
        <c:dLbls>
          <c:showLegendKey val="0"/>
          <c:showVal val="0"/>
          <c:showCatName val="0"/>
          <c:showSerName val="0"/>
          <c:showPercent val="0"/>
          <c:showBubbleSize val="0"/>
        </c:dLbls>
        <c:smooth val="0"/>
        <c:axId val="927086639"/>
        <c:axId val="1"/>
      </c:lineChart>
      <c:catAx>
        <c:axId val="927086639"/>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5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200" kern="1200">
                <a:solidFill>
                  <a:schemeClr val="tx1"/>
                </a:solidFill>
                <a:latin typeface="Century Gothic"/>
                <a:ea typeface="Verdana"/>
                <a:cs typeface="Inter"/>
              </a:defRPr>
            </a:pPr>
            <a:endParaRPr lang="en-US"/>
          </a:p>
        </c:txPr>
        <c:crossAx val="927086639"/>
        <c:crosses val="min"/>
        <c:crossBetween val="midCat"/>
        <c:majorUnit val="50"/>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4168039538714991"/>
          <c:y val="6.0246075519728472E-2"/>
          <c:w val="0.8369028006589786"/>
          <c:h val="0.87950784896054301"/>
        </c:manualLayout>
      </c:layout>
      <c:barChart>
        <c:barDir val="col"/>
        <c:grouping val="stacked"/>
        <c:varyColors val="0"/>
        <c:ser>
          <c:idx val="0"/>
          <c:order val="0"/>
          <c:spPr>
            <a:solidFill>
              <a:schemeClr val="accent3"/>
            </a:solidFill>
            <a:ln>
              <a:noFill/>
            </a:ln>
          </c:spPr>
          <c:invertIfNegative val="0"/>
          <c:dPt>
            <c:idx val="14"/>
            <c:invertIfNegative val="0"/>
            <c:bubble3D val="0"/>
            <c:spPr>
              <a:solidFill>
                <a:srgbClr val="FFE5A0"/>
              </a:solidFill>
              <a:ln>
                <a:noFill/>
              </a:ln>
            </c:spPr>
            <c:extLst>
              <c:ext xmlns:c16="http://schemas.microsoft.com/office/drawing/2014/chart" uri="{C3380CC4-5D6E-409C-BE32-E72D297353CC}">
                <c16:uniqueId val="{00000000-BE13-428A-B2A4-8291FCE1938E}"/>
              </c:ext>
            </c:extLst>
          </c:dPt>
          <c:dPt>
            <c:idx val="15"/>
            <c:invertIfNegative val="0"/>
            <c:bubble3D val="0"/>
            <c:spPr>
              <a:solidFill>
                <a:srgbClr val="FFE5A0"/>
              </a:solidFill>
              <a:ln>
                <a:noFill/>
              </a:ln>
            </c:spPr>
            <c:extLst>
              <c:ext xmlns:c16="http://schemas.microsoft.com/office/drawing/2014/chart" uri="{C3380CC4-5D6E-409C-BE32-E72D297353CC}">
                <c16:uniqueId val="{00000001-BE13-428A-B2A4-8291FCE1938E}"/>
              </c:ext>
            </c:extLst>
          </c:dPt>
          <c:dPt>
            <c:idx val="16"/>
            <c:invertIfNegative val="0"/>
            <c:bubble3D val="0"/>
            <c:spPr>
              <a:solidFill>
                <a:srgbClr val="FFE5A0"/>
              </a:solidFill>
              <a:ln>
                <a:noFill/>
              </a:ln>
            </c:spPr>
            <c:extLst>
              <c:ext xmlns:c16="http://schemas.microsoft.com/office/drawing/2014/chart" uri="{C3380CC4-5D6E-409C-BE32-E72D297353CC}">
                <c16:uniqueId val="{00000002-BE13-428A-B2A4-8291FCE1938E}"/>
              </c:ext>
            </c:extLst>
          </c:dPt>
          <c:dPt>
            <c:idx val="17"/>
            <c:invertIfNegative val="0"/>
            <c:bubble3D val="0"/>
            <c:spPr>
              <a:solidFill>
                <a:srgbClr val="FFE5A0"/>
              </a:solidFill>
              <a:ln>
                <a:noFill/>
              </a:ln>
            </c:spPr>
            <c:extLst>
              <c:ext xmlns:c16="http://schemas.microsoft.com/office/drawing/2014/chart" uri="{C3380CC4-5D6E-409C-BE32-E72D297353CC}">
                <c16:uniqueId val="{00000003-BE13-428A-B2A4-8291FCE1938E}"/>
              </c:ext>
            </c:extLst>
          </c:dPt>
          <c:dPt>
            <c:idx val="18"/>
            <c:invertIfNegative val="0"/>
            <c:bubble3D val="0"/>
            <c:spPr>
              <a:solidFill>
                <a:srgbClr val="FFE5A0"/>
              </a:solidFill>
              <a:ln>
                <a:noFill/>
              </a:ln>
            </c:spPr>
            <c:extLst>
              <c:ext xmlns:c16="http://schemas.microsoft.com/office/drawing/2014/chart" uri="{C3380CC4-5D6E-409C-BE32-E72D297353CC}">
                <c16:uniqueId val="{00000004-BE13-428A-B2A4-8291FCE1938E}"/>
              </c:ext>
            </c:extLst>
          </c:dPt>
          <c:dPt>
            <c:idx val="19"/>
            <c:invertIfNegative val="0"/>
            <c:bubble3D val="0"/>
            <c:spPr>
              <a:solidFill>
                <a:srgbClr val="FFE5A0"/>
              </a:solidFill>
              <a:ln>
                <a:noFill/>
              </a:ln>
            </c:spPr>
            <c:extLst>
              <c:ext xmlns:c16="http://schemas.microsoft.com/office/drawing/2014/chart" uri="{C3380CC4-5D6E-409C-BE32-E72D297353CC}">
                <c16:uniqueId val="{00000005-BE13-428A-B2A4-8291FCE1938E}"/>
              </c:ext>
            </c:extLst>
          </c:dPt>
          <c:dPt>
            <c:idx val="20"/>
            <c:invertIfNegative val="0"/>
            <c:bubble3D val="0"/>
            <c:spPr>
              <a:solidFill>
                <a:srgbClr val="FFE5A0"/>
              </a:solidFill>
              <a:ln>
                <a:noFill/>
              </a:ln>
            </c:spPr>
            <c:extLst>
              <c:ext xmlns:c16="http://schemas.microsoft.com/office/drawing/2014/chart" uri="{C3380CC4-5D6E-409C-BE32-E72D297353CC}">
                <c16:uniqueId val="{00000006-BE13-428A-B2A4-8291FCE1938E}"/>
              </c:ext>
            </c:extLst>
          </c:dPt>
          <c:dPt>
            <c:idx val="21"/>
            <c:invertIfNegative val="0"/>
            <c:bubble3D val="0"/>
            <c:spPr>
              <a:solidFill>
                <a:srgbClr val="FFE5A0"/>
              </a:solidFill>
              <a:ln>
                <a:noFill/>
              </a:ln>
            </c:spPr>
            <c:extLst>
              <c:ext xmlns:c16="http://schemas.microsoft.com/office/drawing/2014/chart" uri="{C3380CC4-5D6E-409C-BE32-E72D297353CC}">
                <c16:uniqueId val="{00000007-BE13-428A-B2A4-8291FCE1938E}"/>
              </c:ext>
            </c:extLst>
          </c:dPt>
          <c:dPt>
            <c:idx val="22"/>
            <c:invertIfNegative val="0"/>
            <c:bubble3D val="0"/>
            <c:spPr>
              <a:solidFill>
                <a:srgbClr val="FFE5A0"/>
              </a:solidFill>
              <a:ln>
                <a:noFill/>
              </a:ln>
            </c:spPr>
            <c:extLst>
              <c:ext xmlns:c16="http://schemas.microsoft.com/office/drawing/2014/chart" uri="{C3380CC4-5D6E-409C-BE32-E72D297353CC}">
                <c16:uniqueId val="{00000008-BE13-428A-B2A4-8291FCE1938E}"/>
              </c:ext>
            </c:extLst>
          </c:dPt>
          <c:dPt>
            <c:idx val="23"/>
            <c:invertIfNegative val="0"/>
            <c:bubble3D val="0"/>
            <c:spPr>
              <a:solidFill>
                <a:srgbClr val="FFE5A0"/>
              </a:solidFill>
              <a:ln>
                <a:noFill/>
              </a:ln>
            </c:spPr>
            <c:extLst>
              <c:ext xmlns:c16="http://schemas.microsoft.com/office/drawing/2014/chart" uri="{C3380CC4-5D6E-409C-BE32-E72D297353CC}">
                <c16:uniqueId val="{00000009-BE13-428A-B2A4-8291FCE1938E}"/>
              </c:ext>
            </c:extLst>
          </c:dPt>
          <c:dPt>
            <c:idx val="24"/>
            <c:invertIfNegative val="0"/>
            <c:bubble3D val="0"/>
            <c:spPr>
              <a:solidFill>
                <a:srgbClr val="FFE5A0"/>
              </a:solidFill>
              <a:ln>
                <a:noFill/>
              </a:ln>
            </c:spPr>
            <c:extLst>
              <c:ext xmlns:c16="http://schemas.microsoft.com/office/drawing/2014/chart" uri="{C3380CC4-5D6E-409C-BE32-E72D297353CC}">
                <c16:uniqueId val="{0000000A-BE13-428A-B2A4-8291FCE1938E}"/>
              </c:ext>
            </c:extLst>
          </c:dPt>
          <c:dPt>
            <c:idx val="25"/>
            <c:invertIfNegative val="0"/>
            <c:bubble3D val="0"/>
            <c:spPr>
              <a:solidFill>
                <a:srgbClr val="FFE5A0"/>
              </a:solidFill>
              <a:ln>
                <a:noFill/>
              </a:ln>
            </c:spPr>
            <c:extLst>
              <c:ext xmlns:c16="http://schemas.microsoft.com/office/drawing/2014/chart" uri="{C3380CC4-5D6E-409C-BE32-E72D297353CC}">
                <c16:uniqueId val="{0000000B-BE13-428A-B2A4-8291FCE1938E}"/>
              </c:ext>
            </c:extLst>
          </c:dPt>
          <c:dLbls>
            <c:dLbl>
              <c:idx val="13"/>
              <c:layout>
                <c:manualLayout>
                  <c:x val="-1.070840197693575E-2"/>
                  <c:y val="-0.22189223589308443"/>
                </c:manualLayout>
              </c:layout>
              <c:numFmt formatCode="#,##0;&quot;-&quot;#,##0" sourceLinked="0"/>
              <c:spPr>
                <a:noFill/>
                <a:ln>
                  <a:noFill/>
                </a:ln>
              </c:spPr>
              <c:txPr>
                <a:bodyPr wrap="none"/>
                <a:lstStyle/>
                <a:p>
                  <a:pPr>
                    <a:defRPr sz="1000" kern="1200">
                      <a:solidFill>
                        <a:schemeClr val="tx1"/>
                      </a:solidFill>
                      <a:latin typeface="Century Gothic"/>
                      <a:ea typeface="Verdana"/>
                      <a:cs typeface="Inte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BE13-428A-B2A4-8291FCE1938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Z$1</c:f>
              <c:numCache>
                <c:formatCode>General</c:formatCode>
                <c:ptCount val="26"/>
                <c:pt idx="0">
                  <c:v>18.738999999999994</c:v>
                </c:pt>
                <c:pt idx="1">
                  <c:v>29.419000000000008</c:v>
                </c:pt>
                <c:pt idx="2">
                  <c:v>31.838000000000001</c:v>
                </c:pt>
                <c:pt idx="3">
                  <c:v>41.727000000000011</c:v>
                </c:pt>
                <c:pt idx="4">
                  <c:v>46.291999999999994</c:v>
                </c:pt>
                <c:pt idx="5">
                  <c:v>56.214999999999975</c:v>
                </c:pt>
                <c:pt idx="6">
                  <c:v>75.269999999999953</c:v>
                </c:pt>
                <c:pt idx="7">
                  <c:v>101.1</c:v>
                </c:pt>
                <c:pt idx="8">
                  <c:v>106.66699999999997</c:v>
                </c:pt>
                <c:pt idx="9">
                  <c:v>118.58599999999997</c:v>
                </c:pt>
                <c:pt idx="10">
                  <c:v>145.99399999999994</c:v>
                </c:pt>
                <c:pt idx="11">
                  <c:v>182.20699999999997</c:v>
                </c:pt>
                <c:pt idx="12">
                  <c:v>252.0560000000001</c:v>
                </c:pt>
                <c:pt idx="13">
                  <c:v>444.60900000000009</c:v>
                </c:pt>
                <c:pt idx="14">
                  <c:v>585.85800000000006</c:v>
                </c:pt>
                <c:pt idx="15">
                  <c:v>640.75900000000001</c:v>
                </c:pt>
                <c:pt idx="16">
                  <c:v>669.48099999999988</c:v>
                </c:pt>
                <c:pt idx="17">
                  <c:v>711.11599999999999</c:v>
                </c:pt>
                <c:pt idx="18">
                  <c:v>758.89100000000008</c:v>
                </c:pt>
                <c:pt idx="19">
                  <c:v>793.83699999999988</c:v>
                </c:pt>
                <c:pt idx="20">
                  <c:v>839.39800000000002</c:v>
                </c:pt>
                <c:pt idx="21">
                  <c:v>848.00899999999979</c:v>
                </c:pt>
                <c:pt idx="22">
                  <c:v>871.93399999999997</c:v>
                </c:pt>
                <c:pt idx="23">
                  <c:v>891.3889999999999</c:v>
                </c:pt>
                <c:pt idx="24">
                  <c:v>929.0870000000001</c:v>
                </c:pt>
                <c:pt idx="25">
                  <c:v>978.4620000000001</c:v>
                </c:pt>
              </c:numCache>
            </c:numRef>
          </c:val>
          <c:extLst>
            <c:ext xmlns:c16="http://schemas.microsoft.com/office/drawing/2014/chart" uri="{C3380CC4-5D6E-409C-BE32-E72D297353CC}">
              <c16:uniqueId val="{0000000D-BE13-428A-B2A4-8291FCE1938E}"/>
            </c:ext>
          </c:extLst>
        </c:ser>
        <c:dLbls>
          <c:showLegendKey val="0"/>
          <c:showVal val="0"/>
          <c:showCatName val="0"/>
          <c:showSerName val="0"/>
          <c:showPercent val="0"/>
          <c:showBubbleSize val="0"/>
        </c:dLbls>
        <c:gapWidth val="80"/>
        <c:overlap val="100"/>
        <c:axId val="327454303"/>
        <c:axId val="1"/>
      </c:barChart>
      <c:catAx>
        <c:axId val="32745430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000" kern="1200">
                <a:solidFill>
                  <a:schemeClr val="tx1"/>
                </a:solidFill>
                <a:latin typeface="Century Gothic"/>
                <a:ea typeface="Verdana"/>
                <a:cs typeface="Inter"/>
              </a:defRPr>
            </a:pPr>
            <a:endParaRPr lang="en-US"/>
          </a:p>
        </c:txPr>
        <c:crossAx val="327454303"/>
        <c:crosses val="min"/>
        <c:crossBetween val="between"/>
        <c:majorUnit val="100"/>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402936378466558"/>
          <c:y val="6.0246075519728472E-2"/>
          <c:w val="0.83849918433931481"/>
          <c:h val="0.87950784896054301"/>
        </c:manualLayout>
      </c:layout>
      <c:barChart>
        <c:barDir val="col"/>
        <c:grouping val="stacked"/>
        <c:varyColors val="0"/>
        <c:ser>
          <c:idx val="0"/>
          <c:order val="0"/>
          <c:spPr>
            <a:solidFill>
              <a:schemeClr val="accent1"/>
            </a:solidFill>
            <a:ln>
              <a:noFill/>
            </a:ln>
          </c:spPr>
          <c:invertIfNegative val="0"/>
          <c:dPt>
            <c:idx val="14"/>
            <c:invertIfNegative val="0"/>
            <c:bubble3D val="0"/>
            <c:spPr>
              <a:solidFill>
                <a:srgbClr val="8BF0FF"/>
              </a:solidFill>
              <a:ln>
                <a:noFill/>
              </a:ln>
            </c:spPr>
            <c:extLst>
              <c:ext xmlns:c16="http://schemas.microsoft.com/office/drawing/2014/chart" uri="{C3380CC4-5D6E-409C-BE32-E72D297353CC}">
                <c16:uniqueId val="{00000000-E056-49B7-AC79-F0C27E944D36}"/>
              </c:ext>
            </c:extLst>
          </c:dPt>
          <c:dPt>
            <c:idx val="15"/>
            <c:invertIfNegative val="0"/>
            <c:bubble3D val="0"/>
            <c:spPr>
              <a:solidFill>
                <a:srgbClr val="8BF0FF"/>
              </a:solidFill>
              <a:ln>
                <a:noFill/>
              </a:ln>
            </c:spPr>
            <c:extLst>
              <c:ext xmlns:c16="http://schemas.microsoft.com/office/drawing/2014/chart" uri="{C3380CC4-5D6E-409C-BE32-E72D297353CC}">
                <c16:uniqueId val="{00000001-E056-49B7-AC79-F0C27E944D36}"/>
              </c:ext>
            </c:extLst>
          </c:dPt>
          <c:dPt>
            <c:idx val="16"/>
            <c:invertIfNegative val="0"/>
            <c:bubble3D val="0"/>
            <c:spPr>
              <a:solidFill>
                <a:srgbClr val="8BF0FF"/>
              </a:solidFill>
              <a:ln>
                <a:noFill/>
              </a:ln>
            </c:spPr>
            <c:extLst>
              <c:ext xmlns:c16="http://schemas.microsoft.com/office/drawing/2014/chart" uri="{C3380CC4-5D6E-409C-BE32-E72D297353CC}">
                <c16:uniqueId val="{00000002-E056-49B7-AC79-F0C27E944D36}"/>
              </c:ext>
            </c:extLst>
          </c:dPt>
          <c:dPt>
            <c:idx val="17"/>
            <c:invertIfNegative val="0"/>
            <c:bubble3D val="0"/>
            <c:spPr>
              <a:solidFill>
                <a:srgbClr val="8BF0FF"/>
              </a:solidFill>
              <a:ln>
                <a:noFill/>
              </a:ln>
            </c:spPr>
            <c:extLst>
              <c:ext xmlns:c16="http://schemas.microsoft.com/office/drawing/2014/chart" uri="{C3380CC4-5D6E-409C-BE32-E72D297353CC}">
                <c16:uniqueId val="{00000003-E056-49B7-AC79-F0C27E944D36}"/>
              </c:ext>
            </c:extLst>
          </c:dPt>
          <c:dPt>
            <c:idx val="18"/>
            <c:invertIfNegative val="0"/>
            <c:bubble3D val="0"/>
            <c:spPr>
              <a:solidFill>
                <a:srgbClr val="8BF0FF"/>
              </a:solidFill>
              <a:ln>
                <a:noFill/>
              </a:ln>
            </c:spPr>
            <c:extLst>
              <c:ext xmlns:c16="http://schemas.microsoft.com/office/drawing/2014/chart" uri="{C3380CC4-5D6E-409C-BE32-E72D297353CC}">
                <c16:uniqueId val="{00000004-E056-49B7-AC79-F0C27E944D36}"/>
              </c:ext>
            </c:extLst>
          </c:dPt>
          <c:dPt>
            <c:idx val="19"/>
            <c:invertIfNegative val="0"/>
            <c:bubble3D val="0"/>
            <c:spPr>
              <a:solidFill>
                <a:srgbClr val="8BF0FF"/>
              </a:solidFill>
              <a:ln>
                <a:noFill/>
              </a:ln>
            </c:spPr>
            <c:extLst>
              <c:ext xmlns:c16="http://schemas.microsoft.com/office/drawing/2014/chart" uri="{C3380CC4-5D6E-409C-BE32-E72D297353CC}">
                <c16:uniqueId val="{00000005-E056-49B7-AC79-F0C27E944D36}"/>
              </c:ext>
            </c:extLst>
          </c:dPt>
          <c:dPt>
            <c:idx val="20"/>
            <c:invertIfNegative val="0"/>
            <c:bubble3D val="0"/>
            <c:spPr>
              <a:solidFill>
                <a:srgbClr val="8BF0FF"/>
              </a:solidFill>
              <a:ln>
                <a:noFill/>
              </a:ln>
            </c:spPr>
            <c:extLst>
              <c:ext xmlns:c16="http://schemas.microsoft.com/office/drawing/2014/chart" uri="{C3380CC4-5D6E-409C-BE32-E72D297353CC}">
                <c16:uniqueId val="{00000006-E056-49B7-AC79-F0C27E944D36}"/>
              </c:ext>
            </c:extLst>
          </c:dPt>
          <c:dPt>
            <c:idx val="21"/>
            <c:invertIfNegative val="0"/>
            <c:bubble3D val="0"/>
            <c:spPr>
              <a:solidFill>
                <a:srgbClr val="8BF0FF"/>
              </a:solidFill>
              <a:ln>
                <a:noFill/>
              </a:ln>
            </c:spPr>
            <c:extLst>
              <c:ext xmlns:c16="http://schemas.microsoft.com/office/drawing/2014/chart" uri="{C3380CC4-5D6E-409C-BE32-E72D297353CC}">
                <c16:uniqueId val="{00000007-E056-49B7-AC79-F0C27E944D36}"/>
              </c:ext>
            </c:extLst>
          </c:dPt>
          <c:dPt>
            <c:idx val="22"/>
            <c:invertIfNegative val="0"/>
            <c:bubble3D val="0"/>
            <c:spPr>
              <a:solidFill>
                <a:srgbClr val="8BF0FF"/>
              </a:solidFill>
              <a:ln>
                <a:noFill/>
              </a:ln>
            </c:spPr>
            <c:extLst>
              <c:ext xmlns:c16="http://schemas.microsoft.com/office/drawing/2014/chart" uri="{C3380CC4-5D6E-409C-BE32-E72D297353CC}">
                <c16:uniqueId val="{00000008-E056-49B7-AC79-F0C27E944D36}"/>
              </c:ext>
            </c:extLst>
          </c:dPt>
          <c:dPt>
            <c:idx val="23"/>
            <c:invertIfNegative val="0"/>
            <c:bubble3D val="0"/>
            <c:spPr>
              <a:solidFill>
                <a:srgbClr val="8BF0FF"/>
              </a:solidFill>
              <a:ln>
                <a:noFill/>
              </a:ln>
            </c:spPr>
            <c:extLst>
              <c:ext xmlns:c16="http://schemas.microsoft.com/office/drawing/2014/chart" uri="{C3380CC4-5D6E-409C-BE32-E72D297353CC}">
                <c16:uniqueId val="{00000009-E056-49B7-AC79-F0C27E944D36}"/>
              </c:ext>
            </c:extLst>
          </c:dPt>
          <c:dPt>
            <c:idx val="24"/>
            <c:invertIfNegative val="0"/>
            <c:bubble3D val="0"/>
            <c:spPr>
              <a:solidFill>
                <a:srgbClr val="8BF0FF"/>
              </a:solidFill>
              <a:ln>
                <a:noFill/>
              </a:ln>
            </c:spPr>
            <c:extLst>
              <c:ext xmlns:c16="http://schemas.microsoft.com/office/drawing/2014/chart" uri="{C3380CC4-5D6E-409C-BE32-E72D297353CC}">
                <c16:uniqueId val="{0000000A-E056-49B7-AC79-F0C27E944D36}"/>
              </c:ext>
            </c:extLst>
          </c:dPt>
          <c:dPt>
            <c:idx val="25"/>
            <c:invertIfNegative val="0"/>
            <c:bubble3D val="0"/>
            <c:spPr>
              <a:solidFill>
                <a:srgbClr val="8BF0FF"/>
              </a:solidFill>
              <a:ln>
                <a:noFill/>
              </a:ln>
            </c:spPr>
            <c:extLst>
              <c:ext xmlns:c16="http://schemas.microsoft.com/office/drawing/2014/chart" uri="{C3380CC4-5D6E-409C-BE32-E72D297353CC}">
                <c16:uniqueId val="{0000000B-E056-49B7-AC79-F0C27E944D36}"/>
              </c:ext>
            </c:extLst>
          </c:dPt>
          <c:dLbls>
            <c:dLbl>
              <c:idx val="20"/>
              <c:layout>
                <c:manualLayout>
                  <c:x val="0"/>
                  <c:y val="-0.11455239711497667"/>
                </c:manualLayout>
              </c:layout>
              <c:numFmt formatCode="#,##0;&quot;-&quot;#,##0" sourceLinked="0"/>
              <c:spPr>
                <a:noFill/>
                <a:ln>
                  <a:noFill/>
                </a:ln>
              </c:spPr>
              <c:txPr>
                <a:bodyPr wrap="none"/>
                <a:lstStyle/>
                <a:p>
                  <a:pPr>
                    <a:defRPr sz="1000" kern="1200">
                      <a:solidFill>
                        <a:schemeClr val="tx1"/>
                      </a:solidFill>
                      <a:latin typeface="Century Gothic"/>
                      <a:ea typeface="Verdana"/>
                      <a:cs typeface="Inte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E056-49B7-AC79-F0C27E944D3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Z$1</c:f>
              <c:numCache>
                <c:formatCode>General</c:formatCode>
                <c:ptCount val="26"/>
                <c:pt idx="0">
                  <c:v>37.593000000000004</c:v>
                </c:pt>
                <c:pt idx="1">
                  <c:v>41.257000000000005</c:v>
                </c:pt>
                <c:pt idx="2">
                  <c:v>45.798999999999992</c:v>
                </c:pt>
                <c:pt idx="3">
                  <c:v>33.702999999999996</c:v>
                </c:pt>
                <c:pt idx="4">
                  <c:v>49.443999999999996</c:v>
                </c:pt>
                <c:pt idx="5">
                  <c:v>63.240000000000009</c:v>
                </c:pt>
                <c:pt idx="6">
                  <c:v>53.089999999999989</c:v>
                </c:pt>
                <c:pt idx="7">
                  <c:v>52.808999999999997</c:v>
                </c:pt>
                <c:pt idx="8">
                  <c:v>50.378</c:v>
                </c:pt>
                <c:pt idx="9">
                  <c:v>62.470999999999997</c:v>
                </c:pt>
                <c:pt idx="10">
                  <c:v>99.744</c:v>
                </c:pt>
                <c:pt idx="11">
                  <c:v>100.76900000000001</c:v>
                </c:pt>
                <c:pt idx="12">
                  <c:v>87.26400000000001</c:v>
                </c:pt>
                <c:pt idx="13">
                  <c:v>117.37699999999998</c:v>
                </c:pt>
                <c:pt idx="14">
                  <c:v>124.09700000000001</c:v>
                </c:pt>
                <c:pt idx="15">
                  <c:v>146.58100000000005</c:v>
                </c:pt>
                <c:pt idx="16">
                  <c:v>132.92799999999997</c:v>
                </c:pt>
                <c:pt idx="17">
                  <c:v>145.691</c:v>
                </c:pt>
                <c:pt idx="18">
                  <c:v>169.53299999999999</c:v>
                </c:pt>
                <c:pt idx="19">
                  <c:v>182.50700000000001</c:v>
                </c:pt>
                <c:pt idx="20">
                  <c:v>200.465</c:v>
                </c:pt>
                <c:pt idx="21">
                  <c:v>173.68500000000006</c:v>
                </c:pt>
                <c:pt idx="22">
                  <c:v>206.92099999999994</c:v>
                </c:pt>
                <c:pt idx="23">
                  <c:v>258.99400000000009</c:v>
                </c:pt>
                <c:pt idx="24">
                  <c:v>363.34100000000001</c:v>
                </c:pt>
                <c:pt idx="25">
                  <c:v>473.4440000000003</c:v>
                </c:pt>
              </c:numCache>
            </c:numRef>
          </c:val>
          <c:extLst>
            <c:ext xmlns:c16="http://schemas.microsoft.com/office/drawing/2014/chart" uri="{C3380CC4-5D6E-409C-BE32-E72D297353CC}">
              <c16:uniqueId val="{0000000C-E056-49B7-AC79-F0C27E944D36}"/>
            </c:ext>
          </c:extLst>
        </c:ser>
        <c:dLbls>
          <c:showLegendKey val="0"/>
          <c:showVal val="0"/>
          <c:showCatName val="0"/>
          <c:showSerName val="0"/>
          <c:showPercent val="0"/>
          <c:showBubbleSize val="0"/>
        </c:dLbls>
        <c:gapWidth val="80"/>
        <c:overlap val="100"/>
        <c:axId val="327439903"/>
        <c:axId val="1"/>
      </c:barChart>
      <c:catAx>
        <c:axId val="32743990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000" kern="1200">
                <a:solidFill>
                  <a:schemeClr val="tx1"/>
                </a:solidFill>
                <a:latin typeface="Century Gothic"/>
                <a:ea typeface="Verdana"/>
                <a:cs typeface="Inter"/>
              </a:defRPr>
            </a:pPr>
            <a:endParaRPr lang="en-US"/>
          </a:p>
        </c:txPr>
        <c:crossAx val="327439903"/>
        <c:crosses val="min"/>
        <c:crossBetween val="between"/>
        <c:majorUnit val="100"/>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8072087175188602E-2"/>
          <c:y val="6.0246075519728472E-2"/>
          <c:w val="0.88013411567476951"/>
          <c:h val="0.87950784896054301"/>
        </c:manualLayout>
      </c:layout>
      <c:barChart>
        <c:barDir val="col"/>
        <c:grouping val="stacked"/>
        <c:varyColors val="0"/>
        <c:ser>
          <c:idx val="0"/>
          <c:order val="0"/>
          <c:spPr>
            <a:solidFill>
              <a:schemeClr val="accent5"/>
            </a:solidFill>
            <a:ln>
              <a:noFill/>
            </a:ln>
          </c:spPr>
          <c:invertIfNegative val="0"/>
          <c:dPt>
            <c:idx val="14"/>
            <c:invertIfNegative val="0"/>
            <c:bubble3D val="0"/>
            <c:spPr>
              <a:solidFill>
                <a:srgbClr val="EA9FA4"/>
              </a:solidFill>
              <a:ln>
                <a:noFill/>
              </a:ln>
            </c:spPr>
            <c:extLst>
              <c:ext xmlns:c16="http://schemas.microsoft.com/office/drawing/2014/chart" uri="{C3380CC4-5D6E-409C-BE32-E72D297353CC}">
                <c16:uniqueId val="{00000000-F228-4902-920B-D7DA61223ABC}"/>
              </c:ext>
            </c:extLst>
          </c:dPt>
          <c:dPt>
            <c:idx val="15"/>
            <c:invertIfNegative val="0"/>
            <c:bubble3D val="0"/>
            <c:spPr>
              <a:solidFill>
                <a:srgbClr val="EA9FA4"/>
              </a:solidFill>
              <a:ln>
                <a:noFill/>
              </a:ln>
            </c:spPr>
            <c:extLst>
              <c:ext xmlns:c16="http://schemas.microsoft.com/office/drawing/2014/chart" uri="{C3380CC4-5D6E-409C-BE32-E72D297353CC}">
                <c16:uniqueId val="{00000001-F228-4902-920B-D7DA61223ABC}"/>
              </c:ext>
            </c:extLst>
          </c:dPt>
          <c:dPt>
            <c:idx val="16"/>
            <c:invertIfNegative val="0"/>
            <c:bubble3D val="0"/>
            <c:spPr>
              <a:solidFill>
                <a:srgbClr val="EA9FA4"/>
              </a:solidFill>
              <a:ln>
                <a:noFill/>
              </a:ln>
            </c:spPr>
            <c:extLst>
              <c:ext xmlns:c16="http://schemas.microsoft.com/office/drawing/2014/chart" uri="{C3380CC4-5D6E-409C-BE32-E72D297353CC}">
                <c16:uniqueId val="{00000002-F228-4902-920B-D7DA61223ABC}"/>
              </c:ext>
            </c:extLst>
          </c:dPt>
          <c:dPt>
            <c:idx val="17"/>
            <c:invertIfNegative val="0"/>
            <c:bubble3D val="0"/>
            <c:spPr>
              <a:solidFill>
                <a:srgbClr val="EA9FA4"/>
              </a:solidFill>
              <a:ln>
                <a:noFill/>
              </a:ln>
            </c:spPr>
            <c:extLst>
              <c:ext xmlns:c16="http://schemas.microsoft.com/office/drawing/2014/chart" uri="{C3380CC4-5D6E-409C-BE32-E72D297353CC}">
                <c16:uniqueId val="{00000003-F228-4902-920B-D7DA61223ABC}"/>
              </c:ext>
            </c:extLst>
          </c:dPt>
          <c:dPt>
            <c:idx val="18"/>
            <c:invertIfNegative val="0"/>
            <c:bubble3D val="0"/>
            <c:spPr>
              <a:solidFill>
                <a:srgbClr val="EA9FA4"/>
              </a:solidFill>
              <a:ln>
                <a:noFill/>
              </a:ln>
            </c:spPr>
            <c:extLst>
              <c:ext xmlns:c16="http://schemas.microsoft.com/office/drawing/2014/chart" uri="{C3380CC4-5D6E-409C-BE32-E72D297353CC}">
                <c16:uniqueId val="{00000004-F228-4902-920B-D7DA61223ABC}"/>
              </c:ext>
            </c:extLst>
          </c:dPt>
          <c:dPt>
            <c:idx val="19"/>
            <c:invertIfNegative val="0"/>
            <c:bubble3D val="0"/>
            <c:spPr>
              <a:solidFill>
                <a:srgbClr val="EA9FA4"/>
              </a:solidFill>
              <a:ln>
                <a:noFill/>
              </a:ln>
            </c:spPr>
            <c:extLst>
              <c:ext xmlns:c16="http://schemas.microsoft.com/office/drawing/2014/chart" uri="{C3380CC4-5D6E-409C-BE32-E72D297353CC}">
                <c16:uniqueId val="{00000005-F228-4902-920B-D7DA61223ABC}"/>
              </c:ext>
            </c:extLst>
          </c:dPt>
          <c:dPt>
            <c:idx val="20"/>
            <c:invertIfNegative val="0"/>
            <c:bubble3D val="0"/>
            <c:spPr>
              <a:solidFill>
                <a:srgbClr val="EA9FA4"/>
              </a:solidFill>
              <a:ln>
                <a:noFill/>
              </a:ln>
            </c:spPr>
            <c:extLst>
              <c:ext xmlns:c16="http://schemas.microsoft.com/office/drawing/2014/chart" uri="{C3380CC4-5D6E-409C-BE32-E72D297353CC}">
                <c16:uniqueId val="{00000006-F228-4902-920B-D7DA61223ABC}"/>
              </c:ext>
            </c:extLst>
          </c:dPt>
          <c:dPt>
            <c:idx val="21"/>
            <c:invertIfNegative val="0"/>
            <c:bubble3D val="0"/>
            <c:spPr>
              <a:solidFill>
                <a:srgbClr val="EA9FA4"/>
              </a:solidFill>
              <a:ln>
                <a:noFill/>
              </a:ln>
            </c:spPr>
            <c:extLst>
              <c:ext xmlns:c16="http://schemas.microsoft.com/office/drawing/2014/chart" uri="{C3380CC4-5D6E-409C-BE32-E72D297353CC}">
                <c16:uniqueId val="{00000007-F228-4902-920B-D7DA61223ABC}"/>
              </c:ext>
            </c:extLst>
          </c:dPt>
          <c:dPt>
            <c:idx val="22"/>
            <c:invertIfNegative val="0"/>
            <c:bubble3D val="0"/>
            <c:spPr>
              <a:solidFill>
                <a:srgbClr val="EA9FA4"/>
              </a:solidFill>
              <a:ln>
                <a:noFill/>
              </a:ln>
            </c:spPr>
            <c:extLst>
              <c:ext xmlns:c16="http://schemas.microsoft.com/office/drawing/2014/chart" uri="{C3380CC4-5D6E-409C-BE32-E72D297353CC}">
                <c16:uniqueId val="{00000008-F228-4902-920B-D7DA61223ABC}"/>
              </c:ext>
            </c:extLst>
          </c:dPt>
          <c:dPt>
            <c:idx val="23"/>
            <c:invertIfNegative val="0"/>
            <c:bubble3D val="0"/>
            <c:spPr>
              <a:solidFill>
                <a:srgbClr val="EA9FA4"/>
              </a:solidFill>
              <a:ln>
                <a:noFill/>
              </a:ln>
            </c:spPr>
            <c:extLst>
              <c:ext xmlns:c16="http://schemas.microsoft.com/office/drawing/2014/chart" uri="{C3380CC4-5D6E-409C-BE32-E72D297353CC}">
                <c16:uniqueId val="{00000009-F228-4902-920B-D7DA61223ABC}"/>
              </c:ext>
            </c:extLst>
          </c:dPt>
          <c:dPt>
            <c:idx val="24"/>
            <c:invertIfNegative val="0"/>
            <c:bubble3D val="0"/>
            <c:spPr>
              <a:solidFill>
                <a:srgbClr val="EA9FA4"/>
              </a:solidFill>
              <a:ln>
                <a:noFill/>
              </a:ln>
            </c:spPr>
            <c:extLst>
              <c:ext xmlns:c16="http://schemas.microsoft.com/office/drawing/2014/chart" uri="{C3380CC4-5D6E-409C-BE32-E72D297353CC}">
                <c16:uniqueId val="{0000000A-F228-4902-920B-D7DA61223ABC}"/>
              </c:ext>
            </c:extLst>
          </c:dPt>
          <c:dPt>
            <c:idx val="25"/>
            <c:invertIfNegative val="0"/>
            <c:bubble3D val="0"/>
            <c:spPr>
              <a:solidFill>
                <a:srgbClr val="EA9FA4"/>
              </a:solidFill>
              <a:ln>
                <a:noFill/>
              </a:ln>
            </c:spPr>
            <c:extLst>
              <c:ext xmlns:c16="http://schemas.microsoft.com/office/drawing/2014/chart" uri="{C3380CC4-5D6E-409C-BE32-E72D297353CC}">
                <c16:uniqueId val="{0000000B-F228-4902-920B-D7DA61223ABC}"/>
              </c:ext>
            </c:extLst>
          </c:dPt>
          <c:dLbls>
            <c:dLbl>
              <c:idx val="13"/>
              <c:layout>
                <c:manualLayout>
                  <c:x val="0"/>
                  <c:y val="-9.5036062791684348E-2"/>
                </c:manualLayout>
              </c:layout>
              <c:numFmt formatCode="#,##0;&quot;-&quot;#,##0" sourceLinked="0"/>
              <c:spPr>
                <a:noFill/>
                <a:ln>
                  <a:noFill/>
                </a:ln>
              </c:spPr>
              <c:txPr>
                <a:bodyPr wrap="none"/>
                <a:lstStyle/>
                <a:p>
                  <a:pPr>
                    <a:defRPr sz="1000" kern="1200">
                      <a:solidFill>
                        <a:schemeClr val="tx1"/>
                      </a:solidFill>
                      <a:latin typeface="Century Gothic"/>
                      <a:ea typeface="Verdana"/>
                      <a:cs typeface="Inte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F228-4902-920B-D7DA61223ABC}"/>
                </c:ext>
              </c:extLst>
            </c:dLbl>
            <c:dLbl>
              <c:idx val="20"/>
              <c:layout>
                <c:manualLayout>
                  <c:x val="0"/>
                  <c:y val="-0.22952906236741621"/>
                </c:manualLayout>
              </c:layout>
              <c:numFmt formatCode="#,##0;&quot;-&quot;#,##0" sourceLinked="0"/>
              <c:spPr>
                <a:noFill/>
                <a:ln>
                  <a:noFill/>
                </a:ln>
              </c:spPr>
              <c:txPr>
                <a:bodyPr wrap="none"/>
                <a:lstStyle/>
                <a:p>
                  <a:pPr>
                    <a:defRPr sz="1000" kern="1200">
                      <a:solidFill>
                        <a:schemeClr val="tx1"/>
                      </a:solidFill>
                      <a:latin typeface="Century Gothic"/>
                      <a:ea typeface="Verdana"/>
                      <a:cs typeface="Inte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F228-4902-920B-D7DA61223ABC}"/>
                </c:ext>
              </c:extLst>
            </c:dLbl>
            <c:dLbl>
              <c:idx val="25"/>
              <c:layout>
                <c:manualLayout>
                  <c:x val="0"/>
                  <c:y val="-0.32244378447178618"/>
                </c:manualLayout>
              </c:layout>
              <c:numFmt formatCode="#,##0;&quot;-&quot;#,##0" sourceLinked="0"/>
              <c:spPr>
                <a:noFill/>
                <a:ln>
                  <a:noFill/>
                </a:ln>
              </c:spPr>
              <c:txPr>
                <a:bodyPr wrap="none"/>
                <a:lstStyle/>
                <a:p>
                  <a:pPr>
                    <a:defRPr sz="1000" kern="1200">
                      <a:solidFill>
                        <a:schemeClr val="tx1"/>
                      </a:solidFill>
                      <a:latin typeface="Century Gothic"/>
                      <a:ea typeface="Verdana"/>
                      <a:cs typeface="Inte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F228-4902-920B-D7DA61223AB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Z$1</c:f>
              <c:numCache>
                <c:formatCode>General</c:formatCode>
                <c:ptCount val="26"/>
                <c:pt idx="0">
                  <c:v>1.106E-3</c:v>
                </c:pt>
                <c:pt idx="1">
                  <c:v>3.7895999999999999E-2</c:v>
                </c:pt>
                <c:pt idx="2">
                  <c:v>0.106458</c:v>
                </c:pt>
                <c:pt idx="3">
                  <c:v>0.18181800000000001</c:v>
                </c:pt>
                <c:pt idx="4">
                  <c:v>0.27143200000000001</c:v>
                </c:pt>
                <c:pt idx="5">
                  <c:v>0.44815500000000003</c:v>
                </c:pt>
                <c:pt idx="6">
                  <c:v>0.71702999999999995</c:v>
                </c:pt>
                <c:pt idx="7">
                  <c:v>1.091005</c:v>
                </c:pt>
                <c:pt idx="8">
                  <c:v>1.9368510000000001</c:v>
                </c:pt>
                <c:pt idx="9">
                  <c:v>2.1556679999999999</c:v>
                </c:pt>
                <c:pt idx="10">
                  <c:v>3.198642</c:v>
                </c:pt>
                <c:pt idx="11">
                  <c:v>6.4807109999999994</c:v>
                </c:pt>
                <c:pt idx="12">
                  <c:v>10.463735</c:v>
                </c:pt>
                <c:pt idx="13">
                  <c:v>14.062578</c:v>
                </c:pt>
                <c:pt idx="14">
                  <c:v>17.523668000000001</c:v>
                </c:pt>
                <c:pt idx="15">
                  <c:v>22.360415</c:v>
                </c:pt>
                <c:pt idx="16">
                  <c:v>26.550632</c:v>
                </c:pt>
                <c:pt idx="17">
                  <c:v>30.436489999999999</c:v>
                </c:pt>
                <c:pt idx="18">
                  <c:v>33.890845999999996</c:v>
                </c:pt>
                <c:pt idx="19">
                  <c:v>37.725777000000001</c:v>
                </c:pt>
                <c:pt idx="20">
                  <c:v>41.529111</c:v>
                </c:pt>
                <c:pt idx="21">
                  <c:v>45.822323999999995</c:v>
                </c:pt>
                <c:pt idx="22">
                  <c:v>49.645840999999997</c:v>
                </c:pt>
                <c:pt idx="23">
                  <c:v>53.754669999999997</c:v>
                </c:pt>
                <c:pt idx="24">
                  <c:v>57.082206999999997</c:v>
                </c:pt>
                <c:pt idx="25">
                  <c:v>60.556194999999995</c:v>
                </c:pt>
              </c:numCache>
            </c:numRef>
          </c:val>
          <c:extLst>
            <c:ext xmlns:c16="http://schemas.microsoft.com/office/drawing/2014/chart" uri="{C3380CC4-5D6E-409C-BE32-E72D297353CC}">
              <c16:uniqueId val="{0000000D-F228-4902-920B-D7DA61223ABC}"/>
            </c:ext>
          </c:extLst>
        </c:ser>
        <c:dLbls>
          <c:showLegendKey val="0"/>
          <c:showVal val="0"/>
          <c:showCatName val="0"/>
          <c:showSerName val="0"/>
          <c:showPercent val="0"/>
          <c:showBubbleSize val="0"/>
        </c:dLbls>
        <c:gapWidth val="80"/>
        <c:overlap val="100"/>
        <c:axId val="667130479"/>
        <c:axId val="1"/>
      </c:barChart>
      <c:catAx>
        <c:axId val="667130479"/>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9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000" kern="1200">
                <a:solidFill>
                  <a:schemeClr val="tx1"/>
                </a:solidFill>
                <a:latin typeface="Century Gothic"/>
                <a:ea typeface="Verdana"/>
                <a:cs typeface="Inter"/>
              </a:defRPr>
            </a:pPr>
            <a:endParaRPr lang="en-US"/>
          </a:p>
        </c:txPr>
        <c:crossAx val="667130479"/>
        <c:crosses val="min"/>
        <c:crossBetween val="between"/>
        <c:majorUnit val="5"/>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1184120465434637E-3"/>
          <c:y val="7.8461538461538458E-2"/>
          <c:w val="0.98576317590691309"/>
          <c:h val="0.86692307692307691"/>
        </c:manualLayout>
      </c:layout>
      <c:barChart>
        <c:barDir val="col"/>
        <c:grouping val="stacked"/>
        <c:varyColors val="0"/>
        <c:ser>
          <c:idx val="0"/>
          <c:order val="0"/>
          <c:spPr>
            <a:noFill/>
            <a:ln>
              <a:noFill/>
            </a:ln>
          </c:spPr>
          <c:invertIfNegative val="0"/>
          <c:dPt>
            <c:idx val="0"/>
            <c:invertIfNegative val="0"/>
            <c:bubble3D val="0"/>
            <c:spPr>
              <a:solidFill>
                <a:srgbClr val="C0C0C0"/>
              </a:solidFill>
              <a:ln>
                <a:noFill/>
              </a:ln>
            </c:spPr>
            <c:extLst>
              <c:ext xmlns:c16="http://schemas.microsoft.com/office/drawing/2014/chart" uri="{C3380CC4-5D6E-409C-BE32-E72D297353CC}">
                <c16:uniqueId val="{00000000-D612-407F-A215-7919012CE2DA}"/>
              </c:ext>
            </c:extLst>
          </c:dPt>
          <c:dPt>
            <c:idx val="4"/>
            <c:invertIfNegative val="0"/>
            <c:bubble3D val="0"/>
            <c:spPr>
              <a:solidFill>
                <a:srgbClr val="C0C0C0"/>
              </a:solidFill>
              <a:ln>
                <a:noFill/>
              </a:ln>
            </c:spPr>
            <c:extLst>
              <c:ext xmlns:c16="http://schemas.microsoft.com/office/drawing/2014/chart" uri="{C3380CC4-5D6E-409C-BE32-E72D297353CC}">
                <c16:uniqueId val="{00000001-D612-407F-A215-7919012CE2DA}"/>
              </c:ext>
            </c:extLst>
          </c:dPt>
          <c:dLbls>
            <c:dLbl>
              <c:idx val="0"/>
              <c:layout>
                <c:manualLayout>
                  <c:x val="0"/>
                  <c:y val="-0.4573076923076923"/>
                </c:manualLayout>
              </c:layout>
              <c:numFmt formatCode="#,##0;&quot;-&quot;#,##0" sourceLinked="0"/>
              <c:spPr>
                <a:noFill/>
                <a:ln>
                  <a:noFill/>
                </a:ln>
              </c:spPr>
              <c:txPr>
                <a:bodyPr wrap="none"/>
                <a:lstStyle/>
                <a:p>
                  <a:pPr>
                    <a:defRPr sz="1000" kern="1200">
                      <a:solidFill>
                        <a:schemeClr val="tx1"/>
                      </a:solidFill>
                      <a:latin typeface="Century Gothic"/>
                      <a:ea typeface="Verdana"/>
                      <a:cs typeface="Inte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612-407F-A215-7919012CE2D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G$1</c:f>
              <c:numCache>
                <c:formatCode>General</c:formatCode>
                <c:ptCount val="7"/>
                <c:pt idx="0">
                  <c:v>56</c:v>
                </c:pt>
                <c:pt idx="1">
                  <c:v>44.921024046106027</c:v>
                </c:pt>
                <c:pt idx="2">
                  <c:v>43.897691024417973</c:v>
                </c:pt>
                <c:pt idx="3">
                  <c:v>38.344421024417962</c:v>
                </c:pt>
                <c:pt idx="4">
                  <c:v>38.344421024417997</c:v>
                </c:pt>
                <c:pt idx="5">
                  <c:v>24.844421024417954</c:v>
                </c:pt>
                <c:pt idx="6">
                  <c:v>4.4421024417914623E-2</c:v>
                </c:pt>
              </c:numCache>
            </c:numRef>
          </c:val>
          <c:extLst>
            <c:ext xmlns:c16="http://schemas.microsoft.com/office/drawing/2014/chart" uri="{C3380CC4-5D6E-409C-BE32-E72D297353CC}">
              <c16:uniqueId val="{00000002-D612-407F-A215-7919012CE2DA}"/>
            </c:ext>
          </c:extLst>
        </c:ser>
        <c:ser>
          <c:idx val="1"/>
          <c:order val="1"/>
          <c:spPr>
            <a:solidFill>
              <a:srgbClr val="AD8464"/>
            </a:solidFill>
            <a:ln>
              <a:noFill/>
            </a:ln>
          </c:spPr>
          <c:invertIfNegative val="0"/>
          <c:dPt>
            <c:idx val="1"/>
            <c:invertIfNegative val="0"/>
            <c:bubble3D val="0"/>
            <c:spPr>
              <a:solidFill>
                <a:schemeClr val="accent1"/>
              </a:solidFill>
              <a:ln>
                <a:noFill/>
              </a:ln>
            </c:spPr>
            <c:extLst>
              <c:ext xmlns:c16="http://schemas.microsoft.com/office/drawing/2014/chart" uri="{C3380CC4-5D6E-409C-BE32-E72D297353CC}">
                <c16:uniqueId val="{00000003-D612-407F-A215-7919012CE2DA}"/>
              </c:ext>
            </c:extLst>
          </c:dPt>
          <c:dPt>
            <c:idx val="2"/>
            <c:invertIfNegative val="0"/>
            <c:bubble3D val="0"/>
            <c:spPr>
              <a:solidFill>
                <a:srgbClr val="808080"/>
              </a:solidFill>
              <a:ln>
                <a:noFill/>
              </a:ln>
            </c:spPr>
            <c:extLst>
              <c:ext xmlns:c16="http://schemas.microsoft.com/office/drawing/2014/chart" uri="{C3380CC4-5D6E-409C-BE32-E72D297353CC}">
                <c16:uniqueId val="{00000004-D612-407F-A215-7919012CE2DA}"/>
              </c:ext>
            </c:extLst>
          </c:dPt>
          <c:dPt>
            <c:idx val="5"/>
            <c:invertIfNegative val="0"/>
            <c:bubble3D val="0"/>
            <c:spPr>
              <a:solidFill>
                <a:schemeClr val="accent5"/>
              </a:solidFill>
              <a:ln>
                <a:noFill/>
              </a:ln>
            </c:spPr>
            <c:extLst>
              <c:ext xmlns:c16="http://schemas.microsoft.com/office/drawing/2014/chart" uri="{C3380CC4-5D6E-409C-BE32-E72D297353CC}">
                <c16:uniqueId val="{00000005-D612-407F-A215-7919012CE2DA}"/>
              </c:ext>
            </c:extLst>
          </c:dPt>
          <c:dPt>
            <c:idx val="6"/>
            <c:invertIfNegative val="0"/>
            <c:bubble3D val="0"/>
            <c:spPr>
              <a:solidFill>
                <a:srgbClr val="C0C0C0"/>
              </a:solidFill>
              <a:ln>
                <a:noFill/>
              </a:ln>
            </c:spPr>
            <c:extLst>
              <c:ext xmlns:c16="http://schemas.microsoft.com/office/drawing/2014/chart" uri="{C3380CC4-5D6E-409C-BE32-E72D297353CC}">
                <c16:uniqueId val="{00000006-D612-407F-A215-7919012CE2DA}"/>
              </c:ext>
            </c:extLst>
          </c:dPt>
          <c:dLbls>
            <c:dLbl>
              <c:idx val="5"/>
              <c:layout>
                <c:manualLayout>
                  <c:x val="0"/>
                  <c:y val="-0.12807692307692309"/>
                </c:manualLayout>
              </c:layout>
              <c:numFmt formatCode="#,##0;&quot;-&quot;#,##0" sourceLinked="0"/>
              <c:spPr>
                <a:noFill/>
                <a:ln>
                  <a:noFill/>
                </a:ln>
              </c:spPr>
              <c:txPr>
                <a:bodyPr wrap="none"/>
                <a:lstStyle/>
                <a:p>
                  <a:pPr>
                    <a:defRPr sz="1000" kern="1200">
                      <a:solidFill>
                        <a:schemeClr val="tx1"/>
                      </a:solidFill>
                      <a:latin typeface="Century Gothic"/>
                      <a:ea typeface="Verdana"/>
                      <a:cs typeface="Inte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D612-407F-A215-7919012CE2DA}"/>
                </c:ext>
              </c:extLst>
            </c:dLbl>
            <c:dLbl>
              <c:idx val="6"/>
              <c:layout>
                <c:manualLayout>
                  <c:x val="0"/>
                  <c:y val="-0.21576923076923077"/>
                </c:manualLayout>
              </c:layout>
              <c:numFmt formatCode="#,##0;&quot;-&quot;#,##0" sourceLinked="0"/>
              <c:spPr>
                <a:noFill/>
                <a:ln>
                  <a:noFill/>
                </a:ln>
              </c:spPr>
              <c:txPr>
                <a:bodyPr wrap="none"/>
                <a:lstStyle/>
                <a:p>
                  <a:pPr>
                    <a:defRPr sz="1000" kern="1200">
                      <a:solidFill>
                        <a:schemeClr val="tx1"/>
                      </a:solidFill>
                      <a:latin typeface="Century Gothic"/>
                      <a:ea typeface="Verdana"/>
                      <a:cs typeface="Inte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D612-407F-A215-7919012CE2D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G$2</c:f>
              <c:numCache>
                <c:formatCode>General</c:formatCode>
                <c:ptCount val="7"/>
                <c:pt idx="1">
                  <c:v>4.7589203270274965</c:v>
                </c:pt>
                <c:pt idx="2">
                  <c:v>0.6544636132951851</c:v>
                </c:pt>
                <c:pt idx="3">
                  <c:v>3.7950000000000017</c:v>
                </c:pt>
                <c:pt idx="5">
                  <c:v>13.5</c:v>
                </c:pt>
                <c:pt idx="6">
                  <c:v>24.8</c:v>
                </c:pt>
              </c:numCache>
            </c:numRef>
          </c:val>
          <c:extLst>
            <c:ext xmlns:c16="http://schemas.microsoft.com/office/drawing/2014/chart" uri="{C3380CC4-5D6E-409C-BE32-E72D297353CC}">
              <c16:uniqueId val="{00000007-D612-407F-A215-7919012CE2DA}"/>
            </c:ext>
          </c:extLst>
        </c:ser>
        <c:ser>
          <c:idx val="2"/>
          <c:order val="2"/>
          <c:spPr>
            <a:solidFill>
              <a:srgbClr val="C0C0C0"/>
            </a:solidFill>
            <a:ln>
              <a:noFill/>
            </a:ln>
          </c:spPr>
          <c:invertIfNegative val="0"/>
          <c:dPt>
            <c:idx val="1"/>
            <c:invertIfNegative val="0"/>
            <c:bubble3D val="0"/>
            <c:spPr>
              <a:solidFill>
                <a:schemeClr val="accent3"/>
              </a:solidFill>
              <a:ln>
                <a:noFill/>
              </a:ln>
            </c:spPr>
            <c:extLst>
              <c:ext xmlns:c16="http://schemas.microsoft.com/office/drawing/2014/chart" uri="{C3380CC4-5D6E-409C-BE32-E72D297353CC}">
                <c16:uniqueId val="{00000008-D612-407F-A215-7919012CE2DA}"/>
              </c:ext>
            </c:extLst>
          </c:dPt>
          <c:dPt>
            <c:idx val="3"/>
            <c:invertIfNegative val="0"/>
            <c:bubble3D val="0"/>
            <c:spPr>
              <a:solidFill>
                <a:srgbClr val="9DB1CF"/>
              </a:solidFill>
              <a:ln>
                <a:noFill/>
              </a:ln>
            </c:spPr>
            <c:extLst>
              <c:ext xmlns:c16="http://schemas.microsoft.com/office/drawing/2014/chart" uri="{C3380CC4-5D6E-409C-BE32-E72D297353CC}">
                <c16:uniqueId val="{00000009-D612-407F-A215-7919012CE2DA}"/>
              </c:ext>
            </c:extLst>
          </c:dPt>
          <c:val>
            <c:numRef>
              <c:f>Sheet1!$A$3:$G$3</c:f>
              <c:numCache>
                <c:formatCode>General</c:formatCode>
                <c:ptCount val="7"/>
                <c:pt idx="1">
                  <c:v>0.27688039280471344</c:v>
                </c:pt>
                <c:pt idx="2">
                  <c:v>0.36886940839284676</c:v>
                </c:pt>
                <c:pt idx="3">
                  <c:v>0</c:v>
                </c:pt>
              </c:numCache>
            </c:numRef>
          </c:val>
          <c:extLst>
            <c:ext xmlns:c16="http://schemas.microsoft.com/office/drawing/2014/chart" uri="{C3380CC4-5D6E-409C-BE32-E72D297353CC}">
              <c16:uniqueId val="{0000000A-D612-407F-A215-7919012CE2DA}"/>
            </c:ext>
          </c:extLst>
        </c:ser>
        <c:ser>
          <c:idx val="3"/>
          <c:order val="3"/>
          <c:spPr>
            <a:solidFill>
              <a:schemeClr val="accent3"/>
            </a:solidFill>
            <a:ln>
              <a:noFill/>
            </a:ln>
          </c:spPr>
          <c:invertIfNegative val="0"/>
          <c:dPt>
            <c:idx val="3"/>
            <c:invertIfNegative val="0"/>
            <c:bubble3D val="0"/>
            <c:spPr>
              <a:solidFill>
                <a:schemeClr val="accent4"/>
              </a:solidFill>
              <a:ln>
                <a:noFill/>
              </a:ln>
            </c:spPr>
            <c:extLst>
              <c:ext xmlns:c16="http://schemas.microsoft.com/office/drawing/2014/chart" uri="{C3380CC4-5D6E-409C-BE32-E72D297353CC}">
                <c16:uniqueId val="{0000000B-D612-407F-A215-7919012CE2DA}"/>
              </c:ext>
            </c:extLst>
          </c:dPt>
          <c:val>
            <c:numRef>
              <c:f>Sheet1!$A$4:$G$4</c:f>
              <c:numCache>
                <c:formatCode>General</c:formatCode>
                <c:ptCount val="7"/>
                <c:pt idx="1">
                  <c:v>0.26639660609333049</c:v>
                </c:pt>
                <c:pt idx="3">
                  <c:v>1.758269999999996</c:v>
                </c:pt>
              </c:numCache>
            </c:numRef>
          </c:val>
          <c:extLst>
            <c:ext xmlns:c16="http://schemas.microsoft.com/office/drawing/2014/chart" uri="{C3380CC4-5D6E-409C-BE32-E72D297353CC}">
              <c16:uniqueId val="{0000000C-D612-407F-A215-7919012CE2DA}"/>
            </c:ext>
          </c:extLst>
        </c:ser>
        <c:ser>
          <c:idx val="4"/>
          <c:order val="4"/>
          <c:spPr>
            <a:solidFill>
              <a:schemeClr val="accent2"/>
            </a:solidFill>
            <a:ln>
              <a:noFill/>
            </a:ln>
          </c:spPr>
          <c:invertIfNegative val="0"/>
          <c:val>
            <c:numRef>
              <c:f>Sheet1!$A$5:$G$5</c:f>
              <c:numCache>
                <c:formatCode>General</c:formatCode>
                <c:ptCount val="7"/>
                <c:pt idx="1">
                  <c:v>5.776778627968433</c:v>
                </c:pt>
              </c:numCache>
            </c:numRef>
          </c:val>
          <c:extLst>
            <c:ext xmlns:c16="http://schemas.microsoft.com/office/drawing/2014/chart" uri="{C3380CC4-5D6E-409C-BE32-E72D297353CC}">
              <c16:uniqueId val="{0000000D-D612-407F-A215-7919012CE2DA}"/>
            </c:ext>
          </c:extLst>
        </c:ser>
        <c:dLbls>
          <c:showLegendKey val="0"/>
          <c:showVal val="0"/>
          <c:showCatName val="0"/>
          <c:showSerName val="0"/>
          <c:showPercent val="0"/>
          <c:showBubbleSize val="0"/>
        </c:dLbls>
        <c:gapWidth val="150"/>
        <c:overlap val="100"/>
        <c:axId val="2097815888"/>
        <c:axId val="1"/>
      </c:barChart>
      <c:catAx>
        <c:axId val="209781588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At val="0"/>
        <c:auto val="0"/>
        <c:lblAlgn val="ctr"/>
        <c:lblOffset val="100"/>
        <c:noMultiLvlLbl val="0"/>
      </c:catAx>
      <c:valAx>
        <c:axId val="1"/>
        <c:scaling>
          <c:orientation val="minMax"/>
          <c:max val="56"/>
          <c:min val="-5.6843418860808015E-14"/>
        </c:scaling>
        <c:delete val="1"/>
        <c:axPos val="l"/>
        <c:numFmt formatCode="General" sourceLinked="1"/>
        <c:majorTickMark val="out"/>
        <c:minorTickMark val="none"/>
        <c:tickLblPos val="nextTo"/>
        <c:crossAx val="2097815888"/>
        <c:crosses val="min"/>
        <c:crossBetween val="between"/>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0693240901213174E-2"/>
          <c:y val="3.305227655986509E-2"/>
          <c:w val="0.90836221837088393"/>
          <c:h val="0.8873524451939292"/>
        </c:manualLayout>
      </c:layout>
      <c:scatterChart>
        <c:scatterStyle val="lineMarker"/>
        <c:varyColors val="0"/>
        <c:ser>
          <c:idx val="0"/>
          <c:order val="0"/>
          <c:spPr>
            <a:ln w="19050" cmpd="sng" algn="ctr">
              <a:solidFill>
                <a:srgbClr val="000000"/>
              </a:solidFill>
              <a:prstDash val="solid"/>
            </a:ln>
          </c:spPr>
          <c:marker>
            <c:symbol val="none"/>
          </c:marker>
          <c:xVal>
            <c:numRef>
              <c:f>Sheet1!$A$1:$AJ$1</c:f>
              <c:numCache>
                <c:formatCode>General</c:formatCode>
                <c:ptCount val="36"/>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pt idx="26">
                  <c:v>2026</c:v>
                </c:pt>
                <c:pt idx="27">
                  <c:v>2027</c:v>
                </c:pt>
                <c:pt idx="28">
                  <c:v>2028</c:v>
                </c:pt>
                <c:pt idx="29">
                  <c:v>2029</c:v>
                </c:pt>
                <c:pt idx="30">
                  <c:v>2030</c:v>
                </c:pt>
                <c:pt idx="31">
                  <c:v>2031</c:v>
                </c:pt>
                <c:pt idx="32">
                  <c:v>2032</c:v>
                </c:pt>
                <c:pt idx="33">
                  <c:v>2033</c:v>
                </c:pt>
                <c:pt idx="34">
                  <c:v>2034</c:v>
                </c:pt>
                <c:pt idx="35">
                  <c:v>2035</c:v>
                </c:pt>
              </c:numCache>
            </c:numRef>
          </c:xVal>
          <c:yVal>
            <c:numRef>
              <c:f>Sheet1!$A$2:$AJ$2</c:f>
              <c:numCache>
                <c:formatCode>General</c:formatCode>
                <c:ptCount val="36"/>
                <c:pt idx="0">
                  <c:v>42.157204745366343</c:v>
                </c:pt>
                <c:pt idx="1">
                  <c:v>42.34207808748971</c:v>
                </c:pt>
                <c:pt idx="2">
                  <c:v>43.417795057098338</c:v>
                </c:pt>
                <c:pt idx="3">
                  <c:v>45.173806572172353</c:v>
                </c:pt>
                <c:pt idx="4">
                  <c:v>46.699274497559003</c:v>
                </c:pt>
                <c:pt idx="5">
                  <c:v>47.689393501675845</c:v>
                </c:pt>
                <c:pt idx="6">
                  <c:v>49.195667459371769</c:v>
                </c:pt>
                <c:pt idx="7">
                  <c:v>49.858957985694815</c:v>
                </c:pt>
                <c:pt idx="8">
                  <c:v>50.357321584012489</c:v>
                </c:pt>
                <c:pt idx="9">
                  <c:v>50.914361833504444</c:v>
                </c:pt>
                <c:pt idx="10">
                  <c:v>52.548745449657247</c:v>
                </c:pt>
                <c:pt idx="11">
                  <c:v>53.598733761679533</c:v>
                </c:pt>
                <c:pt idx="12">
                  <c:v>54.72601354821667</c:v>
                </c:pt>
                <c:pt idx="13">
                  <c:v>55.520284569471883</c:v>
                </c:pt>
                <c:pt idx="14">
                  <c:v>56.308127703112056</c:v>
                </c:pt>
                <c:pt idx="15">
                  <c:v>56.567268842913812</c:v>
                </c:pt>
                <c:pt idx="16">
                  <c:v>56.218429979078188</c:v>
                </c:pt>
                <c:pt idx="17">
                  <c:v>56.785832944077413</c:v>
                </c:pt>
                <c:pt idx="18">
                  <c:v>57.832342324089261</c:v>
                </c:pt>
                <c:pt idx="19">
                  <c:v>59.090624827612281</c:v>
                </c:pt>
                <c:pt idx="20">
                  <c:v>56.805925800885625</c:v>
                </c:pt>
                <c:pt idx="21">
                  <c:v>58.675225004571075</c:v>
                </c:pt>
                <c:pt idx="22">
                  <c:v>58.675225004571075</c:v>
                </c:pt>
                <c:pt idx="23">
                  <c:v>58.882924916091689</c:v>
                </c:pt>
              </c:numCache>
            </c:numRef>
          </c:yVal>
          <c:smooth val="0"/>
          <c:extLst>
            <c:ext xmlns:c16="http://schemas.microsoft.com/office/drawing/2014/chart" uri="{C3380CC4-5D6E-409C-BE32-E72D297353CC}">
              <c16:uniqueId val="{00000000-9DAC-400E-A2ED-E6C5644DFD45}"/>
            </c:ext>
          </c:extLst>
        </c:ser>
        <c:ser>
          <c:idx val="1"/>
          <c:order val="1"/>
          <c:spPr>
            <a:ln w="28575" cmpd="sng" algn="ctr">
              <a:solidFill>
                <a:schemeClr val="accent4"/>
              </a:solidFill>
              <a:prstDash val="solid"/>
            </a:ln>
          </c:spPr>
          <c:marker>
            <c:symbol val="none"/>
          </c:marker>
          <c:xVal>
            <c:numRef>
              <c:f>Sheet1!$A$1:$AJ$1</c:f>
              <c:numCache>
                <c:formatCode>General</c:formatCode>
                <c:ptCount val="36"/>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pt idx="26">
                  <c:v>2026</c:v>
                </c:pt>
                <c:pt idx="27">
                  <c:v>2027</c:v>
                </c:pt>
                <c:pt idx="28">
                  <c:v>2028</c:v>
                </c:pt>
                <c:pt idx="29">
                  <c:v>2029</c:v>
                </c:pt>
                <c:pt idx="30">
                  <c:v>2030</c:v>
                </c:pt>
                <c:pt idx="31">
                  <c:v>2031</c:v>
                </c:pt>
                <c:pt idx="32">
                  <c:v>2032</c:v>
                </c:pt>
                <c:pt idx="33">
                  <c:v>2033</c:v>
                </c:pt>
                <c:pt idx="34">
                  <c:v>2034</c:v>
                </c:pt>
                <c:pt idx="35">
                  <c:v>2035</c:v>
                </c:pt>
              </c:numCache>
            </c:numRef>
          </c:xVal>
          <c:yVal>
            <c:numRef>
              <c:f>Sheet1!$A$3:$AJ$3</c:f>
              <c:numCache>
                <c:formatCode>General</c:formatCode>
                <c:ptCount val="36"/>
                <c:pt idx="23">
                  <c:v>58.882924916091689</c:v>
                </c:pt>
                <c:pt idx="24">
                  <c:v>57.741462458045845</c:v>
                </c:pt>
                <c:pt idx="25">
                  <c:v>56.6</c:v>
                </c:pt>
                <c:pt idx="26">
                  <c:v>56.6</c:v>
                </c:pt>
                <c:pt idx="27">
                  <c:v>56.6</c:v>
                </c:pt>
                <c:pt idx="28">
                  <c:v>56.6</c:v>
                </c:pt>
                <c:pt idx="29">
                  <c:v>56.6</c:v>
                </c:pt>
                <c:pt idx="30">
                  <c:v>56.6</c:v>
                </c:pt>
                <c:pt idx="31">
                  <c:v>56.480000000000004</c:v>
                </c:pt>
                <c:pt idx="32">
                  <c:v>56.360000000000007</c:v>
                </c:pt>
                <c:pt idx="33">
                  <c:v>56.240000000000009</c:v>
                </c:pt>
                <c:pt idx="34">
                  <c:v>56.120000000000012</c:v>
                </c:pt>
                <c:pt idx="35">
                  <c:v>56</c:v>
                </c:pt>
              </c:numCache>
            </c:numRef>
          </c:yVal>
          <c:smooth val="0"/>
          <c:extLst>
            <c:ext xmlns:c16="http://schemas.microsoft.com/office/drawing/2014/chart" uri="{C3380CC4-5D6E-409C-BE32-E72D297353CC}">
              <c16:uniqueId val="{00000001-9DAC-400E-A2ED-E6C5644DFD45}"/>
            </c:ext>
          </c:extLst>
        </c:ser>
        <c:ser>
          <c:idx val="2"/>
          <c:order val="2"/>
          <c:spPr>
            <a:ln w="28575" cmpd="sng" algn="ctr">
              <a:solidFill>
                <a:schemeClr val="accent5"/>
              </a:solidFill>
              <a:prstDash val="solid"/>
            </a:ln>
          </c:spPr>
          <c:marker>
            <c:symbol val="none"/>
          </c:marker>
          <c:xVal>
            <c:numRef>
              <c:f>Sheet1!$A$1:$AJ$1</c:f>
              <c:numCache>
                <c:formatCode>General</c:formatCode>
                <c:ptCount val="36"/>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pt idx="26">
                  <c:v>2026</c:v>
                </c:pt>
                <c:pt idx="27">
                  <c:v>2027</c:v>
                </c:pt>
                <c:pt idx="28">
                  <c:v>2028</c:v>
                </c:pt>
                <c:pt idx="29">
                  <c:v>2029</c:v>
                </c:pt>
                <c:pt idx="30">
                  <c:v>2030</c:v>
                </c:pt>
                <c:pt idx="31">
                  <c:v>2031</c:v>
                </c:pt>
                <c:pt idx="32">
                  <c:v>2032</c:v>
                </c:pt>
                <c:pt idx="33">
                  <c:v>2033</c:v>
                </c:pt>
                <c:pt idx="34">
                  <c:v>2034</c:v>
                </c:pt>
                <c:pt idx="35">
                  <c:v>2035</c:v>
                </c:pt>
              </c:numCache>
            </c:numRef>
          </c:xVal>
          <c:yVal>
            <c:numRef>
              <c:f>Sheet1!$A$4:$AJ$4</c:f>
              <c:numCache>
                <c:formatCode>General</c:formatCode>
                <c:ptCount val="36"/>
                <c:pt idx="23">
                  <c:v>58.882924916091689</c:v>
                </c:pt>
                <c:pt idx="24">
                  <c:v>57.391462458045844</c:v>
                </c:pt>
                <c:pt idx="25">
                  <c:v>55.9</c:v>
                </c:pt>
                <c:pt idx="26">
                  <c:v>55.76</c:v>
                </c:pt>
                <c:pt idx="27">
                  <c:v>55.62</c:v>
                </c:pt>
                <c:pt idx="28">
                  <c:v>55.48</c:v>
                </c:pt>
                <c:pt idx="29">
                  <c:v>55.339999999999996</c:v>
                </c:pt>
                <c:pt idx="30">
                  <c:v>55.2</c:v>
                </c:pt>
                <c:pt idx="31">
                  <c:v>55</c:v>
                </c:pt>
                <c:pt idx="32">
                  <c:v>54.8</c:v>
                </c:pt>
                <c:pt idx="33">
                  <c:v>54.599999999999994</c:v>
                </c:pt>
                <c:pt idx="34">
                  <c:v>54.399999999999991</c:v>
                </c:pt>
                <c:pt idx="35">
                  <c:v>54.2</c:v>
                </c:pt>
              </c:numCache>
            </c:numRef>
          </c:yVal>
          <c:smooth val="0"/>
          <c:extLst>
            <c:ext xmlns:c16="http://schemas.microsoft.com/office/drawing/2014/chart" uri="{C3380CC4-5D6E-409C-BE32-E72D297353CC}">
              <c16:uniqueId val="{00000002-9DAC-400E-A2ED-E6C5644DFD45}"/>
            </c:ext>
          </c:extLst>
        </c:ser>
        <c:ser>
          <c:idx val="3"/>
          <c:order val="3"/>
          <c:spPr>
            <a:ln w="28575" cmpd="sng" algn="ctr">
              <a:solidFill>
                <a:srgbClr val="E59E6D"/>
              </a:solidFill>
              <a:prstDash val="solid"/>
            </a:ln>
          </c:spPr>
          <c:marker>
            <c:symbol val="none"/>
          </c:marker>
          <c:xVal>
            <c:numRef>
              <c:f>Sheet1!$A$1:$AJ$1</c:f>
              <c:numCache>
                <c:formatCode>General</c:formatCode>
                <c:ptCount val="36"/>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pt idx="26">
                  <c:v>2026</c:v>
                </c:pt>
                <c:pt idx="27">
                  <c:v>2027</c:v>
                </c:pt>
                <c:pt idx="28">
                  <c:v>2028</c:v>
                </c:pt>
                <c:pt idx="29">
                  <c:v>2029</c:v>
                </c:pt>
                <c:pt idx="30">
                  <c:v>2030</c:v>
                </c:pt>
                <c:pt idx="31">
                  <c:v>2031</c:v>
                </c:pt>
                <c:pt idx="32">
                  <c:v>2032</c:v>
                </c:pt>
                <c:pt idx="33">
                  <c:v>2033</c:v>
                </c:pt>
                <c:pt idx="34">
                  <c:v>2034</c:v>
                </c:pt>
                <c:pt idx="35">
                  <c:v>2035</c:v>
                </c:pt>
              </c:numCache>
            </c:numRef>
          </c:xVal>
          <c:yVal>
            <c:numRef>
              <c:f>Sheet1!$A$5:$AJ$5</c:f>
              <c:numCache>
                <c:formatCode>General</c:formatCode>
                <c:ptCount val="36"/>
                <c:pt idx="23">
                  <c:v>58.882924916091689</c:v>
                </c:pt>
                <c:pt idx="24">
                  <c:v>56.441462458045848</c:v>
                </c:pt>
                <c:pt idx="25">
                  <c:v>54</c:v>
                </c:pt>
                <c:pt idx="26">
                  <c:v>53.54</c:v>
                </c:pt>
                <c:pt idx="27">
                  <c:v>53.08</c:v>
                </c:pt>
                <c:pt idx="28">
                  <c:v>52.62</c:v>
                </c:pt>
                <c:pt idx="29">
                  <c:v>52.16</c:v>
                </c:pt>
                <c:pt idx="30">
                  <c:v>51.7</c:v>
                </c:pt>
                <c:pt idx="31">
                  <c:v>51.42</c:v>
                </c:pt>
                <c:pt idx="32">
                  <c:v>51.14</c:v>
                </c:pt>
                <c:pt idx="33">
                  <c:v>50.86</c:v>
                </c:pt>
                <c:pt idx="34">
                  <c:v>50.58</c:v>
                </c:pt>
                <c:pt idx="35">
                  <c:v>50.3</c:v>
                </c:pt>
              </c:numCache>
            </c:numRef>
          </c:yVal>
          <c:smooth val="0"/>
          <c:extLst>
            <c:ext xmlns:c16="http://schemas.microsoft.com/office/drawing/2014/chart" uri="{C3380CC4-5D6E-409C-BE32-E72D297353CC}">
              <c16:uniqueId val="{00000003-9DAC-400E-A2ED-E6C5644DFD45}"/>
            </c:ext>
          </c:extLst>
        </c:ser>
        <c:ser>
          <c:idx val="4"/>
          <c:order val="4"/>
          <c:spPr>
            <a:ln w="12700" cmpd="sng" algn="ctr">
              <a:solidFill>
                <a:schemeClr val="accent3"/>
              </a:solidFill>
              <a:prstDash val="dash"/>
            </a:ln>
          </c:spPr>
          <c:marker>
            <c:symbol val="none"/>
          </c:marker>
          <c:xVal>
            <c:numRef>
              <c:f>Sheet1!$A$1:$AJ$1</c:f>
              <c:numCache>
                <c:formatCode>General</c:formatCode>
                <c:ptCount val="36"/>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pt idx="26">
                  <c:v>2026</c:v>
                </c:pt>
                <c:pt idx="27">
                  <c:v>2027</c:v>
                </c:pt>
                <c:pt idx="28">
                  <c:v>2028</c:v>
                </c:pt>
                <c:pt idx="29">
                  <c:v>2029</c:v>
                </c:pt>
                <c:pt idx="30">
                  <c:v>2030</c:v>
                </c:pt>
                <c:pt idx="31">
                  <c:v>2031</c:v>
                </c:pt>
                <c:pt idx="32">
                  <c:v>2032</c:v>
                </c:pt>
                <c:pt idx="33">
                  <c:v>2033</c:v>
                </c:pt>
                <c:pt idx="34">
                  <c:v>2034</c:v>
                </c:pt>
                <c:pt idx="35">
                  <c:v>2035</c:v>
                </c:pt>
              </c:numCache>
            </c:numRef>
          </c:xVal>
          <c:yVal>
            <c:numRef>
              <c:f>Sheet1!$A$6:$AJ$6</c:f>
              <c:numCache>
                <c:formatCode>General</c:formatCode>
                <c:ptCount val="36"/>
                <c:pt idx="23">
                  <c:v>58.882924916091689</c:v>
                </c:pt>
                <c:pt idx="24">
                  <c:v>51.741462458045845</c:v>
                </c:pt>
                <c:pt idx="25">
                  <c:v>44.6</c:v>
                </c:pt>
                <c:pt idx="26">
                  <c:v>43.1</c:v>
                </c:pt>
                <c:pt idx="27">
                  <c:v>41.6</c:v>
                </c:pt>
                <c:pt idx="28">
                  <c:v>40.1</c:v>
                </c:pt>
                <c:pt idx="29">
                  <c:v>38.6</c:v>
                </c:pt>
                <c:pt idx="30">
                  <c:v>37.1</c:v>
                </c:pt>
                <c:pt idx="31">
                  <c:v>35.980000000000004</c:v>
                </c:pt>
                <c:pt idx="32">
                  <c:v>34.860000000000007</c:v>
                </c:pt>
                <c:pt idx="33">
                  <c:v>33.740000000000009</c:v>
                </c:pt>
                <c:pt idx="34">
                  <c:v>32.620000000000012</c:v>
                </c:pt>
                <c:pt idx="35">
                  <c:v>31.5</c:v>
                </c:pt>
              </c:numCache>
            </c:numRef>
          </c:yVal>
          <c:smooth val="0"/>
          <c:extLst>
            <c:ext xmlns:c16="http://schemas.microsoft.com/office/drawing/2014/chart" uri="{C3380CC4-5D6E-409C-BE32-E72D297353CC}">
              <c16:uniqueId val="{00000004-9DAC-400E-A2ED-E6C5644DFD45}"/>
            </c:ext>
          </c:extLst>
        </c:ser>
        <c:ser>
          <c:idx val="5"/>
          <c:order val="5"/>
          <c:spPr>
            <a:ln w="28575" cmpd="sng" algn="ctr">
              <a:solidFill>
                <a:schemeClr val="accent3"/>
              </a:solidFill>
              <a:prstDash val="solid"/>
            </a:ln>
          </c:spPr>
          <c:marker>
            <c:symbol val="none"/>
          </c:marker>
          <c:xVal>
            <c:numRef>
              <c:f>Sheet1!$A$1:$AJ$1</c:f>
              <c:numCache>
                <c:formatCode>General</c:formatCode>
                <c:ptCount val="36"/>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pt idx="26">
                  <c:v>2026</c:v>
                </c:pt>
                <c:pt idx="27">
                  <c:v>2027</c:v>
                </c:pt>
                <c:pt idx="28">
                  <c:v>2028</c:v>
                </c:pt>
                <c:pt idx="29">
                  <c:v>2029</c:v>
                </c:pt>
                <c:pt idx="30">
                  <c:v>2030</c:v>
                </c:pt>
                <c:pt idx="31">
                  <c:v>2031</c:v>
                </c:pt>
                <c:pt idx="32">
                  <c:v>2032</c:v>
                </c:pt>
                <c:pt idx="33">
                  <c:v>2033</c:v>
                </c:pt>
                <c:pt idx="34">
                  <c:v>2034</c:v>
                </c:pt>
                <c:pt idx="35">
                  <c:v>2035</c:v>
                </c:pt>
              </c:numCache>
            </c:numRef>
          </c:xVal>
          <c:yVal>
            <c:numRef>
              <c:f>Sheet1!$A$7:$AJ$7</c:f>
              <c:numCache>
                <c:formatCode>General</c:formatCode>
                <c:ptCount val="36"/>
                <c:pt idx="23">
                  <c:v>58.882924916091689</c:v>
                </c:pt>
                <c:pt idx="24">
                  <c:v>53.341462458045839</c:v>
                </c:pt>
                <c:pt idx="25">
                  <c:v>47.8</c:v>
                </c:pt>
                <c:pt idx="26">
                  <c:v>46.4</c:v>
                </c:pt>
                <c:pt idx="27">
                  <c:v>45</c:v>
                </c:pt>
                <c:pt idx="28">
                  <c:v>43.6</c:v>
                </c:pt>
                <c:pt idx="29">
                  <c:v>42.2</c:v>
                </c:pt>
                <c:pt idx="30">
                  <c:v>40.799999999999997</c:v>
                </c:pt>
                <c:pt idx="31">
                  <c:v>39.82</c:v>
                </c:pt>
                <c:pt idx="32">
                  <c:v>38.840000000000003</c:v>
                </c:pt>
                <c:pt idx="33">
                  <c:v>37.860000000000007</c:v>
                </c:pt>
                <c:pt idx="34">
                  <c:v>36.88000000000001</c:v>
                </c:pt>
                <c:pt idx="35">
                  <c:v>35.9</c:v>
                </c:pt>
              </c:numCache>
            </c:numRef>
          </c:yVal>
          <c:smooth val="0"/>
          <c:extLst>
            <c:ext xmlns:c16="http://schemas.microsoft.com/office/drawing/2014/chart" uri="{C3380CC4-5D6E-409C-BE32-E72D297353CC}">
              <c16:uniqueId val="{00000005-9DAC-400E-A2ED-E6C5644DFD45}"/>
            </c:ext>
          </c:extLst>
        </c:ser>
        <c:ser>
          <c:idx val="6"/>
          <c:order val="6"/>
          <c:spPr>
            <a:ln w="12700" cmpd="sng" algn="ctr">
              <a:solidFill>
                <a:schemeClr val="accent3"/>
              </a:solidFill>
              <a:prstDash val="dash"/>
            </a:ln>
          </c:spPr>
          <c:marker>
            <c:symbol val="none"/>
          </c:marker>
          <c:xVal>
            <c:numRef>
              <c:f>Sheet1!$A$1:$AJ$1</c:f>
              <c:numCache>
                <c:formatCode>General</c:formatCode>
                <c:ptCount val="36"/>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pt idx="26">
                  <c:v>2026</c:v>
                </c:pt>
                <c:pt idx="27">
                  <c:v>2027</c:v>
                </c:pt>
                <c:pt idx="28">
                  <c:v>2028</c:v>
                </c:pt>
                <c:pt idx="29">
                  <c:v>2029</c:v>
                </c:pt>
                <c:pt idx="30">
                  <c:v>2030</c:v>
                </c:pt>
                <c:pt idx="31">
                  <c:v>2031</c:v>
                </c:pt>
                <c:pt idx="32">
                  <c:v>2032</c:v>
                </c:pt>
                <c:pt idx="33">
                  <c:v>2033</c:v>
                </c:pt>
                <c:pt idx="34">
                  <c:v>2034</c:v>
                </c:pt>
                <c:pt idx="35">
                  <c:v>2035</c:v>
                </c:pt>
              </c:numCache>
            </c:numRef>
          </c:xVal>
          <c:yVal>
            <c:numRef>
              <c:f>Sheet1!$A$8:$AJ$8</c:f>
              <c:numCache>
                <c:formatCode>General</c:formatCode>
                <c:ptCount val="36"/>
                <c:pt idx="23">
                  <c:v>58.882924916091689</c:v>
                </c:pt>
                <c:pt idx="24">
                  <c:v>55.131462458045846</c:v>
                </c:pt>
                <c:pt idx="25">
                  <c:v>51.38</c:v>
                </c:pt>
                <c:pt idx="26">
                  <c:v>50.304000000000002</c:v>
                </c:pt>
                <c:pt idx="27">
                  <c:v>49.228000000000002</c:v>
                </c:pt>
                <c:pt idx="28">
                  <c:v>48.152000000000001</c:v>
                </c:pt>
                <c:pt idx="29">
                  <c:v>47.076000000000001</c:v>
                </c:pt>
                <c:pt idx="30">
                  <c:v>46</c:v>
                </c:pt>
                <c:pt idx="31">
                  <c:v>44.6</c:v>
                </c:pt>
                <c:pt idx="32">
                  <c:v>43.2</c:v>
                </c:pt>
                <c:pt idx="33">
                  <c:v>41.800000000000004</c:v>
                </c:pt>
                <c:pt idx="34">
                  <c:v>40.400000000000006</c:v>
                </c:pt>
                <c:pt idx="35">
                  <c:v>39</c:v>
                </c:pt>
              </c:numCache>
            </c:numRef>
          </c:yVal>
          <c:smooth val="0"/>
          <c:extLst>
            <c:ext xmlns:c16="http://schemas.microsoft.com/office/drawing/2014/chart" uri="{C3380CC4-5D6E-409C-BE32-E72D297353CC}">
              <c16:uniqueId val="{00000006-9DAC-400E-A2ED-E6C5644DFD45}"/>
            </c:ext>
          </c:extLst>
        </c:ser>
        <c:ser>
          <c:idx val="7"/>
          <c:order val="7"/>
          <c:spPr>
            <a:ln w="12700" cmpd="sng" algn="ctr">
              <a:solidFill>
                <a:schemeClr val="accent2"/>
              </a:solidFill>
              <a:prstDash val="dash"/>
            </a:ln>
          </c:spPr>
          <c:marker>
            <c:symbol val="none"/>
          </c:marker>
          <c:xVal>
            <c:numRef>
              <c:f>Sheet1!$A$1:$AJ$1</c:f>
              <c:numCache>
                <c:formatCode>General</c:formatCode>
                <c:ptCount val="36"/>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pt idx="26">
                  <c:v>2026</c:v>
                </c:pt>
                <c:pt idx="27">
                  <c:v>2027</c:v>
                </c:pt>
                <c:pt idx="28">
                  <c:v>2028</c:v>
                </c:pt>
                <c:pt idx="29">
                  <c:v>2029</c:v>
                </c:pt>
                <c:pt idx="30">
                  <c:v>2030</c:v>
                </c:pt>
                <c:pt idx="31">
                  <c:v>2031</c:v>
                </c:pt>
                <c:pt idx="32">
                  <c:v>2032</c:v>
                </c:pt>
                <c:pt idx="33">
                  <c:v>2033</c:v>
                </c:pt>
                <c:pt idx="34">
                  <c:v>2034</c:v>
                </c:pt>
                <c:pt idx="35">
                  <c:v>2035</c:v>
                </c:pt>
              </c:numCache>
            </c:numRef>
          </c:xVal>
          <c:yVal>
            <c:numRef>
              <c:f>Sheet1!$A$9:$AJ$9</c:f>
              <c:numCache>
                <c:formatCode>General</c:formatCode>
                <c:ptCount val="36"/>
                <c:pt idx="23">
                  <c:v>58.882924916091689</c:v>
                </c:pt>
                <c:pt idx="24">
                  <c:v>48.926462458045847</c:v>
                </c:pt>
                <c:pt idx="25">
                  <c:v>38.97</c:v>
                </c:pt>
                <c:pt idx="26">
                  <c:v>36.475999999999999</c:v>
                </c:pt>
                <c:pt idx="27">
                  <c:v>33.981999999999999</c:v>
                </c:pt>
                <c:pt idx="28">
                  <c:v>31.488</c:v>
                </c:pt>
                <c:pt idx="29">
                  <c:v>28.994</c:v>
                </c:pt>
                <c:pt idx="30">
                  <c:v>26.5</c:v>
                </c:pt>
                <c:pt idx="31">
                  <c:v>25.24</c:v>
                </c:pt>
                <c:pt idx="32">
                  <c:v>23.979999999999997</c:v>
                </c:pt>
                <c:pt idx="33">
                  <c:v>22.719999999999995</c:v>
                </c:pt>
                <c:pt idx="34">
                  <c:v>21.459999999999994</c:v>
                </c:pt>
                <c:pt idx="35">
                  <c:v>20.2</c:v>
                </c:pt>
              </c:numCache>
            </c:numRef>
          </c:yVal>
          <c:smooth val="0"/>
          <c:extLst>
            <c:ext xmlns:c16="http://schemas.microsoft.com/office/drawing/2014/chart" uri="{C3380CC4-5D6E-409C-BE32-E72D297353CC}">
              <c16:uniqueId val="{00000007-9DAC-400E-A2ED-E6C5644DFD45}"/>
            </c:ext>
          </c:extLst>
        </c:ser>
        <c:ser>
          <c:idx val="8"/>
          <c:order val="8"/>
          <c:spPr>
            <a:ln w="28575" cmpd="sng" algn="ctr">
              <a:solidFill>
                <a:schemeClr val="accent2"/>
              </a:solidFill>
              <a:prstDash val="solid"/>
            </a:ln>
          </c:spPr>
          <c:marker>
            <c:symbol val="none"/>
          </c:marker>
          <c:xVal>
            <c:numRef>
              <c:f>Sheet1!$A$1:$AJ$1</c:f>
              <c:numCache>
                <c:formatCode>General</c:formatCode>
                <c:ptCount val="36"/>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pt idx="26">
                  <c:v>2026</c:v>
                </c:pt>
                <c:pt idx="27">
                  <c:v>2027</c:v>
                </c:pt>
                <c:pt idx="28">
                  <c:v>2028</c:v>
                </c:pt>
                <c:pt idx="29">
                  <c:v>2029</c:v>
                </c:pt>
                <c:pt idx="30">
                  <c:v>2030</c:v>
                </c:pt>
                <c:pt idx="31">
                  <c:v>2031</c:v>
                </c:pt>
                <c:pt idx="32">
                  <c:v>2032</c:v>
                </c:pt>
                <c:pt idx="33">
                  <c:v>2033</c:v>
                </c:pt>
                <c:pt idx="34">
                  <c:v>2034</c:v>
                </c:pt>
                <c:pt idx="35">
                  <c:v>2035</c:v>
                </c:pt>
              </c:numCache>
            </c:numRef>
          </c:xVal>
          <c:yVal>
            <c:numRef>
              <c:f>Sheet1!$A$10:$AJ$10</c:f>
              <c:numCache>
                <c:formatCode>General</c:formatCode>
                <c:ptCount val="36"/>
                <c:pt idx="23">
                  <c:v>58.882924916091689</c:v>
                </c:pt>
                <c:pt idx="24">
                  <c:v>50.741462458045845</c:v>
                </c:pt>
                <c:pt idx="25">
                  <c:v>42.6</c:v>
                </c:pt>
                <c:pt idx="26">
                  <c:v>40.620000000000005</c:v>
                </c:pt>
                <c:pt idx="27">
                  <c:v>38.640000000000008</c:v>
                </c:pt>
                <c:pt idx="28">
                  <c:v>36.660000000000011</c:v>
                </c:pt>
                <c:pt idx="29">
                  <c:v>34.680000000000014</c:v>
                </c:pt>
                <c:pt idx="30">
                  <c:v>32.700000000000003</c:v>
                </c:pt>
                <c:pt idx="31">
                  <c:v>31.12</c:v>
                </c:pt>
                <c:pt idx="32">
                  <c:v>29.54</c:v>
                </c:pt>
                <c:pt idx="33">
                  <c:v>27.959999999999997</c:v>
                </c:pt>
                <c:pt idx="34">
                  <c:v>26.379999999999995</c:v>
                </c:pt>
                <c:pt idx="35">
                  <c:v>24.8</c:v>
                </c:pt>
              </c:numCache>
            </c:numRef>
          </c:yVal>
          <c:smooth val="0"/>
          <c:extLst>
            <c:ext xmlns:c16="http://schemas.microsoft.com/office/drawing/2014/chart" uri="{C3380CC4-5D6E-409C-BE32-E72D297353CC}">
              <c16:uniqueId val="{00000008-9DAC-400E-A2ED-E6C5644DFD45}"/>
            </c:ext>
          </c:extLst>
        </c:ser>
        <c:ser>
          <c:idx val="9"/>
          <c:order val="9"/>
          <c:spPr>
            <a:ln w="12700" cmpd="sng" algn="ctr">
              <a:solidFill>
                <a:schemeClr val="accent2"/>
              </a:solidFill>
              <a:prstDash val="dash"/>
            </a:ln>
          </c:spPr>
          <c:marker>
            <c:symbol val="none"/>
          </c:marker>
          <c:xVal>
            <c:numRef>
              <c:f>Sheet1!$A$1:$AJ$1</c:f>
              <c:numCache>
                <c:formatCode>General</c:formatCode>
                <c:ptCount val="36"/>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pt idx="26">
                  <c:v>2026</c:v>
                </c:pt>
                <c:pt idx="27">
                  <c:v>2027</c:v>
                </c:pt>
                <c:pt idx="28">
                  <c:v>2028</c:v>
                </c:pt>
                <c:pt idx="29">
                  <c:v>2029</c:v>
                </c:pt>
                <c:pt idx="30">
                  <c:v>2030</c:v>
                </c:pt>
                <c:pt idx="31">
                  <c:v>2031</c:v>
                </c:pt>
                <c:pt idx="32">
                  <c:v>2032</c:v>
                </c:pt>
                <c:pt idx="33">
                  <c:v>2033</c:v>
                </c:pt>
                <c:pt idx="34">
                  <c:v>2034</c:v>
                </c:pt>
                <c:pt idx="35">
                  <c:v>2035</c:v>
                </c:pt>
              </c:numCache>
            </c:numRef>
          </c:xVal>
          <c:yVal>
            <c:numRef>
              <c:f>Sheet1!$A$11:$AJ$11</c:f>
              <c:numCache>
                <c:formatCode>General</c:formatCode>
                <c:ptCount val="36"/>
                <c:pt idx="23">
                  <c:v>58.882924916091689</c:v>
                </c:pt>
                <c:pt idx="24">
                  <c:v>51.901462458045842</c:v>
                </c:pt>
                <c:pt idx="25">
                  <c:v>44.92</c:v>
                </c:pt>
                <c:pt idx="26">
                  <c:v>42.736000000000004</c:v>
                </c:pt>
                <c:pt idx="27">
                  <c:v>40.552000000000007</c:v>
                </c:pt>
                <c:pt idx="28">
                  <c:v>38.368000000000009</c:v>
                </c:pt>
                <c:pt idx="29">
                  <c:v>36.184000000000012</c:v>
                </c:pt>
                <c:pt idx="30">
                  <c:v>34</c:v>
                </c:pt>
                <c:pt idx="31">
                  <c:v>32.6</c:v>
                </c:pt>
                <c:pt idx="32">
                  <c:v>31.200000000000003</c:v>
                </c:pt>
                <c:pt idx="33">
                  <c:v>29.800000000000004</c:v>
                </c:pt>
                <c:pt idx="34">
                  <c:v>28.400000000000006</c:v>
                </c:pt>
                <c:pt idx="35">
                  <c:v>27</c:v>
                </c:pt>
              </c:numCache>
            </c:numRef>
          </c:yVal>
          <c:smooth val="0"/>
          <c:extLst>
            <c:ext xmlns:c16="http://schemas.microsoft.com/office/drawing/2014/chart" uri="{C3380CC4-5D6E-409C-BE32-E72D297353CC}">
              <c16:uniqueId val="{00000009-9DAC-400E-A2ED-E6C5644DFD45}"/>
            </c:ext>
          </c:extLst>
        </c:ser>
        <c:dLbls>
          <c:showLegendKey val="0"/>
          <c:showVal val="0"/>
          <c:showCatName val="0"/>
          <c:showSerName val="0"/>
          <c:showPercent val="0"/>
          <c:showBubbleSize val="0"/>
        </c:dLbls>
        <c:axId val="4"/>
        <c:axId val="5"/>
      </c:scatterChart>
      <c:valAx>
        <c:axId val="4"/>
        <c:scaling>
          <c:orientation val="minMax"/>
          <c:max val="2035"/>
          <c:min val="2000"/>
        </c:scaling>
        <c:delete val="0"/>
        <c:axPos val="b"/>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000" kern="1200">
                <a:solidFill>
                  <a:schemeClr val="tx1"/>
                </a:solidFill>
                <a:latin typeface="Century Gothic"/>
                <a:ea typeface="Verdana"/>
                <a:cs typeface="Inter"/>
              </a:defRPr>
            </a:pPr>
            <a:endParaRPr lang="en-US"/>
          </a:p>
        </c:txPr>
        <c:crossAx val="5"/>
        <c:crosses val="min"/>
        <c:crossBetween val="midCat"/>
        <c:majorUnit val="5"/>
      </c:valAx>
      <c:valAx>
        <c:axId val="5"/>
        <c:scaling>
          <c:orientation val="minMax"/>
          <c:max val="6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000" kern="1200">
                <a:solidFill>
                  <a:schemeClr val="tx1"/>
                </a:solidFill>
                <a:latin typeface="Century Gothic"/>
                <a:ea typeface="Verdana"/>
                <a:cs typeface="Inter"/>
              </a:defRPr>
            </a:pPr>
            <a:endParaRPr lang="en-US"/>
          </a:p>
        </c:txPr>
        <c:crossAx val="4"/>
        <c:crosses val="min"/>
        <c:crossBetween val="midCat"/>
        <c:majorUnit val="5"/>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49199762892709"/>
          <c:y val="0.21953488372093025"/>
          <c:w val="0.79016004742145818"/>
          <c:h val="0.73209302325581394"/>
        </c:manualLayout>
      </c:layout>
      <c:scatterChart>
        <c:scatterStyle val="lineMarker"/>
        <c:varyColors val="0"/>
        <c:ser>
          <c:idx val="0"/>
          <c:order val="0"/>
          <c:spPr>
            <a:ln>
              <a:noFill/>
            </a:ln>
          </c:spPr>
          <c:marker>
            <c:symbol val="none"/>
          </c:marker>
          <c:dPt>
            <c:idx val="0"/>
            <c:marker>
              <c:symbol val="circle"/>
              <c:size val="10"/>
              <c:spPr>
                <a:solidFill>
                  <a:srgbClr val="235DFF"/>
                </a:solidFill>
                <a:ln w="9525" cmpd="sng" algn="ctr">
                  <a:solidFill>
                    <a:srgbClr val="235DFF"/>
                  </a:solidFill>
                  <a:prstDash val="solid"/>
                </a:ln>
              </c:spPr>
            </c:marker>
            <c:bubble3D val="0"/>
            <c:extLst>
              <c:ext xmlns:c16="http://schemas.microsoft.com/office/drawing/2014/chart" uri="{C3380CC4-5D6E-409C-BE32-E72D297353CC}">
                <c16:uniqueId val="{00000000-E695-4BF8-A9BD-447A256DE98A}"/>
              </c:ext>
            </c:extLst>
          </c:dPt>
          <c:dPt>
            <c:idx val="1"/>
            <c:marker>
              <c:symbol val="circle"/>
              <c:size val="10"/>
              <c:spPr>
                <a:solidFill>
                  <a:srgbClr val="235DFF"/>
                </a:solidFill>
                <a:ln w="9525" cmpd="sng" algn="ctr">
                  <a:solidFill>
                    <a:srgbClr val="235DFF"/>
                  </a:solidFill>
                  <a:prstDash val="solid"/>
                </a:ln>
              </c:spPr>
            </c:marker>
            <c:bubble3D val="0"/>
            <c:extLst>
              <c:ext xmlns:c16="http://schemas.microsoft.com/office/drawing/2014/chart" uri="{C3380CC4-5D6E-409C-BE32-E72D297353CC}">
                <c16:uniqueId val="{00000001-E695-4BF8-A9BD-447A256DE98A}"/>
              </c:ext>
            </c:extLst>
          </c:dPt>
          <c:dPt>
            <c:idx val="2"/>
            <c:marker>
              <c:symbol val="circle"/>
              <c:size val="10"/>
              <c:spPr>
                <a:solidFill>
                  <a:srgbClr val="235DFF"/>
                </a:solidFill>
                <a:ln w="9525" cmpd="sng" algn="ctr">
                  <a:solidFill>
                    <a:srgbClr val="235DFF"/>
                  </a:solidFill>
                  <a:prstDash val="solid"/>
                </a:ln>
              </c:spPr>
            </c:marker>
            <c:bubble3D val="0"/>
            <c:extLst>
              <c:ext xmlns:c16="http://schemas.microsoft.com/office/drawing/2014/chart" uri="{C3380CC4-5D6E-409C-BE32-E72D297353CC}">
                <c16:uniqueId val="{00000002-E695-4BF8-A9BD-447A256DE98A}"/>
              </c:ext>
            </c:extLst>
          </c:dPt>
          <c:dPt>
            <c:idx val="3"/>
            <c:marker>
              <c:symbol val="circle"/>
              <c:size val="10"/>
              <c:spPr>
                <a:solidFill>
                  <a:srgbClr val="235DFF"/>
                </a:solidFill>
                <a:ln w="9525" cmpd="sng" algn="ctr">
                  <a:solidFill>
                    <a:srgbClr val="235DFF"/>
                  </a:solidFill>
                  <a:prstDash val="solid"/>
                </a:ln>
              </c:spPr>
            </c:marker>
            <c:bubble3D val="0"/>
            <c:extLst>
              <c:ext xmlns:c16="http://schemas.microsoft.com/office/drawing/2014/chart" uri="{C3380CC4-5D6E-409C-BE32-E72D297353CC}">
                <c16:uniqueId val="{00000003-E695-4BF8-A9BD-447A256DE98A}"/>
              </c:ext>
            </c:extLst>
          </c:dPt>
          <c:dPt>
            <c:idx val="4"/>
            <c:marker>
              <c:symbol val="circle"/>
              <c:size val="10"/>
              <c:spPr>
                <a:solidFill>
                  <a:srgbClr val="235DFF"/>
                </a:solidFill>
                <a:ln w="9525" cmpd="sng" algn="ctr">
                  <a:solidFill>
                    <a:srgbClr val="235DFF"/>
                  </a:solidFill>
                  <a:prstDash val="solid"/>
                </a:ln>
              </c:spPr>
            </c:marker>
            <c:bubble3D val="0"/>
            <c:extLst>
              <c:ext xmlns:c16="http://schemas.microsoft.com/office/drawing/2014/chart" uri="{C3380CC4-5D6E-409C-BE32-E72D297353CC}">
                <c16:uniqueId val="{00000004-E695-4BF8-A9BD-447A256DE98A}"/>
              </c:ext>
            </c:extLst>
          </c:dPt>
          <c:dPt>
            <c:idx val="5"/>
            <c:marker>
              <c:symbol val="circle"/>
              <c:size val="10"/>
              <c:spPr>
                <a:solidFill>
                  <a:srgbClr val="235DFF"/>
                </a:solidFill>
                <a:ln w="9525" cmpd="sng" algn="ctr">
                  <a:solidFill>
                    <a:srgbClr val="235DFF"/>
                  </a:solidFill>
                  <a:prstDash val="solid"/>
                </a:ln>
              </c:spPr>
            </c:marker>
            <c:bubble3D val="0"/>
            <c:extLst>
              <c:ext xmlns:c16="http://schemas.microsoft.com/office/drawing/2014/chart" uri="{C3380CC4-5D6E-409C-BE32-E72D297353CC}">
                <c16:uniqueId val="{00000005-E695-4BF8-A9BD-447A256DE98A}"/>
              </c:ext>
            </c:extLst>
          </c:dPt>
          <c:errBars>
            <c:errDir val="x"/>
            <c:errBarType val="plus"/>
            <c:errValType val="cust"/>
            <c:noEndCap val="1"/>
            <c:plus>
              <c:numRef>
                <c:f>Sheet1!$A$2:$F$2</c:f>
                <c:numCache>
                  <c:formatCode>General</c:formatCode>
                  <c:ptCount val="6"/>
                  <c:pt idx="0">
                    <c:v>0.39999999999999991</c:v>
                  </c:pt>
                  <c:pt idx="1">
                    <c:v>0.79999999999999982</c:v>
                  </c:pt>
                  <c:pt idx="2">
                    <c:v>0.5</c:v>
                  </c:pt>
                  <c:pt idx="3">
                    <c:v>1.4</c:v>
                  </c:pt>
                  <c:pt idx="4">
                    <c:v>0.60000000000000009</c:v>
                  </c:pt>
                  <c:pt idx="5">
                    <c:v>9.9999999999999867E-2</c:v>
                  </c:pt>
                </c:numCache>
              </c:numRef>
            </c:plus>
            <c:spPr>
              <a:ln w="38100" cmpd="sng" algn="ctr">
                <a:solidFill>
                  <a:srgbClr val="969696"/>
                </a:solidFill>
                <a:prstDash val="solid"/>
              </a:ln>
            </c:spPr>
          </c:errBars>
          <c:xVal>
            <c:numRef>
              <c:f>Sheet1!$A$3:$F$3</c:f>
              <c:numCache>
                <c:formatCode>General</c:formatCode>
                <c:ptCount val="6"/>
                <c:pt idx="0">
                  <c:v>2.2000000000000002</c:v>
                </c:pt>
                <c:pt idx="1">
                  <c:v>2</c:v>
                </c:pt>
                <c:pt idx="2">
                  <c:v>2.2999999999999998</c:v>
                </c:pt>
                <c:pt idx="3">
                  <c:v>1.4</c:v>
                </c:pt>
                <c:pt idx="4">
                  <c:v>2.1</c:v>
                </c:pt>
                <c:pt idx="5">
                  <c:v>1.8</c:v>
                </c:pt>
              </c:numCache>
            </c:numRef>
          </c:xVal>
          <c:yVal>
            <c:numRef>
              <c:f>Sheet1!$A$1:$F$1</c:f>
              <c:numCache>
                <c:formatCode>General</c:formatCode>
                <c:ptCount val="6"/>
                <c:pt idx="0">
                  <c:v>0</c:v>
                </c:pt>
                <c:pt idx="1">
                  <c:v>1</c:v>
                </c:pt>
                <c:pt idx="2">
                  <c:v>2</c:v>
                </c:pt>
                <c:pt idx="3">
                  <c:v>3</c:v>
                </c:pt>
                <c:pt idx="4">
                  <c:v>4</c:v>
                </c:pt>
                <c:pt idx="5">
                  <c:v>5</c:v>
                </c:pt>
              </c:numCache>
            </c:numRef>
          </c:yVal>
          <c:smooth val="0"/>
          <c:extLst>
            <c:ext xmlns:c16="http://schemas.microsoft.com/office/drawing/2014/chart" uri="{C3380CC4-5D6E-409C-BE32-E72D297353CC}">
              <c16:uniqueId val="{00000006-E695-4BF8-A9BD-447A256DE98A}"/>
            </c:ext>
          </c:extLst>
        </c:ser>
        <c:ser>
          <c:idx val="1"/>
          <c:order val="1"/>
          <c:spPr>
            <a:ln>
              <a:noFill/>
            </a:ln>
          </c:spPr>
          <c:marker>
            <c:symbol val="none"/>
          </c:marker>
          <c:dPt>
            <c:idx val="0"/>
            <c:marker>
              <c:symbol val="circle"/>
              <c:size val="10"/>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7-E695-4BF8-A9BD-447A256DE98A}"/>
              </c:ext>
            </c:extLst>
          </c:dPt>
          <c:dPt>
            <c:idx val="1"/>
            <c:marker>
              <c:symbol val="circle"/>
              <c:size val="10"/>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8-E695-4BF8-A9BD-447A256DE98A}"/>
              </c:ext>
            </c:extLst>
          </c:dPt>
          <c:dPt>
            <c:idx val="2"/>
            <c:marker>
              <c:symbol val="circle"/>
              <c:size val="10"/>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9-E695-4BF8-A9BD-447A256DE98A}"/>
              </c:ext>
            </c:extLst>
          </c:dPt>
          <c:dPt>
            <c:idx val="3"/>
            <c:marker>
              <c:symbol val="circle"/>
              <c:size val="10"/>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A-E695-4BF8-A9BD-447A256DE98A}"/>
              </c:ext>
            </c:extLst>
          </c:dPt>
          <c:dPt>
            <c:idx val="4"/>
            <c:marker>
              <c:symbol val="circle"/>
              <c:size val="10"/>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B-E695-4BF8-A9BD-447A256DE98A}"/>
              </c:ext>
            </c:extLst>
          </c:dPt>
          <c:dPt>
            <c:idx val="5"/>
            <c:marker>
              <c:symbol val="circle"/>
              <c:size val="10"/>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C-E695-4BF8-A9BD-447A256DE98A}"/>
              </c:ext>
            </c:extLst>
          </c:dPt>
          <c:xVal>
            <c:numRef>
              <c:f>Sheet1!$A$4:$F$4</c:f>
              <c:numCache>
                <c:formatCode>General</c:formatCode>
                <c:ptCount val="6"/>
                <c:pt idx="0">
                  <c:v>2.6</c:v>
                </c:pt>
                <c:pt idx="1">
                  <c:v>2.8</c:v>
                </c:pt>
                <c:pt idx="2">
                  <c:v>2.8</c:v>
                </c:pt>
                <c:pt idx="3">
                  <c:v>2.8</c:v>
                </c:pt>
                <c:pt idx="4">
                  <c:v>2.7</c:v>
                </c:pt>
                <c:pt idx="5">
                  <c:v>1.9</c:v>
                </c:pt>
              </c:numCache>
            </c:numRef>
          </c:xVal>
          <c:yVal>
            <c:numRef>
              <c:f>Sheet1!$A$1:$F$1</c:f>
              <c:numCache>
                <c:formatCode>General</c:formatCode>
                <c:ptCount val="6"/>
                <c:pt idx="0">
                  <c:v>0</c:v>
                </c:pt>
                <c:pt idx="1">
                  <c:v>1</c:v>
                </c:pt>
                <c:pt idx="2">
                  <c:v>2</c:v>
                </c:pt>
                <c:pt idx="3">
                  <c:v>3</c:v>
                </c:pt>
                <c:pt idx="4">
                  <c:v>4</c:v>
                </c:pt>
                <c:pt idx="5">
                  <c:v>5</c:v>
                </c:pt>
              </c:numCache>
            </c:numRef>
          </c:yVal>
          <c:smooth val="0"/>
          <c:extLst>
            <c:ext xmlns:c16="http://schemas.microsoft.com/office/drawing/2014/chart" uri="{C3380CC4-5D6E-409C-BE32-E72D297353CC}">
              <c16:uniqueId val="{0000000D-E695-4BF8-A9BD-447A256DE98A}"/>
            </c:ext>
          </c:extLst>
        </c:ser>
        <c:dLbls>
          <c:showLegendKey val="0"/>
          <c:showVal val="0"/>
          <c:showCatName val="0"/>
          <c:showSerName val="0"/>
          <c:showPercent val="0"/>
          <c:showBubbleSize val="0"/>
        </c:dLbls>
        <c:axId val="5"/>
        <c:axId val="4"/>
      </c:scatterChart>
      <c:valAx>
        <c:axId val="4"/>
        <c:scaling>
          <c:orientation val="maxMin"/>
          <c:max val="5.5"/>
          <c:min val="-0.5"/>
        </c:scaling>
        <c:delete val="0"/>
        <c:axPos val="l"/>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5"/>
        <c:crosses val="min"/>
        <c:crossBetween val="midCat"/>
      </c:valAx>
      <c:valAx>
        <c:axId val="5"/>
        <c:scaling>
          <c:orientation val="minMax"/>
          <c:max val="5"/>
          <c:min val="0"/>
        </c:scaling>
        <c:delete val="0"/>
        <c:axPos val="t"/>
        <c:majorGridlines>
          <c:spPr>
            <a:ln>
              <a:noFill/>
            </a:ln>
          </c:spPr>
        </c:majorGridlines>
        <c:numFmt formatCode="#,##0&quot;°C&quot;;&quot;-&quot;#,##0&quot;°C&quot;" sourceLinked="0"/>
        <c:majorTickMark val="out"/>
        <c:minorTickMark val="none"/>
        <c:tickLblPos val="nextTo"/>
        <c:spPr>
          <a:ln w="9525" cmpd="sng" algn="ctr">
            <a:solidFill>
              <a:schemeClr val="tx1"/>
            </a:solidFill>
            <a:prstDash val="solid"/>
          </a:ln>
        </c:spPr>
        <c:txPr>
          <a:bodyPr wrap="none"/>
          <a:lstStyle/>
          <a:p>
            <a:pPr>
              <a:defRPr sz="1000" kern="1200">
                <a:solidFill>
                  <a:schemeClr val="tx1"/>
                </a:solidFill>
                <a:latin typeface="Century Gothic"/>
                <a:ea typeface="Verdana"/>
                <a:cs typeface="Inter"/>
              </a:defRPr>
            </a:pPr>
            <a:endParaRPr lang="en-US"/>
          </a:p>
        </c:txPr>
        <c:crossAx val="4"/>
        <c:crosses val="min"/>
        <c:crossBetween val="between"/>
        <c:majorUnit val="1"/>
      </c:valAx>
    </c:plotArea>
    <c:plotVisOnly val="0"/>
    <c:dispBlanksAs val="gap"/>
    <c:showDLblsOverMax val="1"/>
  </c:chart>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1BD6CAA1-54DB-A020-154B-518581C7734E}"/>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6445F2EC-8741-F0C1-F625-618D6DFA1C08}"/>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A15DA95-40CC-43D2-97A6-31EBE443E36F}" type="datetimeFigureOut">
              <a:rPr lang="en-GB" smtClean="0"/>
              <a:t>27/06/2024</a:t>
            </a:fld>
            <a:endParaRPr lang="en-GB"/>
          </a:p>
        </p:txBody>
      </p:sp>
      <p:sp>
        <p:nvSpPr>
          <p:cNvPr id="4" name="Footer Placeholder 3">
            <a:extLst>
              <a:ext uri="{FF2B5EF4-FFF2-40B4-BE49-F238E27FC236}">
                <a16:creationId xmlns:a16="http://schemas.microsoft.com/office/drawing/2014/main" id="{5BB2ADF7-CFFD-EC7E-5FCC-C120669FC497}"/>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E1614EDC-32E9-2FA7-4C9D-017EE8662769}"/>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E8FD2E8C-D18C-48C1-9E0F-194A869C1EAF}" type="slidenum">
              <a:rPr lang="en-GB" smtClean="0"/>
              <a:t>‹#›</a:t>
            </a:fld>
            <a:endParaRPr lang="en-GB"/>
          </a:p>
        </p:txBody>
      </p:sp>
    </p:spTree>
    <p:extLst>
      <p:ext uri="{BB962C8B-B14F-4D97-AF65-F5344CB8AC3E}">
        <p14:creationId xmlns:p14="http://schemas.microsoft.com/office/powerpoint/2010/main" val="33016845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8570385-50D0-4D57-BD49-1D2910AF7A9F}" type="datetimeFigureOut">
              <a:rPr lang="en-GB" smtClean="0"/>
              <a:t>27/06/2024</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152752A-A6BF-4D42-A87A-CD18ACBA4082}" type="slidenum">
              <a:rPr lang="en-GB" smtClean="0"/>
              <a:t>‹#›</a:t>
            </a:fld>
            <a:endParaRPr lang="en-GB"/>
          </a:p>
        </p:txBody>
      </p:sp>
    </p:spTree>
    <p:extLst>
      <p:ext uri="{BB962C8B-B14F-4D97-AF65-F5344CB8AC3E}">
        <p14:creationId xmlns:p14="http://schemas.microsoft.com/office/powerpoint/2010/main" val="312776204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9CE31E-6205-4E61-B1DE-4C9B4809D9A7}"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695054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GB"/>
          </a:p>
        </p:txBody>
      </p:sp>
      <p:sp>
        <p:nvSpPr>
          <p:cNvPr id="4" name="Slide Number Placeholder 3"/>
          <p:cNvSpPr>
            <a:spLocks noGrp="1"/>
          </p:cNvSpPr>
          <p:nvPr>
            <p:ph type="sldNum" sz="quarter" idx="5"/>
          </p:nvPr>
        </p:nvSpPr>
        <p:spPr/>
        <p:txBody>
          <a:bodyPr/>
          <a:lstStyle/>
          <a:p>
            <a:fld id="{A528D2FF-12CA-41B7-B7AD-468C4FF40B71}" type="slidenum">
              <a:rPr lang="en-GB" smtClean="0"/>
              <a:pPr/>
              <a:t>8</a:t>
            </a:fld>
            <a:endParaRPr lang="en-GB"/>
          </a:p>
        </p:txBody>
      </p:sp>
    </p:spTree>
    <p:extLst>
      <p:ext uri="{BB962C8B-B14F-4D97-AF65-F5344CB8AC3E}">
        <p14:creationId xmlns:p14="http://schemas.microsoft.com/office/powerpoint/2010/main" val="17791290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5152752A-A6BF-4D42-A87A-CD18ACBA4082}" type="slidenum">
              <a:rPr lang="en-GB" smtClean="0"/>
              <a:t>11</a:t>
            </a:fld>
            <a:endParaRPr lang="en-GB"/>
          </a:p>
        </p:txBody>
      </p:sp>
    </p:spTree>
    <p:extLst>
      <p:ext uri="{BB962C8B-B14F-4D97-AF65-F5344CB8AC3E}">
        <p14:creationId xmlns:p14="http://schemas.microsoft.com/office/powerpoint/2010/main" val="247098907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a:t>Buildings: https://worldgbc.org/advancing-net-zero/embodied-carbon/</a:t>
            </a:r>
          </a:p>
          <a:p>
            <a:pPr marL="171450" indent="-171450">
              <a:buFontTx/>
              <a:buChar char="-"/>
            </a:pPr>
            <a:r>
              <a:rPr lang="en-US"/>
              <a:t>Light industry: https://ourworldindata.org/ghg-emissions-by-sector</a:t>
            </a:r>
          </a:p>
        </p:txBody>
      </p:sp>
      <p:sp>
        <p:nvSpPr>
          <p:cNvPr id="4" name="Slide Number Placeholder 3"/>
          <p:cNvSpPr>
            <a:spLocks noGrp="1"/>
          </p:cNvSpPr>
          <p:nvPr>
            <p:ph type="sldNum" sz="quarter" idx="5"/>
          </p:nvPr>
        </p:nvSpPr>
        <p:spPr/>
        <p:txBody>
          <a:bodyPr/>
          <a:lstStyle/>
          <a:p>
            <a:fld id="{5152752A-A6BF-4D42-A87A-CD18ACBA4082}" type="slidenum">
              <a:rPr lang="en-GB" smtClean="0"/>
              <a:t>13</a:t>
            </a:fld>
            <a:endParaRPr lang="en-GB"/>
          </a:p>
        </p:txBody>
      </p:sp>
    </p:spTree>
    <p:extLst>
      <p:ext uri="{BB962C8B-B14F-4D97-AF65-F5344CB8AC3E}">
        <p14:creationId xmlns:p14="http://schemas.microsoft.com/office/powerpoint/2010/main" val="35480593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7326FC1-FE40-46DC-9C30-F9714AD4CED6}" type="slidenum">
              <a:rPr lang="en-GB" smtClean="0"/>
              <a:t>15</a:t>
            </a:fld>
            <a:endParaRPr lang="en-GB"/>
          </a:p>
        </p:txBody>
      </p:sp>
    </p:spTree>
    <p:extLst>
      <p:ext uri="{BB962C8B-B14F-4D97-AF65-F5344CB8AC3E}">
        <p14:creationId xmlns:p14="http://schemas.microsoft.com/office/powerpoint/2010/main" val="106862321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GB"/>
          </a:p>
        </p:txBody>
      </p:sp>
      <p:sp>
        <p:nvSpPr>
          <p:cNvPr id="4" name="Slide Number Placeholder 3"/>
          <p:cNvSpPr>
            <a:spLocks noGrp="1"/>
          </p:cNvSpPr>
          <p:nvPr>
            <p:ph type="sldNum" sz="quarter" idx="5"/>
          </p:nvPr>
        </p:nvSpPr>
        <p:spPr/>
        <p:txBody>
          <a:bodyPr/>
          <a:lstStyle/>
          <a:p>
            <a:fld id="{A528D2FF-12CA-41B7-B7AD-468C4FF40B71}" type="slidenum">
              <a:rPr lang="en-GB" smtClean="0"/>
              <a:pPr/>
              <a:t>16</a:t>
            </a:fld>
            <a:endParaRPr lang="en-GB"/>
          </a:p>
        </p:txBody>
      </p:sp>
    </p:spTree>
    <p:extLst>
      <p:ext uri="{BB962C8B-B14F-4D97-AF65-F5344CB8AC3E}">
        <p14:creationId xmlns:p14="http://schemas.microsoft.com/office/powerpoint/2010/main" val="241958463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1.png"/><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image" Target="../media/image5.png"/></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1.xml"/><Relationship Id="rId1" Type="http://schemas.openxmlformats.org/officeDocument/2006/relationships/tags" Target="../tags/tag160.xml"/><Relationship Id="rId5" Type="http://schemas.openxmlformats.org/officeDocument/2006/relationships/image" Target="../media/image1.emf"/><Relationship Id="rId4" Type="http://schemas.openxmlformats.org/officeDocument/2006/relationships/oleObject" Target="../embeddings/oleObject82.bin"/></Relationships>
</file>

<file path=ppt/slideLayouts/_rels/slideLayout102.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64.xml"/><Relationship Id="rId7" Type="http://schemas.openxmlformats.org/officeDocument/2006/relationships/tags" Target="../tags/tag168.xml"/><Relationship Id="rId2" Type="http://schemas.openxmlformats.org/officeDocument/2006/relationships/tags" Target="../tags/tag163.xml"/><Relationship Id="rId1" Type="http://schemas.openxmlformats.org/officeDocument/2006/relationships/tags" Target="../tags/tag162.xml"/><Relationship Id="rId6" Type="http://schemas.openxmlformats.org/officeDocument/2006/relationships/tags" Target="../tags/tag167.xml"/><Relationship Id="rId5" Type="http://schemas.openxmlformats.org/officeDocument/2006/relationships/tags" Target="../tags/tag166.xml"/><Relationship Id="rId10" Type="http://schemas.openxmlformats.org/officeDocument/2006/relationships/image" Target="../media/image14.emf"/><Relationship Id="rId4" Type="http://schemas.openxmlformats.org/officeDocument/2006/relationships/tags" Target="../tags/tag165.xml"/><Relationship Id="rId9" Type="http://schemas.openxmlformats.org/officeDocument/2006/relationships/oleObject" Target="../embeddings/oleObject83.bin"/></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6.png"/><Relationship Id="rId2" Type="http://schemas.openxmlformats.org/officeDocument/2006/relationships/tags" Target="../tags/tag172.xml"/><Relationship Id="rId1" Type="http://schemas.openxmlformats.org/officeDocument/2006/relationships/tags" Target="../tags/tag171.xml"/><Relationship Id="rId6" Type="http://schemas.openxmlformats.org/officeDocument/2006/relationships/image" Target="../media/image1.emf"/><Relationship Id="rId5" Type="http://schemas.openxmlformats.org/officeDocument/2006/relationships/oleObject" Target="../embeddings/oleObject85.bin"/><Relationship Id="rId4" Type="http://schemas.openxmlformats.org/officeDocument/2006/relationships/image" Target="../media/image5.png"/></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74.xml"/><Relationship Id="rId1" Type="http://schemas.openxmlformats.org/officeDocument/2006/relationships/tags" Target="../tags/tag173.xml"/><Relationship Id="rId5" Type="http://schemas.openxmlformats.org/officeDocument/2006/relationships/image" Target="../media/image1.emf"/><Relationship Id="rId4" Type="http://schemas.openxmlformats.org/officeDocument/2006/relationships/oleObject" Target="../embeddings/oleObject86.bin"/></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76.xml"/><Relationship Id="rId1" Type="http://schemas.openxmlformats.org/officeDocument/2006/relationships/tags" Target="../tags/tag175.xml"/><Relationship Id="rId5" Type="http://schemas.openxmlformats.org/officeDocument/2006/relationships/image" Target="../media/image1.emf"/><Relationship Id="rId4" Type="http://schemas.openxmlformats.org/officeDocument/2006/relationships/oleObject" Target="../embeddings/oleObject87.bin"/></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78.xml"/><Relationship Id="rId1" Type="http://schemas.openxmlformats.org/officeDocument/2006/relationships/tags" Target="../tags/tag177.xml"/><Relationship Id="rId5" Type="http://schemas.openxmlformats.org/officeDocument/2006/relationships/image" Target="../media/image1.emf"/><Relationship Id="rId4" Type="http://schemas.openxmlformats.org/officeDocument/2006/relationships/oleObject" Target="../embeddings/oleObject88.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11.png"/><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tags" Target="../tags/tag29.x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tags" Target="../tags/tag31.x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tags" Target="../tags/tag33.xml"/><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tags" Target="../tags/tag35.xml"/><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8.xml"/><Relationship Id="rId1" Type="http://schemas.openxmlformats.org/officeDocument/2006/relationships/tags" Target="../tags/tag37.xml"/><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0.xml"/><Relationship Id="rId1" Type="http://schemas.openxmlformats.org/officeDocument/2006/relationships/tags" Target="../tags/tag39.xml"/><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2.xml"/><Relationship Id="rId1" Type="http://schemas.openxmlformats.org/officeDocument/2006/relationships/tags" Target="../tags/tag41.x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oleObject" Target="../embeddings/oleObject5.bin"/><Relationship Id="rId5" Type="http://schemas.openxmlformats.org/officeDocument/2006/relationships/image" Target="../media/image4.emf"/><Relationship Id="rId4" Type="http://schemas.openxmlformats.org/officeDocument/2006/relationships/oleObject" Target="../embeddings/oleObject4.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4.xml"/><Relationship Id="rId1" Type="http://schemas.openxmlformats.org/officeDocument/2006/relationships/tags" Target="../tags/tag43.xml"/><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6.xml"/><Relationship Id="rId1" Type="http://schemas.openxmlformats.org/officeDocument/2006/relationships/tags" Target="../tags/tag45.xml"/><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8.xml"/><Relationship Id="rId1" Type="http://schemas.openxmlformats.org/officeDocument/2006/relationships/tags" Target="../tags/tag47.xml"/><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0.xml"/><Relationship Id="rId1" Type="http://schemas.openxmlformats.org/officeDocument/2006/relationships/tags" Target="../tags/tag49.xml"/><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2.xml"/><Relationship Id="rId1" Type="http://schemas.openxmlformats.org/officeDocument/2006/relationships/tags" Target="../tags/tag51.xml"/><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4.xml"/><Relationship Id="rId1" Type="http://schemas.openxmlformats.org/officeDocument/2006/relationships/tags" Target="../tags/tag53.x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6.xml"/><Relationship Id="rId1" Type="http://schemas.openxmlformats.org/officeDocument/2006/relationships/tags" Target="../tags/tag55.xml"/><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8.xml"/><Relationship Id="rId1" Type="http://schemas.openxmlformats.org/officeDocument/2006/relationships/tags" Target="../tags/tag57.xml"/><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0.xml"/><Relationship Id="rId1" Type="http://schemas.openxmlformats.org/officeDocument/2006/relationships/tags" Target="../tags/tag59.xml"/><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oleObject" Target="../embeddings/oleObject7.bin"/><Relationship Id="rId5" Type="http://schemas.openxmlformats.org/officeDocument/2006/relationships/image" Target="../media/image4.emf"/><Relationship Id="rId4" Type="http://schemas.openxmlformats.org/officeDocument/2006/relationships/oleObject" Target="../embeddings/oleObject6.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2.xml"/><Relationship Id="rId1" Type="http://schemas.openxmlformats.org/officeDocument/2006/relationships/tags" Target="../tags/tag61.xml"/><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4.xml"/><Relationship Id="rId1" Type="http://schemas.openxmlformats.org/officeDocument/2006/relationships/tags" Target="../tags/tag63.xml"/><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6.xml"/><Relationship Id="rId1" Type="http://schemas.openxmlformats.org/officeDocument/2006/relationships/tags" Target="../tags/tag65.xml"/><Relationship Id="rId5" Type="http://schemas.openxmlformats.org/officeDocument/2006/relationships/image" Target="../media/image1.emf"/><Relationship Id="rId4" Type="http://schemas.openxmlformats.org/officeDocument/2006/relationships/oleObject" Target="../embeddings/oleObject35.bin"/></Relationships>
</file>

<file path=ppt/slideLayouts/_rels/slideLayout3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69.xml"/><Relationship Id="rId7" Type="http://schemas.openxmlformats.org/officeDocument/2006/relationships/tags" Target="../tags/tag73.xml"/><Relationship Id="rId2" Type="http://schemas.openxmlformats.org/officeDocument/2006/relationships/tags" Target="../tags/tag68.xml"/><Relationship Id="rId1" Type="http://schemas.openxmlformats.org/officeDocument/2006/relationships/tags" Target="../tags/tag67.xml"/><Relationship Id="rId6" Type="http://schemas.openxmlformats.org/officeDocument/2006/relationships/tags" Target="../tags/tag72.xml"/><Relationship Id="rId5" Type="http://schemas.openxmlformats.org/officeDocument/2006/relationships/tags" Target="../tags/tag71.xml"/><Relationship Id="rId10" Type="http://schemas.openxmlformats.org/officeDocument/2006/relationships/image" Target="../media/image14.emf"/><Relationship Id="rId4" Type="http://schemas.openxmlformats.org/officeDocument/2006/relationships/tags" Target="../tags/tag70.xml"/><Relationship Id="rId9" Type="http://schemas.openxmlformats.org/officeDocument/2006/relationships/oleObject" Target="../embeddings/oleObject36.bin"/></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1.xml"/><Relationship Id="rId1" Type="http://schemas.openxmlformats.org/officeDocument/2006/relationships/tags" Target="../tags/tag74.xml"/><Relationship Id="rId4" Type="http://schemas.openxmlformats.org/officeDocument/2006/relationships/image" Target="../media/image15.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1.xml"/><Relationship Id="rId1" Type="http://schemas.openxmlformats.org/officeDocument/2006/relationships/tags" Target="../tags/tag75.xml"/><Relationship Id="rId4" Type="http://schemas.openxmlformats.org/officeDocument/2006/relationships/image" Target="../media/image16.emf"/></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image" Target="../media/image5.pn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7.xml"/><Relationship Id="rId1" Type="http://schemas.openxmlformats.org/officeDocument/2006/relationships/tags" Target="../tags/tag76.xml"/><Relationship Id="rId5" Type="http://schemas.openxmlformats.org/officeDocument/2006/relationships/image" Target="../media/image1.emf"/><Relationship Id="rId4" Type="http://schemas.openxmlformats.org/officeDocument/2006/relationships/oleObject" Target="../embeddings/oleObject39.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9.xml"/><Relationship Id="rId1" Type="http://schemas.openxmlformats.org/officeDocument/2006/relationships/tags" Target="../tags/tag78.xml"/><Relationship Id="rId5" Type="http://schemas.openxmlformats.org/officeDocument/2006/relationships/image" Target="../media/image1.emf"/><Relationship Id="rId4" Type="http://schemas.openxmlformats.org/officeDocument/2006/relationships/oleObject" Target="../embeddings/oleObject40.bin"/></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1.xml"/><Relationship Id="rId1" Type="http://schemas.openxmlformats.org/officeDocument/2006/relationships/tags" Target="../tags/tag80.xml"/><Relationship Id="rId4" Type="http://schemas.openxmlformats.org/officeDocument/2006/relationships/image" Target="../media/image16.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1.xml"/><Relationship Id="rId1" Type="http://schemas.openxmlformats.org/officeDocument/2006/relationships/tags" Target="../tags/tag81.xml"/><Relationship Id="rId4" Type="http://schemas.openxmlformats.org/officeDocument/2006/relationships/image" Target="../media/image16.emf"/></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3.xml"/><Relationship Id="rId1" Type="http://schemas.openxmlformats.org/officeDocument/2006/relationships/tags" Target="../tags/tag82.xml"/><Relationship Id="rId5" Type="http://schemas.openxmlformats.org/officeDocument/2006/relationships/image" Target="../media/image1.emf"/><Relationship Id="rId4" Type="http://schemas.openxmlformats.org/officeDocument/2006/relationships/oleObject" Target="../embeddings/oleObject43.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5.xml"/><Relationship Id="rId1" Type="http://schemas.openxmlformats.org/officeDocument/2006/relationships/tags" Target="../tags/tag84.xml"/><Relationship Id="rId5" Type="http://schemas.openxmlformats.org/officeDocument/2006/relationships/image" Target="../media/image1.emf"/><Relationship Id="rId4" Type="http://schemas.openxmlformats.org/officeDocument/2006/relationships/oleObject" Target="../embeddings/oleObject44.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7.xml"/><Relationship Id="rId1" Type="http://schemas.openxmlformats.org/officeDocument/2006/relationships/tags" Target="../tags/tag86.xml"/><Relationship Id="rId5" Type="http://schemas.openxmlformats.org/officeDocument/2006/relationships/image" Target="../media/image1.emf"/><Relationship Id="rId4" Type="http://schemas.openxmlformats.org/officeDocument/2006/relationships/oleObject" Target="../embeddings/oleObject45.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9.xml"/><Relationship Id="rId1" Type="http://schemas.openxmlformats.org/officeDocument/2006/relationships/tags" Target="../tags/tag88.xml"/><Relationship Id="rId5" Type="http://schemas.openxmlformats.org/officeDocument/2006/relationships/image" Target="../media/image1.emf"/><Relationship Id="rId4" Type="http://schemas.openxmlformats.org/officeDocument/2006/relationships/oleObject" Target="../embeddings/oleObject4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1.xml"/><Relationship Id="rId1" Type="http://schemas.openxmlformats.org/officeDocument/2006/relationships/tags" Target="../tags/tag90.xml"/><Relationship Id="rId5" Type="http://schemas.openxmlformats.org/officeDocument/2006/relationships/image" Target="../media/image1.emf"/><Relationship Id="rId4" Type="http://schemas.openxmlformats.org/officeDocument/2006/relationships/oleObject" Target="../embeddings/oleObject47.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3.xml"/><Relationship Id="rId1" Type="http://schemas.openxmlformats.org/officeDocument/2006/relationships/tags" Target="../tags/tag92.xml"/><Relationship Id="rId5" Type="http://schemas.openxmlformats.org/officeDocument/2006/relationships/image" Target="../media/image1.emf"/><Relationship Id="rId4" Type="http://schemas.openxmlformats.org/officeDocument/2006/relationships/oleObject" Target="../embeddings/oleObject48.bin"/></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5.xml"/><Relationship Id="rId1" Type="http://schemas.openxmlformats.org/officeDocument/2006/relationships/tags" Target="../tags/tag94.xml"/><Relationship Id="rId5" Type="http://schemas.openxmlformats.org/officeDocument/2006/relationships/image" Target="../media/image1.emf"/><Relationship Id="rId4" Type="http://schemas.openxmlformats.org/officeDocument/2006/relationships/oleObject" Target="../embeddings/oleObject49.bin"/></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7.xml"/><Relationship Id="rId1" Type="http://schemas.openxmlformats.org/officeDocument/2006/relationships/tags" Target="../tags/tag96.xml"/><Relationship Id="rId5" Type="http://schemas.openxmlformats.org/officeDocument/2006/relationships/image" Target="../media/image1.emf"/><Relationship Id="rId4" Type="http://schemas.openxmlformats.org/officeDocument/2006/relationships/oleObject" Target="../embeddings/oleObject50.bin"/></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1.xml"/><Relationship Id="rId1" Type="http://schemas.openxmlformats.org/officeDocument/2006/relationships/tags" Target="../tags/tag100.xml"/><Relationship Id="rId5" Type="http://schemas.openxmlformats.org/officeDocument/2006/relationships/image" Target="../media/image1.emf"/><Relationship Id="rId4" Type="http://schemas.openxmlformats.org/officeDocument/2006/relationships/oleObject" Target="../embeddings/oleObject52.bin"/></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oleObject" Target="../embeddings/oleObject11.bin"/><Relationship Id="rId5" Type="http://schemas.openxmlformats.org/officeDocument/2006/relationships/image" Target="../media/image8.svg"/><Relationship Id="rId4" Type="http://schemas.openxmlformats.org/officeDocument/2006/relationships/image" Target="../media/image7.png"/><Relationship Id="rId9" Type="http://schemas.openxmlformats.org/officeDocument/2006/relationships/image" Target="../media/image10.svg"/></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3.xml"/><Relationship Id="rId1" Type="http://schemas.openxmlformats.org/officeDocument/2006/relationships/tags" Target="../tags/tag102.xml"/><Relationship Id="rId6" Type="http://schemas.openxmlformats.org/officeDocument/2006/relationships/oleObject" Target="../embeddings/oleObject5.bin"/><Relationship Id="rId5" Type="http://schemas.openxmlformats.org/officeDocument/2006/relationships/image" Target="../media/image4.emf"/><Relationship Id="rId4" Type="http://schemas.openxmlformats.org/officeDocument/2006/relationships/oleObject" Target="../embeddings/oleObject53.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oleObject" Target="../embeddings/oleObject7.bin"/><Relationship Id="rId5" Type="http://schemas.openxmlformats.org/officeDocument/2006/relationships/image" Target="../media/image4.emf"/><Relationship Id="rId4" Type="http://schemas.openxmlformats.org/officeDocument/2006/relationships/oleObject" Target="../embeddings/oleObject54.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7.xml"/><Relationship Id="rId1" Type="http://schemas.openxmlformats.org/officeDocument/2006/relationships/tags" Target="../tags/tag106.xml"/><Relationship Id="rId5" Type="http://schemas.openxmlformats.org/officeDocument/2006/relationships/image" Target="../media/image1.emf"/><Relationship Id="rId4" Type="http://schemas.openxmlformats.org/officeDocument/2006/relationships/oleObject" Target="../embeddings/oleObject55.bin"/></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1.png"/><Relationship Id="rId2" Type="http://schemas.openxmlformats.org/officeDocument/2006/relationships/tags" Target="../tags/tag109.xml"/><Relationship Id="rId1" Type="http://schemas.openxmlformats.org/officeDocument/2006/relationships/tags" Target="../tags/tag108.xml"/><Relationship Id="rId6" Type="http://schemas.openxmlformats.org/officeDocument/2006/relationships/image" Target="../media/image1.emf"/><Relationship Id="rId5" Type="http://schemas.openxmlformats.org/officeDocument/2006/relationships/oleObject" Target="../embeddings/oleObject56.bin"/><Relationship Id="rId4" Type="http://schemas.openxmlformats.org/officeDocument/2006/relationships/image" Target="../media/image5.png"/></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1.xml"/><Relationship Id="rId1" Type="http://schemas.openxmlformats.org/officeDocument/2006/relationships/tags" Target="../tags/tag110.xml"/><Relationship Id="rId6" Type="http://schemas.openxmlformats.org/officeDocument/2006/relationships/image" Target="../media/image11.png"/><Relationship Id="rId5" Type="http://schemas.openxmlformats.org/officeDocument/2006/relationships/image" Target="../media/image1.emf"/><Relationship Id="rId4" Type="http://schemas.openxmlformats.org/officeDocument/2006/relationships/oleObject" Target="../embeddings/oleObject57.bin"/></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6.png"/><Relationship Id="rId2" Type="http://schemas.openxmlformats.org/officeDocument/2006/relationships/tags" Target="../tags/tag113.xml"/><Relationship Id="rId1" Type="http://schemas.openxmlformats.org/officeDocument/2006/relationships/tags" Target="../tags/tag112.xml"/><Relationship Id="rId6" Type="http://schemas.openxmlformats.org/officeDocument/2006/relationships/image" Target="../media/image1.emf"/><Relationship Id="rId5" Type="http://schemas.openxmlformats.org/officeDocument/2006/relationships/oleObject" Target="../embeddings/oleObject58.bin"/><Relationship Id="rId4" Type="http://schemas.openxmlformats.org/officeDocument/2006/relationships/image" Target="../media/image5.png"/></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5.xml"/><Relationship Id="rId1" Type="http://schemas.openxmlformats.org/officeDocument/2006/relationships/tags" Target="../tags/tag114.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59.bin"/></Relationships>
</file>

<file path=ppt/slideLayouts/_rels/slideLayout77.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Master" Target="../slideMasters/slideMaster2.xml"/><Relationship Id="rId7" Type="http://schemas.openxmlformats.org/officeDocument/2006/relationships/image" Target="../media/image1.emf"/><Relationship Id="rId2" Type="http://schemas.openxmlformats.org/officeDocument/2006/relationships/tags" Target="../tags/tag117.xml"/><Relationship Id="rId1" Type="http://schemas.openxmlformats.org/officeDocument/2006/relationships/tags" Target="../tags/tag116.xml"/><Relationship Id="rId6" Type="http://schemas.openxmlformats.org/officeDocument/2006/relationships/oleObject" Target="../embeddings/oleObject60.bin"/><Relationship Id="rId5" Type="http://schemas.openxmlformats.org/officeDocument/2006/relationships/image" Target="../media/image8.svg"/><Relationship Id="rId4" Type="http://schemas.openxmlformats.org/officeDocument/2006/relationships/image" Target="../media/image7.png"/><Relationship Id="rId9" Type="http://schemas.openxmlformats.org/officeDocument/2006/relationships/image" Target="../media/image10.svg"/></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8.svg"/><Relationship Id="rId2" Type="http://schemas.openxmlformats.org/officeDocument/2006/relationships/tags" Target="../tags/tag119.xml"/><Relationship Id="rId1" Type="http://schemas.openxmlformats.org/officeDocument/2006/relationships/tags" Target="../tags/tag118.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61.bin"/></Relationships>
</file>

<file path=ppt/slideLayouts/_rels/slideLayout79.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Master" Target="../slideMasters/slideMaster2.xml"/><Relationship Id="rId7" Type="http://schemas.openxmlformats.org/officeDocument/2006/relationships/image" Target="../media/image1.emf"/><Relationship Id="rId2" Type="http://schemas.openxmlformats.org/officeDocument/2006/relationships/tags" Target="../tags/tag121.xml"/><Relationship Id="rId1" Type="http://schemas.openxmlformats.org/officeDocument/2006/relationships/tags" Target="../tags/tag120.xml"/><Relationship Id="rId6" Type="http://schemas.openxmlformats.org/officeDocument/2006/relationships/oleObject" Target="../embeddings/oleObject62.bin"/><Relationship Id="rId5" Type="http://schemas.openxmlformats.org/officeDocument/2006/relationships/image" Target="../media/image8.svg"/><Relationship Id="rId4" Type="http://schemas.openxmlformats.org/officeDocument/2006/relationships/image" Target="../media/image7.png"/><Relationship Id="rId9" Type="http://schemas.openxmlformats.org/officeDocument/2006/relationships/image" Target="../media/image10.svg"/></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8.svg"/><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3.xml"/><Relationship Id="rId1" Type="http://schemas.openxmlformats.org/officeDocument/2006/relationships/tags" Target="../tags/tag122.xml"/><Relationship Id="rId5" Type="http://schemas.openxmlformats.org/officeDocument/2006/relationships/image" Target="../media/image1.emf"/><Relationship Id="rId4" Type="http://schemas.openxmlformats.org/officeDocument/2006/relationships/oleObject" Target="../embeddings/oleObject63.bin"/></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5.xml"/><Relationship Id="rId1" Type="http://schemas.openxmlformats.org/officeDocument/2006/relationships/tags" Target="../tags/tag124.xml"/><Relationship Id="rId5" Type="http://schemas.openxmlformats.org/officeDocument/2006/relationships/image" Target="../media/image1.emf"/><Relationship Id="rId4" Type="http://schemas.openxmlformats.org/officeDocument/2006/relationships/oleObject" Target="../embeddings/oleObject64.bin"/></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7.xml"/><Relationship Id="rId1" Type="http://schemas.openxmlformats.org/officeDocument/2006/relationships/tags" Target="../tags/tag126.xml"/><Relationship Id="rId5" Type="http://schemas.openxmlformats.org/officeDocument/2006/relationships/image" Target="../media/image1.emf"/><Relationship Id="rId4" Type="http://schemas.openxmlformats.org/officeDocument/2006/relationships/oleObject" Target="../embeddings/oleObject65.bin"/></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9.xml"/><Relationship Id="rId1" Type="http://schemas.openxmlformats.org/officeDocument/2006/relationships/tags" Target="../tags/tag128.xml"/><Relationship Id="rId5" Type="http://schemas.openxmlformats.org/officeDocument/2006/relationships/image" Target="../media/image1.emf"/><Relationship Id="rId4" Type="http://schemas.openxmlformats.org/officeDocument/2006/relationships/oleObject" Target="../embeddings/oleObject66.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1.xml"/><Relationship Id="rId1" Type="http://schemas.openxmlformats.org/officeDocument/2006/relationships/tags" Target="../tags/tag130.xml"/><Relationship Id="rId5" Type="http://schemas.openxmlformats.org/officeDocument/2006/relationships/image" Target="../media/image1.emf"/><Relationship Id="rId4" Type="http://schemas.openxmlformats.org/officeDocument/2006/relationships/oleObject" Target="../embeddings/oleObject67.bin"/></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3.xml"/><Relationship Id="rId1" Type="http://schemas.openxmlformats.org/officeDocument/2006/relationships/tags" Target="../tags/tag132.xml"/><Relationship Id="rId5" Type="http://schemas.openxmlformats.org/officeDocument/2006/relationships/image" Target="../media/image1.emf"/><Relationship Id="rId4" Type="http://schemas.openxmlformats.org/officeDocument/2006/relationships/oleObject" Target="../embeddings/oleObject68.bin"/></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5.xml"/><Relationship Id="rId1" Type="http://schemas.openxmlformats.org/officeDocument/2006/relationships/tags" Target="../tags/tag134.xml"/><Relationship Id="rId5" Type="http://schemas.openxmlformats.org/officeDocument/2006/relationships/image" Target="../media/image1.emf"/><Relationship Id="rId4" Type="http://schemas.openxmlformats.org/officeDocument/2006/relationships/oleObject" Target="../embeddings/oleObject69.bin"/></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7.xml"/><Relationship Id="rId1" Type="http://schemas.openxmlformats.org/officeDocument/2006/relationships/tags" Target="../tags/tag136.xml"/><Relationship Id="rId5" Type="http://schemas.openxmlformats.org/officeDocument/2006/relationships/image" Target="../media/image1.emf"/><Relationship Id="rId4" Type="http://schemas.openxmlformats.org/officeDocument/2006/relationships/oleObject" Target="../embeddings/oleObject70.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9.xml"/><Relationship Id="rId1" Type="http://schemas.openxmlformats.org/officeDocument/2006/relationships/tags" Target="../tags/tag138.xml"/><Relationship Id="rId5" Type="http://schemas.openxmlformats.org/officeDocument/2006/relationships/image" Target="../media/image1.emf"/><Relationship Id="rId4" Type="http://schemas.openxmlformats.org/officeDocument/2006/relationships/oleObject" Target="../embeddings/oleObject71.bin"/></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1.xml"/><Relationship Id="rId1" Type="http://schemas.openxmlformats.org/officeDocument/2006/relationships/tags" Target="../tags/tag140.xml"/><Relationship Id="rId5" Type="http://schemas.openxmlformats.org/officeDocument/2006/relationships/image" Target="../media/image1.emf"/><Relationship Id="rId4" Type="http://schemas.openxmlformats.org/officeDocument/2006/relationships/oleObject" Target="../embeddings/oleObject72.bin"/></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oleObject" Target="../embeddings/oleObject13.bin"/><Relationship Id="rId5" Type="http://schemas.openxmlformats.org/officeDocument/2006/relationships/image" Target="../media/image8.svg"/><Relationship Id="rId4" Type="http://schemas.openxmlformats.org/officeDocument/2006/relationships/image" Target="../media/image7.png"/><Relationship Id="rId9" Type="http://schemas.openxmlformats.org/officeDocument/2006/relationships/image" Target="../media/image10.svg"/></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3.xml"/><Relationship Id="rId1" Type="http://schemas.openxmlformats.org/officeDocument/2006/relationships/tags" Target="../tags/tag142.xml"/><Relationship Id="rId5" Type="http://schemas.openxmlformats.org/officeDocument/2006/relationships/image" Target="../media/image1.emf"/><Relationship Id="rId4" Type="http://schemas.openxmlformats.org/officeDocument/2006/relationships/oleObject" Target="../embeddings/oleObject73.bin"/></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5.xml"/><Relationship Id="rId1" Type="http://schemas.openxmlformats.org/officeDocument/2006/relationships/tags" Target="../tags/tag144.xml"/><Relationship Id="rId5" Type="http://schemas.openxmlformats.org/officeDocument/2006/relationships/image" Target="../media/image1.emf"/><Relationship Id="rId4" Type="http://schemas.openxmlformats.org/officeDocument/2006/relationships/oleObject" Target="../embeddings/oleObject74.bin"/></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7.xml"/><Relationship Id="rId1" Type="http://schemas.openxmlformats.org/officeDocument/2006/relationships/tags" Target="../tags/tag146.xml"/><Relationship Id="rId5" Type="http://schemas.openxmlformats.org/officeDocument/2006/relationships/image" Target="../media/image1.emf"/><Relationship Id="rId4" Type="http://schemas.openxmlformats.org/officeDocument/2006/relationships/oleObject" Target="../embeddings/oleObject75.bin"/></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9.xml"/><Relationship Id="rId1" Type="http://schemas.openxmlformats.org/officeDocument/2006/relationships/tags" Target="../tags/tag148.xml"/><Relationship Id="rId5" Type="http://schemas.openxmlformats.org/officeDocument/2006/relationships/image" Target="../media/image1.emf"/><Relationship Id="rId4" Type="http://schemas.openxmlformats.org/officeDocument/2006/relationships/oleObject" Target="../embeddings/oleObject76.bin"/></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1.xml"/><Relationship Id="rId1" Type="http://schemas.openxmlformats.org/officeDocument/2006/relationships/tags" Target="../tags/tag150.xml"/><Relationship Id="rId5" Type="http://schemas.openxmlformats.org/officeDocument/2006/relationships/image" Target="../media/image1.emf"/><Relationship Id="rId4" Type="http://schemas.openxmlformats.org/officeDocument/2006/relationships/oleObject" Target="../embeddings/oleObject77.bin"/></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3.xml"/><Relationship Id="rId1" Type="http://schemas.openxmlformats.org/officeDocument/2006/relationships/tags" Target="../tags/tag152.xml"/><Relationship Id="rId5" Type="http://schemas.openxmlformats.org/officeDocument/2006/relationships/image" Target="../media/image1.emf"/><Relationship Id="rId4" Type="http://schemas.openxmlformats.org/officeDocument/2006/relationships/oleObject" Target="../embeddings/oleObject78.bin"/></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5.xml"/><Relationship Id="rId1" Type="http://schemas.openxmlformats.org/officeDocument/2006/relationships/tags" Target="../tags/tag154.xml"/><Relationship Id="rId5" Type="http://schemas.openxmlformats.org/officeDocument/2006/relationships/image" Target="../media/image1.emf"/><Relationship Id="rId4" Type="http://schemas.openxmlformats.org/officeDocument/2006/relationships/oleObject" Target="../embeddings/oleObject79.bin"/></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7.xml"/><Relationship Id="rId1" Type="http://schemas.openxmlformats.org/officeDocument/2006/relationships/tags" Target="../tags/tag156.xml"/><Relationship Id="rId5" Type="http://schemas.openxmlformats.org/officeDocument/2006/relationships/image" Target="../media/image1.emf"/><Relationship Id="rId4" Type="http://schemas.openxmlformats.org/officeDocument/2006/relationships/oleObject" Target="../embeddings/oleObject80.bin"/></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9.xml"/><Relationship Id="rId1" Type="http://schemas.openxmlformats.org/officeDocument/2006/relationships/tags" Target="../tags/tag158.xml"/><Relationship Id="rId5" Type="http://schemas.openxmlformats.org/officeDocument/2006/relationships/image" Target="../media/image1.emf"/><Relationship Id="rId4" Type="http://schemas.openxmlformats.org/officeDocument/2006/relationships/oleObject" Target="../embeddings/oleObject81.bin"/></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EDA45B5-5911-4386-81CD-CD96E11547C6}"/>
              </a:ext>
            </a:extLst>
          </p:cNvPr>
          <p:cNvGraphicFramePr>
            <a:graphicFrameLocks noChangeAspect="1"/>
          </p:cNvGraphicFramePr>
          <p:nvPr>
            <p:custDataLst>
              <p:tags r:id="rId1"/>
            </p:custDataLst>
            <p:extLst>
              <p:ext uri="{D42A27DB-BD31-4B8C-83A1-F6EECF244321}">
                <p14:modId xmlns:p14="http://schemas.microsoft.com/office/powerpoint/2010/main" val="40565012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8" name="Object 7" hidden="1">
                        <a:extLst>
                          <a:ext uri="{FF2B5EF4-FFF2-40B4-BE49-F238E27FC236}">
                            <a16:creationId xmlns:a16="http://schemas.microsoft.com/office/drawing/2014/main" id="{0EDA45B5-5911-4386-81CD-CD96E11547C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A31FE4A4-5895-4435-8CFD-72D5594F0E33}"/>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4400" b="0" i="0" baseline="0">
              <a:latin typeface="Verdana" panose="020B0604030504040204" pitchFamily="34" charset="0"/>
              <a:ea typeface="+mj-ea"/>
              <a:cs typeface="+mj-cs"/>
              <a:sym typeface="Museo Sans 100"/>
            </a:endParaRPr>
          </a:p>
        </p:txBody>
      </p:sp>
      <p:sp>
        <p:nvSpPr>
          <p:cNvPr id="2" name="Title 1">
            <a:extLst>
              <a:ext uri="{FF2B5EF4-FFF2-40B4-BE49-F238E27FC236}">
                <a16:creationId xmlns:a16="http://schemas.microsoft.com/office/drawing/2014/main" id="{B46FDA69-D678-4682-B1B6-2ABA033D11F0}"/>
              </a:ext>
            </a:extLst>
          </p:cNvPr>
          <p:cNvSpPr>
            <a:spLocks noGrp="1"/>
          </p:cNvSpPr>
          <p:nvPr>
            <p:ph type="title" hasCustomPrompt="1"/>
          </p:nvPr>
        </p:nvSpPr>
        <p:spPr>
          <a:xfrm>
            <a:off x="366779" y="179388"/>
            <a:ext cx="11446626" cy="708715"/>
          </a:xfrm>
        </p:spPr>
        <p:txBody>
          <a:bodyPr vert="horz" lIns="0" tIns="0" rIns="0" bIns="0">
            <a:noAutofit/>
          </a:bodyPr>
          <a:lstStyle>
            <a:lvl1pPr>
              <a:defRPr cap="none"/>
            </a:lvl1pPr>
          </a:lstStyle>
          <a:p>
            <a:r>
              <a:rPr lang="en-US" noProof="0"/>
              <a:t>Click to edit master title style </a:t>
            </a:r>
          </a:p>
        </p:txBody>
      </p:sp>
      <p:sp>
        <p:nvSpPr>
          <p:cNvPr id="3" name="Content Placeholder 2">
            <a:extLst>
              <a:ext uri="{FF2B5EF4-FFF2-40B4-BE49-F238E27FC236}">
                <a16:creationId xmlns:a16="http://schemas.microsoft.com/office/drawing/2014/main" id="{3EF08657-4C6B-414C-8E67-76B6E91427A6}"/>
              </a:ext>
            </a:extLst>
          </p:cNvPr>
          <p:cNvSpPr>
            <a:spLocks noGrp="1"/>
          </p:cNvSpPr>
          <p:nvPr>
            <p:ph idx="1"/>
          </p:nvPr>
        </p:nvSpPr>
        <p:spPr>
          <a:xfrm>
            <a:off x="366779" y="1247775"/>
            <a:ext cx="11446626" cy="4691062"/>
          </a:xfrm>
        </p:spPr>
        <p:txBody>
          <a:bodyPr lIns="72000" tIns="72000" rIns="72000" bIns="72000">
            <a:noAutofit/>
          </a:bodyPr>
          <a:lstStyle>
            <a:lvl1pPr>
              <a:buFont typeface="Arial" panose="020B0604020202020204" pitchFamily="34" charset="0"/>
              <a:buChar char="•"/>
              <a:defRPr/>
            </a:lvl1pPr>
            <a:lvl2pPr marL="360000" indent="-180000">
              <a:buFont typeface="Lato" panose="020F0502020204030203" pitchFamily="34" charset="0"/>
              <a:buChar char="-"/>
              <a:defRPr/>
            </a:lvl2pPr>
            <a:lvl3pPr>
              <a:buFont typeface="Arial" panose="020B0604020202020204" pitchFamily="34" charset="0"/>
              <a:buChar char="•"/>
              <a:defRPr/>
            </a:lvl3pPr>
            <a:lvl4pPr marL="720000" indent="-180000">
              <a:buFont typeface="Lato" panose="020F0502020204030203" pitchFamily="34" charset="0"/>
              <a:buChar char="-"/>
              <a:defRPr/>
            </a:lvl4pPr>
            <a:lvl5pPr>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Slide Number Placeholder 5">
            <a:extLst>
              <a:ext uri="{FF2B5EF4-FFF2-40B4-BE49-F238E27FC236}">
                <a16:creationId xmlns:a16="http://schemas.microsoft.com/office/drawing/2014/main" id="{E6F7DE21-2FF0-4DAB-B87A-6AEB184B3024}"/>
              </a:ext>
            </a:extLst>
          </p:cNvPr>
          <p:cNvSpPr>
            <a:spLocks noGrp="1"/>
          </p:cNvSpPr>
          <p:nvPr>
            <p:ph type="sldNum" sz="quarter" idx="12"/>
          </p:nvPr>
        </p:nvSpPr>
        <p:spPr/>
        <p:txBody>
          <a:bodyPr lIns="0" tIns="0" rIns="0" bIns="0"/>
          <a:lstStyle/>
          <a:p>
            <a:fld id="{DDF71BC8-773F-4A54-968E-450E29C75AD4}" type="slidenum">
              <a:rPr lang="en-GB" smtClean="0"/>
              <a:pPr/>
              <a:t>‹#›</a:t>
            </a:fld>
            <a:endParaRPr lang="en-GB"/>
          </a:p>
        </p:txBody>
      </p:sp>
      <p:sp>
        <p:nvSpPr>
          <p:cNvPr id="4" name="Footer Placeholder 3">
            <a:extLst>
              <a:ext uri="{FF2B5EF4-FFF2-40B4-BE49-F238E27FC236}">
                <a16:creationId xmlns:a16="http://schemas.microsoft.com/office/drawing/2014/main" id="{963821AE-37CF-466E-BCB1-CCC8CBD926C0}"/>
              </a:ext>
            </a:extLst>
          </p:cNvPr>
          <p:cNvSpPr>
            <a:spLocks noGrp="1"/>
          </p:cNvSpPr>
          <p:nvPr>
            <p:ph type="ftr" sz="quarter" idx="13"/>
          </p:nvPr>
        </p:nvSpPr>
        <p:spPr>
          <a:xfrm>
            <a:off x="1520891" y="6342890"/>
            <a:ext cx="8861360" cy="374690"/>
          </a:xfrm>
        </p:spPr>
        <p:txBody>
          <a:bodyPr/>
          <a:lstStyle/>
          <a:p>
            <a:endParaRPr lang="en-GB"/>
          </a:p>
        </p:txBody>
      </p:sp>
    </p:spTree>
    <p:extLst>
      <p:ext uri="{BB962C8B-B14F-4D97-AF65-F5344CB8AC3E}">
        <p14:creationId xmlns:p14="http://schemas.microsoft.com/office/powerpoint/2010/main" val="445043054"/>
      </p:ext>
    </p:extLst>
  </p:cSld>
  <p:clrMapOvr>
    <a:masterClrMapping/>
  </p:clrMapOvr>
  <p:hf hdr="0" dt="0"/>
  <p:extLst>
    <p:ext uri="{DCECCB84-F9BA-43D5-87BE-67443E8EF086}">
      <p15:sldGuideLst xmlns:p15="http://schemas.microsoft.com/office/powerpoint/2012/main">
        <p15:guide id="1" orient="horz" pos="113">
          <p15:clr>
            <a:srgbClr val="FBAE40"/>
          </p15:clr>
        </p15:guide>
        <p15:guide id="2" orient="horz" pos="786">
          <p15:clr>
            <a:srgbClr val="FBAE40"/>
          </p15:clr>
        </p15:guide>
        <p15:guide id="3" orient="horz" pos="3741">
          <p15:clr>
            <a:srgbClr val="FBAE40"/>
          </p15:clr>
        </p15:guide>
        <p15:guide id="4" orient="horz" pos="1272">
          <p15:clr>
            <a:srgbClr val="FBAE40"/>
          </p15:clr>
        </p15:guide>
        <p15:guide id="5" orient="horz" pos="1158">
          <p15:clr>
            <a:srgbClr val="FBAE40"/>
          </p15:clr>
        </p15:guide>
        <p15:guide id="6" pos="3784">
          <p15:clr>
            <a:srgbClr val="FBAE40"/>
          </p15:clr>
        </p15:guide>
        <p15:guide id="7" pos="3896">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3_Title Slide (Pictur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0EC0E1E-A8F5-4DF8-9FD0-5E4DC243975C}"/>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r="22493"/>
          <a:stretch/>
        </p:blipFill>
        <p:spPr>
          <a:xfrm>
            <a:off x="2630735" y="0"/>
            <a:ext cx="9561266" cy="6858000"/>
          </a:xfrm>
          <a:prstGeom prst="rect">
            <a:avLst/>
          </a:prstGeom>
        </p:spPr>
      </p:pic>
      <p:sp>
        <p:nvSpPr>
          <p:cNvPr id="14" name="Rectangle 13">
            <a:extLst>
              <a:ext uri="{FF2B5EF4-FFF2-40B4-BE49-F238E27FC236}">
                <a16:creationId xmlns:a16="http://schemas.microsoft.com/office/drawing/2014/main" id="{F7799E56-D252-47DF-8820-3D69946D2BBF}"/>
              </a:ext>
            </a:extLst>
          </p:cNvPr>
          <p:cNvSpPr/>
          <p:nvPr/>
        </p:nvSpPr>
        <p:spPr>
          <a:xfrm>
            <a:off x="0" y="0"/>
            <a:ext cx="2630734"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a:ln>
                <a:noFill/>
              </a:ln>
              <a:solidFill>
                <a:schemeClr val="bg1"/>
              </a:solidFill>
            </a:endParaRPr>
          </a:p>
        </p:txBody>
      </p:sp>
      <p:graphicFrame>
        <p:nvGraphicFramePr>
          <p:cNvPr id="8" name="Object 7" hidden="1">
            <a:extLst>
              <a:ext uri="{FF2B5EF4-FFF2-40B4-BE49-F238E27FC236}">
                <a16:creationId xmlns:a16="http://schemas.microsoft.com/office/drawing/2014/main" id="{82F0D3B3-FB4D-45BC-BE2E-E0ACC1635A4F}"/>
              </a:ext>
            </a:extLst>
          </p:cNvPr>
          <p:cNvGraphicFramePr>
            <a:graphicFrameLocks noChangeAspect="1"/>
          </p:cNvGraphicFramePr>
          <p:nvPr>
            <p:custDataLst>
              <p:tags r:id="rId1"/>
            </p:custDataLst>
            <p:extLst>
              <p:ext uri="{D42A27DB-BD31-4B8C-83A1-F6EECF244321}">
                <p14:modId xmlns:p14="http://schemas.microsoft.com/office/powerpoint/2010/main" val="7599066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8" name="Object 7" hidden="1">
                        <a:extLst>
                          <a:ext uri="{FF2B5EF4-FFF2-40B4-BE49-F238E27FC236}">
                            <a16:creationId xmlns:a16="http://schemas.microsoft.com/office/drawing/2014/main" id="{82F0D3B3-FB4D-45BC-BE2E-E0ACC1635A4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0D406DB-41A2-4933-86A0-0828F55DE1B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3600" b="1" i="0" baseline="0">
              <a:latin typeface="Century Gothic" panose="020B0502020202020204" pitchFamily="34" charset="0"/>
              <a:ea typeface="+mj-ea"/>
              <a:cs typeface="+mj-cs"/>
              <a:sym typeface="Century Gothic" panose="020B0502020202020204" pitchFamily="34" charset="0"/>
            </a:endParaRPr>
          </a:p>
        </p:txBody>
      </p:sp>
      <p:pic>
        <p:nvPicPr>
          <p:cNvPr id="11" name="Picture 10">
            <a:extLst>
              <a:ext uri="{FF2B5EF4-FFF2-40B4-BE49-F238E27FC236}">
                <a16:creationId xmlns:a16="http://schemas.microsoft.com/office/drawing/2014/main" id="{C3120233-AEF6-42E0-9CF1-0F9E8F091DE4}"/>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r="22493"/>
          <a:stretch/>
        </p:blipFill>
        <p:spPr>
          <a:xfrm>
            <a:off x="2630735" y="0"/>
            <a:ext cx="9561266" cy="6858000"/>
          </a:xfrm>
          <a:prstGeom prst="rect">
            <a:avLst/>
          </a:prstGeom>
        </p:spPr>
      </p:pic>
      <p:sp>
        <p:nvSpPr>
          <p:cNvPr id="9" name="Rectangle 8">
            <a:extLst>
              <a:ext uri="{FF2B5EF4-FFF2-40B4-BE49-F238E27FC236}">
                <a16:creationId xmlns:a16="http://schemas.microsoft.com/office/drawing/2014/main" id="{4E7F325B-F942-4209-8D57-CAA2C7E6C91F}"/>
              </a:ext>
            </a:extLst>
          </p:cNvPr>
          <p:cNvSpPr/>
          <p:nvPr/>
        </p:nvSpPr>
        <p:spPr>
          <a:xfrm>
            <a:off x="2007020" y="436074"/>
            <a:ext cx="4549724" cy="18923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a:ln>
                <a:noFill/>
              </a:ln>
              <a:solidFill>
                <a:schemeClr val="bg1"/>
              </a:solidFill>
            </a:endParaRPr>
          </a:p>
        </p:txBody>
      </p:sp>
      <p:sp>
        <p:nvSpPr>
          <p:cNvPr id="4" name="Rectangle 3">
            <a:extLst>
              <a:ext uri="{FF2B5EF4-FFF2-40B4-BE49-F238E27FC236}">
                <a16:creationId xmlns:a16="http://schemas.microsoft.com/office/drawing/2014/main" id="{03A9E883-9BB5-482C-A327-2D21B1564687}"/>
              </a:ext>
            </a:extLst>
          </p:cNvPr>
          <p:cNvSpPr/>
          <p:nvPr/>
        </p:nvSpPr>
        <p:spPr>
          <a:xfrm>
            <a:off x="0" y="0"/>
            <a:ext cx="2630734"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a:ln>
                <a:noFill/>
              </a:ln>
              <a:solidFill>
                <a:schemeClr val="bg1"/>
              </a:solidFill>
            </a:endParaRPr>
          </a:p>
        </p:txBody>
      </p:sp>
      <p:sp>
        <p:nvSpPr>
          <p:cNvPr id="2" name="Title 1">
            <a:extLst>
              <a:ext uri="{FF2B5EF4-FFF2-40B4-BE49-F238E27FC236}">
                <a16:creationId xmlns:a16="http://schemas.microsoft.com/office/drawing/2014/main" id="{08AF85F3-5290-4EBA-8B8A-DB6A01B381A6}"/>
              </a:ext>
            </a:extLst>
          </p:cNvPr>
          <p:cNvSpPr>
            <a:spLocks noGrp="1"/>
          </p:cNvSpPr>
          <p:nvPr>
            <p:ph type="ctrTitle" hasCustomPrompt="1"/>
          </p:nvPr>
        </p:nvSpPr>
        <p:spPr>
          <a:xfrm>
            <a:off x="348343" y="2051891"/>
            <a:ext cx="6371436" cy="1801524"/>
          </a:xfrm>
        </p:spPr>
        <p:txBody>
          <a:bodyPr vert="horz" anchor="b">
            <a:noAutofit/>
          </a:bodyPr>
          <a:lstStyle>
            <a:lvl1pPr algn="l">
              <a:defRPr sz="4000">
                <a:solidFill>
                  <a:schemeClr val="bg2"/>
                </a:solidFill>
                <a:latin typeface="Century Gothic" panose="020B0502020202020204" pitchFamily="34" charset="0"/>
              </a:defRPr>
            </a:lvl1pPr>
          </a:lstStyle>
          <a:p>
            <a:r>
              <a:rPr lang="en-US" noProof="0"/>
              <a:t>Click to edit master title style</a:t>
            </a:r>
          </a:p>
        </p:txBody>
      </p:sp>
      <p:sp>
        <p:nvSpPr>
          <p:cNvPr id="3" name="Subtitle 2">
            <a:extLst>
              <a:ext uri="{FF2B5EF4-FFF2-40B4-BE49-F238E27FC236}">
                <a16:creationId xmlns:a16="http://schemas.microsoft.com/office/drawing/2014/main" id="{FC3B1678-8578-485B-ABDD-36D8CF73E2D8}"/>
              </a:ext>
            </a:extLst>
          </p:cNvPr>
          <p:cNvSpPr>
            <a:spLocks noGrp="1"/>
          </p:cNvSpPr>
          <p:nvPr>
            <p:ph type="subTitle" idx="1" hasCustomPrompt="1"/>
          </p:nvPr>
        </p:nvSpPr>
        <p:spPr>
          <a:xfrm>
            <a:off x="348341" y="3940239"/>
            <a:ext cx="6371438" cy="349250"/>
          </a:xfrm>
        </p:spPr>
        <p:txBody>
          <a:bodyPr lIns="0" tIns="0" rIns="0" bIns="0" anchor="ctr">
            <a:noAutofit/>
          </a:bodyPr>
          <a:lstStyle>
            <a:lvl1pPr marL="0" indent="0" algn="l">
              <a:buNone/>
              <a:defRPr sz="2000">
                <a:solidFill>
                  <a:schemeClr val="bg2"/>
                </a:solidFill>
                <a:latin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pic>
        <p:nvPicPr>
          <p:cNvPr id="12" name="Picture 11" descr="A picture containing logo&#10;&#10;Description automatically generated">
            <a:extLst>
              <a:ext uri="{FF2B5EF4-FFF2-40B4-BE49-F238E27FC236}">
                <a16:creationId xmlns:a16="http://schemas.microsoft.com/office/drawing/2014/main" id="{FFB48E65-93C6-48D1-BD43-B2B468BB4B48}"/>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48341" y="348748"/>
            <a:ext cx="1856143" cy="1613595"/>
          </a:xfrm>
          <a:prstGeom prst="rect">
            <a:avLst/>
          </a:prstGeom>
        </p:spPr>
      </p:pic>
      <p:pic>
        <p:nvPicPr>
          <p:cNvPr id="15" name="Picture 14" descr="A picture containing logo&#10;&#10;Description automatically generated">
            <a:extLst>
              <a:ext uri="{FF2B5EF4-FFF2-40B4-BE49-F238E27FC236}">
                <a16:creationId xmlns:a16="http://schemas.microsoft.com/office/drawing/2014/main" id="{0B4AB395-0DA8-484D-9995-6ED3892C58F7}"/>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48341" y="348748"/>
            <a:ext cx="1856143" cy="1613595"/>
          </a:xfrm>
          <a:prstGeom prst="rect">
            <a:avLst/>
          </a:prstGeom>
        </p:spPr>
      </p:pic>
    </p:spTree>
    <p:extLst>
      <p:ext uri="{BB962C8B-B14F-4D97-AF65-F5344CB8AC3E}">
        <p14:creationId xmlns:p14="http://schemas.microsoft.com/office/powerpoint/2010/main" val="693424062"/>
      </p:ext>
    </p:extLst>
  </p:cSld>
  <p:clrMapOvr>
    <a:masterClrMapping/>
  </p:clrMapOvr>
  <p:hf hdr="0" dt="0"/>
  <p:extLst>
    <p:ext uri="{DCECCB84-F9BA-43D5-87BE-67443E8EF086}">
      <p15:sldGuideLst xmlns:p15="http://schemas.microsoft.com/office/powerpoint/2012/main">
        <p15:guide id="2" orient="horz" pos="674">
          <p15:clr>
            <a:srgbClr val="FBAE40"/>
          </p15:clr>
        </p15:guide>
        <p15:guide id="3" pos="4806">
          <p15:clr>
            <a:srgbClr val="FBAE40"/>
          </p15:clr>
        </p15:guide>
        <p15:guide id="4" pos="558">
          <p15:clr>
            <a:srgbClr val="FBAE40"/>
          </p15:clr>
        </p15:guide>
        <p15:guide id="7" orient="horz" pos="1064">
          <p15:clr>
            <a:srgbClr val="FBAE40"/>
          </p15:clr>
        </p15:guide>
        <p15:guide id="8" orient="horz" pos="2570">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matchingName="D. Title Only" preserve="1">
  <p:cSld name="D. Title Only">
    <p:spTree>
      <p:nvGrpSpPr>
        <p:cNvPr id="1" name="Shape 527"/>
        <p:cNvGrpSpPr/>
        <p:nvPr/>
      </p:nvGrpSpPr>
      <p:grpSpPr>
        <a:xfrm>
          <a:off x="0" y="0"/>
          <a:ext cx="0" cy="0"/>
          <a:chOff x="0" y="0"/>
          <a:chExt cx="0" cy="0"/>
        </a:xfrm>
      </p:grpSpPr>
      <p:sp>
        <p:nvSpPr>
          <p:cNvPr id="528" name="Google Shape;528;g12312b28955_3_19"/>
          <p:cNvSpPr txBox="1">
            <a:spLocks noGrp="1"/>
          </p:cNvSpPr>
          <p:nvPr>
            <p:ph type="dt" idx="10"/>
          </p:nvPr>
        </p:nvSpPr>
        <p:spPr>
          <a:xfrm>
            <a:off x="9677400" y="6405036"/>
            <a:ext cx="1482051" cy="153888"/>
          </a:xfrm>
          <a:prstGeom prst="rect">
            <a:avLst/>
          </a:prstGeom>
          <a:noFill/>
          <a:ln>
            <a:noFill/>
          </a:ln>
        </p:spPr>
        <p:txBody>
          <a:bodyPr spcFirstLastPara="1" wrap="square" lIns="0" tIns="0" rIns="0" bIns="0" anchor="b" anchorCtr="0">
            <a:spAutoFit/>
          </a:bodyPr>
          <a:lstStyle>
            <a:lvl1pPr lvl="0" algn="r">
              <a:lnSpc>
                <a:spcPct val="100000"/>
              </a:lnSpc>
              <a:spcBef>
                <a:spcPts val="0"/>
              </a:spcBef>
              <a:spcAft>
                <a:spcPts val="0"/>
              </a:spcAft>
              <a:buSzPts val="1400"/>
              <a:buNone/>
              <a:defRPr>
                <a:solidFill>
                  <a:srgbClr val="7F7F7F"/>
                </a:solidFill>
                <a:latin typeface="Trebuchet MS"/>
                <a:ea typeface="Trebuchet MS"/>
                <a:cs typeface="Trebuchet MS"/>
                <a:sym typeface="Trebuchet MS"/>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29" name="Google Shape;529;g12312b28955_3_19"/>
          <p:cNvSpPr txBox="1">
            <a:spLocks noGrp="1"/>
          </p:cNvSpPr>
          <p:nvPr>
            <p:ph type="title"/>
          </p:nvPr>
        </p:nvSpPr>
        <p:spPr>
          <a:xfrm>
            <a:off x="630000" y="622800"/>
            <a:ext cx="10933350" cy="332399"/>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2400"/>
              <a:buFont typeface="Trebuchet MS"/>
              <a:buNone/>
              <a:defRPr>
                <a:latin typeface="Trebuchet MS"/>
                <a:ea typeface="Trebuchet MS"/>
                <a:cs typeface="Trebuchet MS"/>
                <a:sym typeface="Trebuchet MS"/>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Click to edit Master title style</a:t>
            </a:r>
            <a:endParaRPr/>
          </a:p>
        </p:txBody>
      </p:sp>
      <p:sp>
        <p:nvSpPr>
          <p:cNvPr id="530" name="Google Shape;530;g12312b28955_3_19"/>
          <p:cNvSpPr txBox="1">
            <a:spLocks noGrp="1"/>
          </p:cNvSpPr>
          <p:nvPr>
            <p:ph type="sldNum" idx="12"/>
          </p:nvPr>
        </p:nvSpPr>
        <p:spPr>
          <a:xfrm>
            <a:off x="11409045" y="6333134"/>
            <a:ext cx="731700" cy="5250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Trebuchet MS"/>
                <a:ea typeface="Trebuchet MS"/>
                <a:cs typeface="Trebuchet MS"/>
                <a:sym typeface="Trebuchet MS"/>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Trebuchet MS"/>
                <a:ea typeface="Trebuchet MS"/>
                <a:cs typeface="Trebuchet MS"/>
                <a:sym typeface="Trebuchet MS"/>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Trebuchet MS"/>
                <a:ea typeface="Trebuchet MS"/>
                <a:cs typeface="Trebuchet MS"/>
                <a:sym typeface="Trebuchet MS"/>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Trebuchet MS"/>
                <a:ea typeface="Trebuchet MS"/>
                <a:cs typeface="Trebuchet MS"/>
                <a:sym typeface="Trebuchet MS"/>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Trebuchet MS"/>
                <a:ea typeface="Trebuchet MS"/>
                <a:cs typeface="Trebuchet MS"/>
                <a:sym typeface="Trebuchet MS"/>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Trebuchet MS"/>
                <a:ea typeface="Trebuchet MS"/>
                <a:cs typeface="Trebuchet MS"/>
                <a:sym typeface="Trebuchet MS"/>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Trebuchet MS"/>
                <a:ea typeface="Trebuchet MS"/>
                <a:cs typeface="Trebuchet MS"/>
                <a:sym typeface="Trebuchet MS"/>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Trebuchet MS"/>
                <a:ea typeface="Trebuchet MS"/>
                <a:cs typeface="Trebuchet MS"/>
                <a:sym typeface="Trebuchet MS"/>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Trebuchet MS"/>
                <a:ea typeface="Trebuchet MS"/>
                <a:cs typeface="Trebuchet MS"/>
                <a:sym typeface="Trebuchet MS"/>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27781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1_Comparison">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188AF8EE-35AC-49E3-9930-1BDCACEFD4B1}"/>
              </a:ext>
            </a:extLst>
          </p:cNvPr>
          <p:cNvGraphicFramePr>
            <a:graphicFrameLocks noChangeAspect="1"/>
          </p:cNvGraphicFramePr>
          <p:nvPr>
            <p:custDataLst>
              <p:tags r:id="rId1"/>
            </p:custDataLst>
            <p:extLst>
              <p:ext uri="{D42A27DB-BD31-4B8C-83A1-F6EECF244321}">
                <p14:modId xmlns:p14="http://schemas.microsoft.com/office/powerpoint/2010/main" val="14770162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11" name="Object 10" hidden="1">
                        <a:extLst>
                          <a:ext uri="{FF2B5EF4-FFF2-40B4-BE49-F238E27FC236}">
                            <a16:creationId xmlns:a16="http://schemas.microsoft.com/office/drawing/2014/main" id="{188AF8EE-35AC-49E3-9930-1BDCACEFD4B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8B4B1AF4-DDE1-4321-AD46-F0E1D9240B1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4400" b="0" i="0" baseline="0">
              <a:latin typeface="Museo Sans 100"/>
              <a:ea typeface="+mj-ea"/>
              <a:cs typeface="+mj-cs"/>
              <a:sym typeface="Museo Sans 100"/>
            </a:endParaRPr>
          </a:p>
        </p:txBody>
      </p:sp>
      <p:sp>
        <p:nvSpPr>
          <p:cNvPr id="3" name="Text Placeholder 2">
            <a:extLst>
              <a:ext uri="{FF2B5EF4-FFF2-40B4-BE49-F238E27FC236}">
                <a16:creationId xmlns:a16="http://schemas.microsoft.com/office/drawing/2014/main" id="{9E03F3A1-CCD7-4F8F-9CB5-0C0C93A2BAED}"/>
              </a:ext>
            </a:extLst>
          </p:cNvPr>
          <p:cNvSpPr>
            <a:spLocks noGrp="1"/>
          </p:cNvSpPr>
          <p:nvPr>
            <p:ph type="body" idx="1"/>
          </p:nvPr>
        </p:nvSpPr>
        <p:spPr>
          <a:xfrm>
            <a:off x="179388" y="1247776"/>
            <a:ext cx="5824537" cy="587975"/>
          </a:xfrm>
        </p:spPr>
        <p:txBody>
          <a:bodyPr lIns="0" tIns="0" rIns="0" bIns="0" anchor="b"/>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4" name="Content Placeholder 3">
            <a:extLst>
              <a:ext uri="{FF2B5EF4-FFF2-40B4-BE49-F238E27FC236}">
                <a16:creationId xmlns:a16="http://schemas.microsoft.com/office/drawing/2014/main" id="{6F7156F0-9E20-4DB3-A7D9-421A0EEF76D6}"/>
              </a:ext>
            </a:extLst>
          </p:cNvPr>
          <p:cNvSpPr>
            <a:spLocks noGrp="1"/>
          </p:cNvSpPr>
          <p:nvPr>
            <p:ph sz="half" idx="2"/>
          </p:nvPr>
        </p:nvSpPr>
        <p:spPr>
          <a:xfrm>
            <a:off x="179388" y="2014538"/>
            <a:ext cx="5824537" cy="3924299"/>
          </a:xfrm>
        </p:spPr>
        <p:txBody>
          <a:bodyPr lIns="0" tIns="0" rIns="0" bIns="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4">
            <a:extLst>
              <a:ext uri="{FF2B5EF4-FFF2-40B4-BE49-F238E27FC236}">
                <a16:creationId xmlns:a16="http://schemas.microsoft.com/office/drawing/2014/main" id="{6FCA77FD-9ACC-49B7-B506-B3E7BD7EDC92}"/>
              </a:ext>
            </a:extLst>
          </p:cNvPr>
          <p:cNvSpPr>
            <a:spLocks noGrp="1"/>
          </p:cNvSpPr>
          <p:nvPr>
            <p:ph type="body" sz="quarter" idx="3"/>
          </p:nvPr>
        </p:nvSpPr>
        <p:spPr>
          <a:xfrm>
            <a:off x="6186488" y="1247778"/>
            <a:ext cx="5824538" cy="587974"/>
          </a:xfrm>
        </p:spPr>
        <p:txBody>
          <a:bodyPr lIns="0" tIns="0" rIns="0" bIns="0" anchor="b"/>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6" name="Content Placeholder 5">
            <a:extLst>
              <a:ext uri="{FF2B5EF4-FFF2-40B4-BE49-F238E27FC236}">
                <a16:creationId xmlns:a16="http://schemas.microsoft.com/office/drawing/2014/main" id="{B2AB2582-7062-4BC6-9D19-F0253BC1B6A2}"/>
              </a:ext>
            </a:extLst>
          </p:cNvPr>
          <p:cNvSpPr>
            <a:spLocks noGrp="1"/>
          </p:cNvSpPr>
          <p:nvPr>
            <p:ph sz="quarter" idx="4"/>
          </p:nvPr>
        </p:nvSpPr>
        <p:spPr>
          <a:xfrm>
            <a:off x="6186488" y="2014538"/>
            <a:ext cx="5824537" cy="3924299"/>
          </a:xfrm>
        </p:spPr>
        <p:txBody>
          <a:bodyPr lIns="0" tIns="0" rIns="0" bIns="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Footer Placeholder 7">
            <a:extLst>
              <a:ext uri="{FF2B5EF4-FFF2-40B4-BE49-F238E27FC236}">
                <a16:creationId xmlns:a16="http://schemas.microsoft.com/office/drawing/2014/main" id="{ADD1A065-0196-4A19-BA11-27E97201D271}"/>
              </a:ext>
            </a:extLst>
          </p:cNvPr>
          <p:cNvSpPr>
            <a:spLocks noGrp="1"/>
          </p:cNvSpPr>
          <p:nvPr>
            <p:ph type="ftr" sz="quarter" idx="11"/>
          </p:nvPr>
        </p:nvSpPr>
        <p:spPr/>
        <p:txBody>
          <a:bodyPr lIns="0" tIns="0" rIns="0" bIns="0"/>
          <a:lstStyle/>
          <a:p>
            <a:endParaRPr lang="en-US" noProof="0"/>
          </a:p>
        </p:txBody>
      </p:sp>
      <p:sp>
        <p:nvSpPr>
          <p:cNvPr id="9" name="Slide Number Placeholder 8">
            <a:extLst>
              <a:ext uri="{FF2B5EF4-FFF2-40B4-BE49-F238E27FC236}">
                <a16:creationId xmlns:a16="http://schemas.microsoft.com/office/drawing/2014/main" id="{B599CBCB-3A71-49DF-A2FE-693C98D8DFA8}"/>
              </a:ext>
            </a:extLst>
          </p:cNvPr>
          <p:cNvSpPr>
            <a:spLocks noGrp="1"/>
          </p:cNvSpPr>
          <p:nvPr>
            <p:ph type="sldNum" sz="quarter" idx="12"/>
          </p:nvPr>
        </p:nvSpPr>
        <p:spPr/>
        <p:txBody>
          <a:bodyPr lIns="0" tIns="0" rIns="0" bIns="0"/>
          <a:lstStyle/>
          <a:p>
            <a:fld id="{ABB6D191-819E-455F-BC39-F2381519C0C1}" type="slidenum">
              <a:rPr lang="en-US" noProof="0" smtClean="0"/>
              <a:t>‹#›</a:t>
            </a:fld>
            <a:endParaRPr lang="en-US" noProof="0"/>
          </a:p>
        </p:txBody>
      </p:sp>
      <p:sp>
        <p:nvSpPr>
          <p:cNvPr id="12" name="Title 1">
            <a:extLst>
              <a:ext uri="{FF2B5EF4-FFF2-40B4-BE49-F238E27FC236}">
                <a16:creationId xmlns:a16="http://schemas.microsoft.com/office/drawing/2014/main" id="{167CD425-3196-4337-88AA-2CB208963CA6}"/>
              </a:ext>
            </a:extLst>
          </p:cNvPr>
          <p:cNvSpPr>
            <a:spLocks noGrp="1"/>
          </p:cNvSpPr>
          <p:nvPr>
            <p:ph type="title" hasCustomPrompt="1"/>
          </p:nvPr>
        </p:nvSpPr>
        <p:spPr>
          <a:xfrm>
            <a:off x="179388" y="179388"/>
            <a:ext cx="11831637" cy="709612"/>
          </a:xfrm>
        </p:spPr>
        <p:txBody>
          <a:bodyPr lIns="0" tIns="0" rIns="0" bIns="0"/>
          <a:lstStyle>
            <a:lvl1pPr>
              <a:defRPr cap="none"/>
            </a:lvl1pPr>
          </a:lstStyle>
          <a:p>
            <a:r>
              <a:rPr lang="en-US" noProof="0"/>
              <a:t>Click to edit master title style</a:t>
            </a:r>
          </a:p>
        </p:txBody>
      </p:sp>
    </p:spTree>
    <p:extLst>
      <p:ext uri="{BB962C8B-B14F-4D97-AF65-F5344CB8AC3E}">
        <p14:creationId xmlns:p14="http://schemas.microsoft.com/office/powerpoint/2010/main" val="2528079506"/>
      </p:ext>
    </p:extLst>
  </p:cSld>
  <p:clrMapOvr>
    <a:masterClrMapping/>
  </p:clrMapOvr>
  <p:extLst>
    <p:ext uri="{DCECCB84-F9BA-43D5-87BE-67443E8EF086}">
      <p15:sldGuideLst xmlns:p15="http://schemas.microsoft.com/office/powerpoint/2012/main">
        <p15:guide id="2" orient="horz" pos="786">
          <p15:clr>
            <a:srgbClr val="FBAE40"/>
          </p15:clr>
        </p15:guide>
        <p15:guide id="3" orient="horz" pos="113">
          <p15:clr>
            <a:srgbClr val="FBAE40"/>
          </p15:clr>
        </p15:guide>
        <p15:guide id="5" pos="3783">
          <p15:clr>
            <a:srgbClr val="FBAE40"/>
          </p15:clr>
        </p15:guide>
        <p15:guide id="6" pos="3897">
          <p15:clr>
            <a:srgbClr val="FBAE40"/>
          </p15:clr>
        </p15:guide>
        <p15:guide id="9" orient="horz" pos="1269">
          <p15:clr>
            <a:srgbClr val="FBAE40"/>
          </p15:clr>
        </p15:guide>
        <p15:guide id="10" orient="horz" pos="3741">
          <p15:clr>
            <a:srgbClr val="FBAE40"/>
          </p15:clr>
        </p15:guide>
        <p15:guide id="11" orient="horz" pos="1155">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p:custDataLst>
              <p:tags r:id="rId1"/>
            </p:custDataLst>
            <p:extLst>
              <p:ext uri="{D42A27DB-BD31-4B8C-83A1-F6EECF244321}">
                <p14:modId xmlns:p14="http://schemas.microsoft.com/office/powerpoint/2010/main" val="7604048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6" y="982728"/>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b="0" baseline="0" dirty="0"/>
            </a:lvl1pPr>
          </a:lstStyle>
          <a:p>
            <a:pPr lvl="0">
              <a:buNone/>
            </a:pPr>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p:custDataLst>
              <p:tags r:id="rId5"/>
            </p:custDataLst>
          </p:nvPr>
        </p:nvSpPr>
        <p:spPr>
          <a:xfrm>
            <a:off x="554734" y="6501669"/>
            <a:ext cx="96012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cs typeface="+mn-cs"/>
              </a:defRPr>
            </a:lvl1pPr>
          </a:lstStyle>
          <a:p>
            <a:pPr lvl="0">
              <a:buNone/>
            </a:pPr>
            <a:r>
              <a:rPr lang="en-US"/>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7"/>
            </p:custDataLst>
          </p:nvPr>
        </p:nvSpPr>
        <p:spPr>
          <a:xfrm>
            <a:off x="554736" y="556932"/>
            <a:ext cx="11082528" cy="384721"/>
          </a:xfrm>
          <a:prstGeom prst="rect">
            <a:avLst/>
          </a:prstGeom>
        </p:spPr>
        <p:txBody>
          <a:bodyPr vert="horz" wrap="square" lIns="0" tIns="0" rIns="0" bIns="0" rtlCol="0" anchor="b" anchorCtr="0">
            <a:spAutoFit/>
          </a:bodyPr>
          <a:lstStyle>
            <a:lvl1pPr>
              <a:defRPr lang="en-US" dirty="0"/>
            </a:lvl1pPr>
          </a:lstStyle>
          <a:p>
            <a:pPr lvl="0"/>
            <a:r>
              <a:rPr lang="en-US"/>
              <a:t>Click to edit Master title style</a:t>
            </a:r>
          </a:p>
        </p:txBody>
      </p:sp>
    </p:spTree>
    <p:extLst>
      <p:ext uri="{BB962C8B-B14F-4D97-AF65-F5344CB8AC3E}">
        <p14:creationId xmlns:p14="http://schemas.microsoft.com/office/powerpoint/2010/main" val="639448967"/>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2_Title, Sub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37446B0-FAC0-8D4E-A7A9-B700E664D33F}"/>
              </a:ext>
            </a:extLst>
          </p:cNvPr>
          <p:cNvSpPr>
            <a:spLocks noGrp="1"/>
          </p:cNvSpPr>
          <p:nvPr>
            <p:ph idx="1" hasCustomPrompt="1"/>
          </p:nvPr>
        </p:nvSpPr>
        <p:spPr>
          <a:xfrm>
            <a:off x="343128" y="1492369"/>
            <a:ext cx="11505744" cy="4684593"/>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8">
            <a:extLst>
              <a:ext uri="{FF2B5EF4-FFF2-40B4-BE49-F238E27FC236}">
                <a16:creationId xmlns:a16="http://schemas.microsoft.com/office/drawing/2014/main" id="{83BE5C55-354B-4877-A07B-FC28C75B3AC1}"/>
              </a:ext>
            </a:extLst>
          </p:cNvPr>
          <p:cNvSpPr>
            <a:spLocks noGrp="1"/>
          </p:cNvSpPr>
          <p:nvPr>
            <p:ph type="body" sz="quarter" idx="13" hasCustomPrompt="1"/>
          </p:nvPr>
        </p:nvSpPr>
        <p:spPr>
          <a:xfrm>
            <a:off x="343126" y="929618"/>
            <a:ext cx="11505745" cy="390215"/>
          </a:xfrm>
        </p:spPr>
        <p:txBody>
          <a:bodyPr>
            <a:noAutofit/>
          </a:bodyPr>
          <a:lstStyle>
            <a:lvl1pPr marL="0" indent="0" algn="ctr">
              <a:buNone/>
              <a:defRPr sz="1600">
                <a:solidFill>
                  <a:schemeClr val="tx1"/>
                </a:solidFill>
              </a:defRPr>
            </a:lvl1pPr>
          </a:lstStyle>
          <a:p>
            <a:pPr lvl="0"/>
            <a:r>
              <a:rPr lang="en-US"/>
              <a:t>Subtitle text goes here</a:t>
            </a:r>
          </a:p>
        </p:txBody>
      </p:sp>
      <p:sp>
        <p:nvSpPr>
          <p:cNvPr id="10" name="Title Placeholder 1">
            <a:extLst>
              <a:ext uri="{FF2B5EF4-FFF2-40B4-BE49-F238E27FC236}">
                <a16:creationId xmlns:a16="http://schemas.microsoft.com/office/drawing/2014/main" id="{CBB3F3F8-2CDC-4FCB-A85F-6AE84FE2CF82}"/>
              </a:ext>
            </a:extLst>
          </p:cNvPr>
          <p:cNvSpPr>
            <a:spLocks noGrp="1"/>
          </p:cNvSpPr>
          <p:nvPr>
            <p:ph type="title" hasCustomPrompt="1"/>
          </p:nvPr>
        </p:nvSpPr>
        <p:spPr>
          <a:xfrm>
            <a:off x="343127" y="389335"/>
            <a:ext cx="11505745" cy="540283"/>
          </a:xfrm>
          <a:prstGeom prst="rect">
            <a:avLst/>
          </a:prstGeom>
        </p:spPr>
        <p:txBody>
          <a:bodyPr vert="horz" lIns="91440" tIns="45720" rIns="91440" bIns="45720" rtlCol="0" anchor="t">
            <a:noAutofit/>
          </a:bodyPr>
          <a:lstStyle/>
          <a:p>
            <a:r>
              <a:rPr lang="en-US"/>
              <a:t>CLICK TO EDIT MASTER TITLE STYLE</a:t>
            </a:r>
          </a:p>
        </p:txBody>
      </p:sp>
      <p:sp>
        <p:nvSpPr>
          <p:cNvPr id="8" name="Slide Number Placeholder 6">
            <a:extLst>
              <a:ext uri="{FF2B5EF4-FFF2-40B4-BE49-F238E27FC236}">
                <a16:creationId xmlns:a16="http://schemas.microsoft.com/office/drawing/2014/main" id="{D7B5CF24-1B1A-43B3-8366-B2894126F8B5}"/>
              </a:ext>
            </a:extLst>
          </p:cNvPr>
          <p:cNvSpPr>
            <a:spLocks noGrp="1"/>
          </p:cNvSpPr>
          <p:nvPr>
            <p:ph type="sldNum" sz="quarter" idx="4"/>
          </p:nvPr>
        </p:nvSpPr>
        <p:spPr>
          <a:xfrm>
            <a:off x="9105674" y="6356350"/>
            <a:ext cx="2743200" cy="365125"/>
          </a:xfrm>
          <a:prstGeom prst="rect">
            <a:avLst/>
          </a:prstGeom>
        </p:spPr>
        <p:txBody>
          <a:bodyPr vert="horz" lIns="91440" tIns="45720" rIns="91440" bIns="45720" rtlCol="0" anchor="ctr"/>
          <a:lstStyle>
            <a:lvl1pPr algn="r">
              <a:defRPr sz="1050">
                <a:solidFill>
                  <a:schemeClr val="accent3"/>
                </a:solidFill>
              </a:defRPr>
            </a:lvl1pPr>
          </a:lstStyle>
          <a:p>
            <a:fld id="{BE87CADA-3F2F-4391-B0A4-A1E4A5487F02}" type="slidenum">
              <a:rPr lang="en-US" smtClean="0"/>
              <a:pPr/>
              <a:t>‹#›</a:t>
            </a:fld>
            <a:endParaRPr lang="en-US"/>
          </a:p>
        </p:txBody>
      </p:sp>
    </p:spTree>
    <p:extLst>
      <p:ext uri="{BB962C8B-B14F-4D97-AF65-F5344CB8AC3E}">
        <p14:creationId xmlns:p14="http://schemas.microsoft.com/office/powerpoint/2010/main" val="3627246641"/>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p:cSld name="2_Title Slide (Pictur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0EC0E1E-A8F5-4DF8-9FD0-5E4DC243975C}"/>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r="22493"/>
          <a:stretch/>
        </p:blipFill>
        <p:spPr>
          <a:xfrm>
            <a:off x="2630735" y="0"/>
            <a:ext cx="9561266" cy="6858000"/>
          </a:xfrm>
          <a:prstGeom prst="rect">
            <a:avLst/>
          </a:prstGeom>
        </p:spPr>
      </p:pic>
      <p:sp>
        <p:nvSpPr>
          <p:cNvPr id="14" name="Rectangle 13">
            <a:extLst>
              <a:ext uri="{FF2B5EF4-FFF2-40B4-BE49-F238E27FC236}">
                <a16:creationId xmlns:a16="http://schemas.microsoft.com/office/drawing/2014/main" id="{F7799E56-D252-47DF-8820-3D69946D2BBF}"/>
              </a:ext>
            </a:extLst>
          </p:cNvPr>
          <p:cNvSpPr/>
          <p:nvPr/>
        </p:nvSpPr>
        <p:spPr>
          <a:xfrm>
            <a:off x="0" y="0"/>
            <a:ext cx="2630734"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a:ln>
                <a:noFill/>
              </a:ln>
              <a:solidFill>
                <a:schemeClr val="bg1"/>
              </a:solidFill>
            </a:endParaRPr>
          </a:p>
        </p:txBody>
      </p:sp>
      <p:graphicFrame>
        <p:nvGraphicFramePr>
          <p:cNvPr id="8" name="Object 7" hidden="1">
            <a:extLst>
              <a:ext uri="{FF2B5EF4-FFF2-40B4-BE49-F238E27FC236}">
                <a16:creationId xmlns:a16="http://schemas.microsoft.com/office/drawing/2014/main" id="{82F0D3B3-FB4D-45BC-BE2E-E0ACC1635A4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8" name="Object 7" hidden="1">
                        <a:extLst>
                          <a:ext uri="{FF2B5EF4-FFF2-40B4-BE49-F238E27FC236}">
                            <a16:creationId xmlns:a16="http://schemas.microsoft.com/office/drawing/2014/main" id="{82F0D3B3-FB4D-45BC-BE2E-E0ACC1635A4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0D406DB-41A2-4933-86A0-0828F55DE1B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3600" b="1" i="0" baseline="0">
              <a:latin typeface="Century Gothic" panose="020B0502020202020204" pitchFamily="34" charset="0"/>
              <a:ea typeface="+mj-ea"/>
              <a:cs typeface="+mj-cs"/>
              <a:sym typeface="Century Gothic" panose="020B0502020202020204" pitchFamily="34" charset="0"/>
            </a:endParaRPr>
          </a:p>
        </p:txBody>
      </p:sp>
      <p:pic>
        <p:nvPicPr>
          <p:cNvPr id="11" name="Picture 10">
            <a:extLst>
              <a:ext uri="{FF2B5EF4-FFF2-40B4-BE49-F238E27FC236}">
                <a16:creationId xmlns:a16="http://schemas.microsoft.com/office/drawing/2014/main" id="{C3120233-AEF6-42E0-9CF1-0F9E8F091DE4}"/>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r="22493"/>
          <a:stretch/>
        </p:blipFill>
        <p:spPr>
          <a:xfrm>
            <a:off x="2630735" y="0"/>
            <a:ext cx="9561266" cy="6858000"/>
          </a:xfrm>
          <a:prstGeom prst="rect">
            <a:avLst/>
          </a:prstGeom>
        </p:spPr>
      </p:pic>
      <p:sp>
        <p:nvSpPr>
          <p:cNvPr id="9" name="Rectangle 8">
            <a:extLst>
              <a:ext uri="{FF2B5EF4-FFF2-40B4-BE49-F238E27FC236}">
                <a16:creationId xmlns:a16="http://schemas.microsoft.com/office/drawing/2014/main" id="{4E7F325B-F942-4209-8D57-CAA2C7E6C91F}"/>
              </a:ext>
            </a:extLst>
          </p:cNvPr>
          <p:cNvSpPr/>
          <p:nvPr/>
        </p:nvSpPr>
        <p:spPr>
          <a:xfrm>
            <a:off x="2007020" y="436074"/>
            <a:ext cx="4549724" cy="18923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a:ln>
                <a:noFill/>
              </a:ln>
              <a:solidFill>
                <a:schemeClr val="bg1"/>
              </a:solidFill>
            </a:endParaRPr>
          </a:p>
        </p:txBody>
      </p:sp>
      <p:sp>
        <p:nvSpPr>
          <p:cNvPr id="4" name="Rectangle 3">
            <a:extLst>
              <a:ext uri="{FF2B5EF4-FFF2-40B4-BE49-F238E27FC236}">
                <a16:creationId xmlns:a16="http://schemas.microsoft.com/office/drawing/2014/main" id="{03A9E883-9BB5-482C-A327-2D21B1564687}"/>
              </a:ext>
            </a:extLst>
          </p:cNvPr>
          <p:cNvSpPr/>
          <p:nvPr/>
        </p:nvSpPr>
        <p:spPr>
          <a:xfrm>
            <a:off x="0" y="0"/>
            <a:ext cx="2630734"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a:ln>
                <a:noFill/>
              </a:ln>
              <a:solidFill>
                <a:schemeClr val="bg1"/>
              </a:solidFill>
            </a:endParaRPr>
          </a:p>
        </p:txBody>
      </p:sp>
      <p:sp>
        <p:nvSpPr>
          <p:cNvPr id="2" name="Title 1">
            <a:extLst>
              <a:ext uri="{FF2B5EF4-FFF2-40B4-BE49-F238E27FC236}">
                <a16:creationId xmlns:a16="http://schemas.microsoft.com/office/drawing/2014/main" id="{08AF85F3-5290-4EBA-8B8A-DB6A01B381A6}"/>
              </a:ext>
            </a:extLst>
          </p:cNvPr>
          <p:cNvSpPr>
            <a:spLocks noGrp="1"/>
          </p:cNvSpPr>
          <p:nvPr>
            <p:ph type="ctrTitle" hasCustomPrompt="1"/>
          </p:nvPr>
        </p:nvSpPr>
        <p:spPr>
          <a:xfrm>
            <a:off x="348343" y="2051891"/>
            <a:ext cx="6371436" cy="1801524"/>
          </a:xfrm>
        </p:spPr>
        <p:txBody>
          <a:bodyPr vert="horz" anchor="b">
            <a:noAutofit/>
          </a:bodyPr>
          <a:lstStyle>
            <a:lvl1pPr algn="l">
              <a:defRPr sz="4000">
                <a:solidFill>
                  <a:schemeClr val="bg2"/>
                </a:solidFill>
                <a:latin typeface="Century Gothic" panose="020B0502020202020204" pitchFamily="34" charset="0"/>
              </a:defRPr>
            </a:lvl1pPr>
          </a:lstStyle>
          <a:p>
            <a:r>
              <a:rPr lang="en-US" noProof="0"/>
              <a:t>Click to edit master title style</a:t>
            </a:r>
          </a:p>
        </p:txBody>
      </p:sp>
      <p:sp>
        <p:nvSpPr>
          <p:cNvPr id="3" name="Subtitle 2">
            <a:extLst>
              <a:ext uri="{FF2B5EF4-FFF2-40B4-BE49-F238E27FC236}">
                <a16:creationId xmlns:a16="http://schemas.microsoft.com/office/drawing/2014/main" id="{FC3B1678-8578-485B-ABDD-36D8CF73E2D8}"/>
              </a:ext>
            </a:extLst>
          </p:cNvPr>
          <p:cNvSpPr>
            <a:spLocks noGrp="1"/>
          </p:cNvSpPr>
          <p:nvPr>
            <p:ph type="subTitle" idx="1" hasCustomPrompt="1"/>
          </p:nvPr>
        </p:nvSpPr>
        <p:spPr>
          <a:xfrm>
            <a:off x="348341" y="3940239"/>
            <a:ext cx="6371438" cy="349250"/>
          </a:xfrm>
        </p:spPr>
        <p:txBody>
          <a:bodyPr lIns="0" tIns="0" rIns="0" bIns="0" anchor="ctr">
            <a:noAutofit/>
          </a:bodyPr>
          <a:lstStyle>
            <a:lvl1pPr marL="0" indent="0" algn="l">
              <a:buNone/>
              <a:defRPr sz="2000">
                <a:solidFill>
                  <a:schemeClr val="bg2"/>
                </a:solidFill>
                <a:latin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pic>
        <p:nvPicPr>
          <p:cNvPr id="12" name="Picture 11" descr="A picture containing logo&#10;&#10;Description automatically generated">
            <a:extLst>
              <a:ext uri="{FF2B5EF4-FFF2-40B4-BE49-F238E27FC236}">
                <a16:creationId xmlns:a16="http://schemas.microsoft.com/office/drawing/2014/main" id="{FFB48E65-93C6-48D1-BD43-B2B468BB4B4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48341" y="348748"/>
            <a:ext cx="1856143" cy="1613595"/>
          </a:xfrm>
          <a:prstGeom prst="rect">
            <a:avLst/>
          </a:prstGeom>
        </p:spPr>
      </p:pic>
      <p:pic>
        <p:nvPicPr>
          <p:cNvPr id="15" name="Picture 14" descr="A picture containing logo&#10;&#10;Description automatically generated">
            <a:extLst>
              <a:ext uri="{FF2B5EF4-FFF2-40B4-BE49-F238E27FC236}">
                <a16:creationId xmlns:a16="http://schemas.microsoft.com/office/drawing/2014/main" id="{0B4AB395-0DA8-484D-9995-6ED3892C58F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48341" y="348748"/>
            <a:ext cx="1856143" cy="1613595"/>
          </a:xfrm>
          <a:prstGeom prst="rect">
            <a:avLst/>
          </a:prstGeom>
        </p:spPr>
      </p:pic>
    </p:spTree>
    <p:extLst>
      <p:ext uri="{BB962C8B-B14F-4D97-AF65-F5344CB8AC3E}">
        <p14:creationId xmlns:p14="http://schemas.microsoft.com/office/powerpoint/2010/main" val="2324908178"/>
      </p:ext>
    </p:extLst>
  </p:cSld>
  <p:clrMapOvr>
    <a:masterClrMapping/>
  </p:clrMapOvr>
  <p:extLst>
    <p:ext uri="{DCECCB84-F9BA-43D5-87BE-67443E8EF086}">
      <p15:sldGuideLst xmlns:p15="http://schemas.microsoft.com/office/powerpoint/2012/main">
        <p15:guide id="2" orient="horz" pos="674">
          <p15:clr>
            <a:srgbClr val="FBAE40"/>
          </p15:clr>
        </p15:guide>
        <p15:guide id="3" pos="4806">
          <p15:clr>
            <a:srgbClr val="FBAE40"/>
          </p15:clr>
        </p15:guide>
        <p15:guide id="4" pos="558">
          <p15:clr>
            <a:srgbClr val="FBAE40"/>
          </p15:clr>
        </p15:guide>
        <p15:guide id="7" orient="horz" pos="1064">
          <p15:clr>
            <a:srgbClr val="FBAE40"/>
          </p15:clr>
        </p15:guide>
        <p15:guide id="8" orient="horz" pos="2570">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Section Header (Green)">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2F0D3B3-FB4D-45BC-BE2E-E0ACC1635A4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8" name="Object 7" hidden="1">
                        <a:extLst>
                          <a:ext uri="{FF2B5EF4-FFF2-40B4-BE49-F238E27FC236}">
                            <a16:creationId xmlns:a16="http://schemas.microsoft.com/office/drawing/2014/main" id="{82F0D3B3-FB4D-45BC-BE2E-E0ACC1635A4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0D406DB-41A2-4933-86A0-0828F55DE1B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6000" b="0" i="0" baseline="0">
              <a:latin typeface="Verdana" panose="020B0604030504040204" pitchFamily="34" charset="0"/>
              <a:ea typeface="+mj-ea"/>
              <a:cs typeface="+mj-cs"/>
              <a:sym typeface="Museo Sans 100"/>
            </a:endParaRPr>
          </a:p>
        </p:txBody>
      </p:sp>
      <p:sp>
        <p:nvSpPr>
          <p:cNvPr id="10" name="Rectangle 9">
            <a:extLst>
              <a:ext uri="{FF2B5EF4-FFF2-40B4-BE49-F238E27FC236}">
                <a16:creationId xmlns:a16="http://schemas.microsoft.com/office/drawing/2014/main" id="{F92D6356-6339-48B3-8B32-2E2AEE29EDEF}"/>
              </a:ext>
            </a:extLst>
          </p:cNvPr>
          <p:cNvSpPr/>
          <p:nvPr/>
        </p:nvSpPr>
        <p:spPr>
          <a:xfrm>
            <a:off x="382382" y="540000"/>
            <a:ext cx="11427231" cy="5398838"/>
          </a:xfrm>
          <a:prstGeom prst="rect">
            <a:avLst/>
          </a:prstGeom>
          <a:solidFill>
            <a:schemeClr val="accent2">
              <a:lumMod val="100000"/>
            </a:schemeClr>
          </a:solidFill>
          <a:ln w="9525" cap="flat" cmpd="sng" algn="ctr">
            <a:solidFill>
              <a:schemeClr val="accent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r"/>
            <a:endParaRPr lang="en-US" sz="3600" b="1" noProof="0">
              <a:solidFill>
                <a:schemeClr val="tx2"/>
              </a:solidFill>
            </a:endParaRPr>
          </a:p>
        </p:txBody>
      </p:sp>
      <p:sp>
        <p:nvSpPr>
          <p:cNvPr id="3" name="Subtitle 2">
            <a:extLst>
              <a:ext uri="{FF2B5EF4-FFF2-40B4-BE49-F238E27FC236}">
                <a16:creationId xmlns:a16="http://schemas.microsoft.com/office/drawing/2014/main" id="{FC3B1678-8578-485B-ABDD-36D8CF73E2D8}"/>
              </a:ext>
            </a:extLst>
          </p:cNvPr>
          <p:cNvSpPr>
            <a:spLocks noGrp="1"/>
          </p:cNvSpPr>
          <p:nvPr>
            <p:ph type="subTitle" idx="1" hasCustomPrompt="1"/>
          </p:nvPr>
        </p:nvSpPr>
        <p:spPr>
          <a:xfrm>
            <a:off x="885669" y="1069975"/>
            <a:ext cx="6741079" cy="349250"/>
          </a:xfrm>
        </p:spPr>
        <p:txBody>
          <a:bodyPr lIns="0" tIns="0" rIns="0" bIns="0">
            <a:no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sp>
        <p:nvSpPr>
          <p:cNvPr id="6" name="Slide Number Placeholder 5">
            <a:extLst>
              <a:ext uri="{FF2B5EF4-FFF2-40B4-BE49-F238E27FC236}">
                <a16:creationId xmlns:a16="http://schemas.microsoft.com/office/drawing/2014/main" id="{9346F278-8B8A-4874-AB9B-D1092252AB25}"/>
              </a:ext>
            </a:extLst>
          </p:cNvPr>
          <p:cNvSpPr>
            <a:spLocks noGrp="1"/>
          </p:cNvSpPr>
          <p:nvPr>
            <p:ph type="sldNum" sz="quarter" idx="12"/>
          </p:nvPr>
        </p:nvSpPr>
        <p:spPr/>
        <p:txBody>
          <a:bodyPr lIns="0" tIns="0" rIns="0" bIns="0"/>
          <a:lstStyle/>
          <a:p>
            <a:fld id="{ABB6D191-819E-455F-BC39-F2381519C0C1}" type="slidenum">
              <a:rPr lang="en-US" noProof="0" smtClean="0"/>
              <a:t>‹#›</a:t>
            </a:fld>
            <a:endParaRPr lang="en-US" noProof="0"/>
          </a:p>
        </p:txBody>
      </p:sp>
      <p:sp>
        <p:nvSpPr>
          <p:cNvPr id="9" name="Title 1">
            <a:extLst>
              <a:ext uri="{FF2B5EF4-FFF2-40B4-BE49-F238E27FC236}">
                <a16:creationId xmlns:a16="http://schemas.microsoft.com/office/drawing/2014/main" id="{F170A15B-3A41-426F-B535-FB2163750E8F}"/>
              </a:ext>
            </a:extLst>
          </p:cNvPr>
          <p:cNvSpPr>
            <a:spLocks noGrp="1"/>
          </p:cNvSpPr>
          <p:nvPr>
            <p:ph type="ctrTitle" hasCustomPrompt="1"/>
          </p:nvPr>
        </p:nvSpPr>
        <p:spPr>
          <a:xfrm>
            <a:off x="885668" y="1689100"/>
            <a:ext cx="6741079" cy="2389964"/>
          </a:xfrm>
        </p:spPr>
        <p:txBody>
          <a:bodyPr vert="horz" lIns="0" tIns="0" rIns="0" bIns="0" anchor="t">
            <a:noAutofit/>
          </a:bodyPr>
          <a:lstStyle>
            <a:lvl1pPr algn="l">
              <a:defRPr sz="5400">
                <a:solidFill>
                  <a:schemeClr val="bg1"/>
                </a:solidFill>
              </a:defRPr>
            </a:lvl1pPr>
          </a:lstStyle>
          <a:p>
            <a:r>
              <a:rPr lang="en-US" noProof="0"/>
              <a:t>Click to edit master title style</a:t>
            </a:r>
          </a:p>
        </p:txBody>
      </p:sp>
    </p:spTree>
    <p:extLst>
      <p:ext uri="{BB962C8B-B14F-4D97-AF65-F5344CB8AC3E}">
        <p14:creationId xmlns:p14="http://schemas.microsoft.com/office/powerpoint/2010/main" val="586276739"/>
      </p:ext>
    </p:extLst>
  </p:cSld>
  <p:clrMapOvr>
    <a:masterClrMapping/>
  </p:clrMapOvr>
  <p:extLst>
    <p:ext uri="{DCECCB84-F9BA-43D5-87BE-67443E8EF086}">
      <p15:sldGuideLst xmlns:p15="http://schemas.microsoft.com/office/powerpoint/2012/main">
        <p15:guide id="1" orient="horz" pos="1063">
          <p15:clr>
            <a:srgbClr val="FBAE40"/>
          </p15:clr>
        </p15:guide>
        <p15:guide id="2" orient="horz" pos="674">
          <p15:clr>
            <a:srgbClr val="FBAE40"/>
          </p15:clr>
        </p15:guide>
        <p15:guide id="3" pos="558">
          <p15:clr>
            <a:srgbClr val="FBAE40"/>
          </p15:clr>
        </p15:guide>
        <p15:guide id="4" pos="4806">
          <p15:clr>
            <a:srgbClr val="FBAE40"/>
          </p15:clr>
        </p15:guide>
        <p15:guide id="5" orient="horz" pos="2570">
          <p15:clr>
            <a:srgbClr val="FBAE40"/>
          </p15:clr>
        </p15:guide>
        <p15:guide id="6" orient="horz" pos="3741">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5C200AD-18D5-486A-A4CB-E94C0B69B40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55C200AD-18D5-486A-A4CB-E94C0B69B40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2A69E91C-60CE-4280-A020-6C74B0B2171F}"/>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4400" b="0" i="0" baseline="0">
              <a:latin typeface="Verdana" panose="020B0604030504040204" pitchFamily="34" charset="0"/>
              <a:ea typeface="+mj-ea"/>
              <a:cs typeface="+mj-cs"/>
              <a:sym typeface="Museo Sans 100"/>
            </a:endParaRPr>
          </a:p>
        </p:txBody>
      </p:sp>
      <p:sp>
        <p:nvSpPr>
          <p:cNvPr id="2" name="Title 1">
            <a:extLst>
              <a:ext uri="{FF2B5EF4-FFF2-40B4-BE49-F238E27FC236}">
                <a16:creationId xmlns:a16="http://schemas.microsoft.com/office/drawing/2014/main" id="{41820E8D-4EE5-4F53-8446-F66BF7FA8047}"/>
              </a:ext>
            </a:extLst>
          </p:cNvPr>
          <p:cNvSpPr>
            <a:spLocks noGrp="1"/>
          </p:cNvSpPr>
          <p:nvPr>
            <p:ph type="title" hasCustomPrompt="1"/>
          </p:nvPr>
        </p:nvSpPr>
        <p:spPr/>
        <p:txBody>
          <a:bodyPr vert="horz" lIns="0" tIns="0" rIns="0" bIns="0">
            <a:noAutofit/>
          </a:bodyPr>
          <a:lstStyle>
            <a:lvl1pPr>
              <a:defRPr cap="none"/>
            </a:lvl1pPr>
          </a:lstStyle>
          <a:p>
            <a:r>
              <a:rPr lang="en-US" noProof="0"/>
              <a:t>Click to edit master title style</a:t>
            </a:r>
          </a:p>
        </p:txBody>
      </p:sp>
      <p:sp>
        <p:nvSpPr>
          <p:cNvPr id="5" name="Slide Number Placeholder 4">
            <a:extLst>
              <a:ext uri="{FF2B5EF4-FFF2-40B4-BE49-F238E27FC236}">
                <a16:creationId xmlns:a16="http://schemas.microsoft.com/office/drawing/2014/main" id="{3E98EFC9-0015-445F-920E-4162760DF929}"/>
              </a:ext>
            </a:extLst>
          </p:cNvPr>
          <p:cNvSpPr>
            <a:spLocks noGrp="1"/>
          </p:cNvSpPr>
          <p:nvPr>
            <p:ph type="sldNum" sz="quarter" idx="12"/>
          </p:nvPr>
        </p:nvSpPr>
        <p:spPr/>
        <p:txBody>
          <a:bodyPr lIns="0" tIns="0" rIns="0" bIns="0"/>
          <a:lstStyle/>
          <a:p>
            <a:fld id="{ABB6D191-819E-455F-BC39-F2381519C0C1}" type="slidenum">
              <a:rPr lang="en-US" noProof="0" smtClean="0"/>
              <a:t>‹#›</a:t>
            </a:fld>
            <a:endParaRPr lang="en-US" noProof="0"/>
          </a:p>
        </p:txBody>
      </p:sp>
      <p:sp>
        <p:nvSpPr>
          <p:cNvPr id="9" name="Footer Placeholder 3">
            <a:extLst>
              <a:ext uri="{FF2B5EF4-FFF2-40B4-BE49-F238E27FC236}">
                <a16:creationId xmlns:a16="http://schemas.microsoft.com/office/drawing/2014/main" id="{5DC044D4-CFC4-AE4F-5F08-78D638FCA0F7}"/>
              </a:ext>
            </a:extLst>
          </p:cNvPr>
          <p:cNvSpPr>
            <a:spLocks noGrp="1"/>
          </p:cNvSpPr>
          <p:nvPr>
            <p:ph type="ftr" sz="quarter" idx="11"/>
          </p:nvPr>
        </p:nvSpPr>
        <p:spPr>
          <a:xfrm>
            <a:off x="1446000" y="6339057"/>
            <a:ext cx="9675845" cy="374690"/>
          </a:xfrm>
          <a:prstGeom prst="rect">
            <a:avLst/>
          </a:prstGeom>
        </p:spPr>
        <p:txBody>
          <a:bodyPr/>
          <a:lstStyle/>
          <a:p>
            <a:endParaRPr lang="en-US"/>
          </a:p>
        </p:txBody>
      </p:sp>
    </p:spTree>
    <p:extLst>
      <p:ext uri="{BB962C8B-B14F-4D97-AF65-F5344CB8AC3E}">
        <p14:creationId xmlns:p14="http://schemas.microsoft.com/office/powerpoint/2010/main" val="1662931892"/>
      </p:ext>
    </p:extLst>
  </p:cSld>
  <p:clrMapOvr>
    <a:masterClrMapping/>
  </p:clrMapOvr>
  <p:extLst>
    <p:ext uri="{DCECCB84-F9BA-43D5-87BE-67443E8EF086}">
      <p15:sldGuideLst xmlns:p15="http://schemas.microsoft.com/office/powerpoint/2012/main">
        <p15:guide id="1" orient="horz" pos="114">
          <p15:clr>
            <a:srgbClr val="FBAE40"/>
          </p15:clr>
        </p15:guide>
        <p15:guide id="2" orient="horz" pos="786">
          <p15:clr>
            <a:srgbClr val="FBAE40"/>
          </p15:clr>
        </p15:guide>
        <p15:guide id="3" orient="horz" pos="1155">
          <p15:clr>
            <a:srgbClr val="FBAE40"/>
          </p15:clr>
        </p15:guide>
        <p15:guide id="4" orient="horz" pos="1269">
          <p15:clr>
            <a:srgbClr val="FBAE40"/>
          </p15:clr>
        </p15:guide>
        <p15:guide id="5" pos="3783">
          <p15:clr>
            <a:srgbClr val="FBAE40"/>
          </p15:clr>
        </p15:guide>
        <p15:guide id="6" pos="3897">
          <p15:clr>
            <a:srgbClr val="FBAE40"/>
          </p15:clr>
        </p15:guide>
        <p15:guide id="7" orient="horz" pos="3741">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EDA45B5-5911-4386-81CD-CD96E11547C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8" name="Object 7" hidden="1">
                        <a:extLst>
                          <a:ext uri="{FF2B5EF4-FFF2-40B4-BE49-F238E27FC236}">
                            <a16:creationId xmlns:a16="http://schemas.microsoft.com/office/drawing/2014/main" id="{0EDA45B5-5911-4386-81CD-CD96E11547C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A31FE4A4-5895-4435-8CFD-72D5594F0E33}"/>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4400" b="0" i="0" baseline="0">
              <a:latin typeface="Verdana" panose="020B0604030504040204" pitchFamily="34" charset="0"/>
              <a:ea typeface="+mj-ea"/>
              <a:cs typeface="+mj-cs"/>
              <a:sym typeface="Museo Sans 100"/>
            </a:endParaRPr>
          </a:p>
        </p:txBody>
      </p:sp>
      <p:sp>
        <p:nvSpPr>
          <p:cNvPr id="2" name="Title 1">
            <a:extLst>
              <a:ext uri="{FF2B5EF4-FFF2-40B4-BE49-F238E27FC236}">
                <a16:creationId xmlns:a16="http://schemas.microsoft.com/office/drawing/2014/main" id="{B46FDA69-D678-4682-B1B6-2ABA033D11F0}"/>
              </a:ext>
            </a:extLst>
          </p:cNvPr>
          <p:cNvSpPr>
            <a:spLocks noGrp="1"/>
          </p:cNvSpPr>
          <p:nvPr>
            <p:ph type="title" hasCustomPrompt="1"/>
          </p:nvPr>
        </p:nvSpPr>
        <p:spPr>
          <a:xfrm>
            <a:off x="366779" y="179388"/>
            <a:ext cx="11446626" cy="708715"/>
          </a:xfrm>
        </p:spPr>
        <p:txBody>
          <a:bodyPr vert="horz" lIns="0" tIns="0" rIns="0" bIns="0">
            <a:noAutofit/>
          </a:bodyPr>
          <a:lstStyle>
            <a:lvl1pPr>
              <a:defRPr cap="none"/>
            </a:lvl1pPr>
          </a:lstStyle>
          <a:p>
            <a:r>
              <a:rPr lang="en-US" noProof="0"/>
              <a:t>Click to edit master title style </a:t>
            </a:r>
          </a:p>
        </p:txBody>
      </p:sp>
      <p:sp>
        <p:nvSpPr>
          <p:cNvPr id="3" name="Content Placeholder 2">
            <a:extLst>
              <a:ext uri="{FF2B5EF4-FFF2-40B4-BE49-F238E27FC236}">
                <a16:creationId xmlns:a16="http://schemas.microsoft.com/office/drawing/2014/main" id="{3EF08657-4C6B-414C-8E67-76B6E91427A6}"/>
              </a:ext>
            </a:extLst>
          </p:cNvPr>
          <p:cNvSpPr>
            <a:spLocks noGrp="1"/>
          </p:cNvSpPr>
          <p:nvPr>
            <p:ph idx="1"/>
          </p:nvPr>
        </p:nvSpPr>
        <p:spPr>
          <a:xfrm>
            <a:off x="366779" y="1247775"/>
            <a:ext cx="11446626" cy="4691062"/>
          </a:xfrm>
        </p:spPr>
        <p:txBody>
          <a:bodyPr lIns="72000" tIns="72000" rIns="72000" bIns="72000">
            <a:noAutofit/>
          </a:bodyPr>
          <a:lstStyle>
            <a:lvl1pPr>
              <a:buFont typeface="Arial" panose="020B0604020202020204" pitchFamily="34" charset="0"/>
              <a:buChar char="•"/>
              <a:defRPr/>
            </a:lvl1pPr>
            <a:lvl2pPr marL="360000" indent="-180000">
              <a:buFont typeface="Lato" panose="020F0502020204030203" pitchFamily="34" charset="0"/>
              <a:buChar char="-"/>
              <a:defRPr/>
            </a:lvl2pPr>
            <a:lvl3pPr>
              <a:buFont typeface="Arial" panose="020B0604020202020204" pitchFamily="34" charset="0"/>
              <a:buChar char="•"/>
              <a:defRPr/>
            </a:lvl3pPr>
            <a:lvl4pPr marL="720000" indent="-180000">
              <a:buFont typeface="Lato" panose="020F0502020204030203" pitchFamily="34" charset="0"/>
              <a:buChar char="-"/>
              <a:defRPr/>
            </a:lvl4pPr>
            <a:lvl5pPr>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Slide Number Placeholder 5">
            <a:extLst>
              <a:ext uri="{FF2B5EF4-FFF2-40B4-BE49-F238E27FC236}">
                <a16:creationId xmlns:a16="http://schemas.microsoft.com/office/drawing/2014/main" id="{E6F7DE21-2FF0-4DAB-B87A-6AEB184B3024}"/>
              </a:ext>
            </a:extLst>
          </p:cNvPr>
          <p:cNvSpPr>
            <a:spLocks noGrp="1"/>
          </p:cNvSpPr>
          <p:nvPr>
            <p:ph type="sldNum" sz="quarter" idx="12"/>
          </p:nvPr>
        </p:nvSpPr>
        <p:spPr/>
        <p:txBody>
          <a:bodyPr lIns="0" tIns="0" rIns="0" bIns="0"/>
          <a:lstStyle/>
          <a:p>
            <a:fld id="{ABB6D191-819E-455F-BC39-F2381519C0C1}" type="slidenum">
              <a:rPr lang="en-US" noProof="0" smtClean="0"/>
              <a:t>‹#›</a:t>
            </a:fld>
            <a:endParaRPr lang="en-US" noProof="0"/>
          </a:p>
        </p:txBody>
      </p:sp>
      <p:sp>
        <p:nvSpPr>
          <p:cNvPr id="9" name="Footer Placeholder 3">
            <a:extLst>
              <a:ext uri="{FF2B5EF4-FFF2-40B4-BE49-F238E27FC236}">
                <a16:creationId xmlns:a16="http://schemas.microsoft.com/office/drawing/2014/main" id="{54E58106-3073-C284-986B-BF409E8E3FB2}"/>
              </a:ext>
            </a:extLst>
          </p:cNvPr>
          <p:cNvSpPr>
            <a:spLocks noGrp="1"/>
          </p:cNvSpPr>
          <p:nvPr>
            <p:ph type="ftr" sz="quarter" idx="11"/>
          </p:nvPr>
        </p:nvSpPr>
        <p:spPr>
          <a:xfrm>
            <a:off x="1446000" y="6339057"/>
            <a:ext cx="9675845" cy="374690"/>
          </a:xfrm>
          <a:prstGeom prst="rect">
            <a:avLst/>
          </a:prstGeom>
        </p:spPr>
        <p:txBody>
          <a:bodyPr/>
          <a:lstStyle/>
          <a:p>
            <a:endParaRPr lang="en-US"/>
          </a:p>
        </p:txBody>
      </p:sp>
    </p:spTree>
    <p:extLst>
      <p:ext uri="{BB962C8B-B14F-4D97-AF65-F5344CB8AC3E}">
        <p14:creationId xmlns:p14="http://schemas.microsoft.com/office/powerpoint/2010/main" val="2952325515"/>
      </p:ext>
    </p:extLst>
  </p:cSld>
  <p:clrMapOvr>
    <a:masterClrMapping/>
  </p:clrMapOvr>
  <p:extLst>
    <p:ext uri="{DCECCB84-F9BA-43D5-87BE-67443E8EF086}">
      <p15:sldGuideLst xmlns:p15="http://schemas.microsoft.com/office/powerpoint/2012/main">
        <p15:guide id="1" orient="horz" pos="113">
          <p15:clr>
            <a:srgbClr val="FBAE40"/>
          </p15:clr>
        </p15:guide>
        <p15:guide id="2" orient="horz" pos="786">
          <p15:clr>
            <a:srgbClr val="FBAE40"/>
          </p15:clr>
        </p15:guide>
        <p15:guide id="3" orient="horz" pos="3741">
          <p15:clr>
            <a:srgbClr val="FBAE40"/>
          </p15:clr>
        </p15:guide>
        <p15:guide id="4" orient="horz" pos="1272">
          <p15:clr>
            <a:srgbClr val="FBAE40"/>
          </p15:clr>
        </p15:guide>
        <p15:guide id="5" orient="horz" pos="1158">
          <p15:clr>
            <a:srgbClr val="FBAE40"/>
          </p15:clr>
        </p15:guide>
        <p15:guide id="6" pos="3784">
          <p15:clr>
            <a:srgbClr val="FBAE40"/>
          </p15:clr>
        </p15:guide>
        <p15:guide id="7" pos="3896">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8_Title Slide (Pictur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2F0D3B3-FB4D-45BC-BE2E-E0ACC1635A4F}"/>
              </a:ext>
            </a:extLst>
          </p:cNvPr>
          <p:cNvGraphicFramePr>
            <a:graphicFrameLocks noChangeAspect="1"/>
          </p:cNvGraphicFramePr>
          <p:nvPr>
            <p:custDataLst>
              <p:tags r:id="rId1"/>
            </p:custDataLst>
            <p:extLst>
              <p:ext uri="{D42A27DB-BD31-4B8C-83A1-F6EECF244321}">
                <p14:modId xmlns:p14="http://schemas.microsoft.com/office/powerpoint/2010/main" val="23849039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8" name="Object 7" hidden="1">
                        <a:extLst>
                          <a:ext uri="{FF2B5EF4-FFF2-40B4-BE49-F238E27FC236}">
                            <a16:creationId xmlns:a16="http://schemas.microsoft.com/office/drawing/2014/main" id="{82F0D3B3-FB4D-45BC-BE2E-E0ACC1635A4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0D406DB-41A2-4933-86A0-0828F55DE1B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3600" b="1" i="0" baseline="0">
              <a:latin typeface="Century Gothic" panose="020B0502020202020204" pitchFamily="34" charset="0"/>
              <a:ea typeface="+mj-ea"/>
              <a:cs typeface="+mj-cs"/>
              <a:sym typeface="Century Gothic" panose="020B0502020202020204" pitchFamily="34" charset="0"/>
            </a:endParaRPr>
          </a:p>
        </p:txBody>
      </p:sp>
      <p:sp>
        <p:nvSpPr>
          <p:cNvPr id="4" name="Rectangle 3">
            <a:extLst>
              <a:ext uri="{FF2B5EF4-FFF2-40B4-BE49-F238E27FC236}">
                <a16:creationId xmlns:a16="http://schemas.microsoft.com/office/drawing/2014/main" id="{03A9E883-9BB5-482C-A327-2D21B1564687}"/>
              </a:ext>
            </a:extLst>
          </p:cNvPr>
          <p:cNvSpPr/>
          <p:nvPr/>
        </p:nvSpPr>
        <p:spPr>
          <a:xfrm>
            <a:off x="5499096" y="0"/>
            <a:ext cx="6692904"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a:ln>
                <a:noFill/>
              </a:ln>
              <a:solidFill>
                <a:schemeClr val="bg1"/>
              </a:solidFill>
            </a:endParaRPr>
          </a:p>
        </p:txBody>
      </p:sp>
      <p:sp>
        <p:nvSpPr>
          <p:cNvPr id="2" name="Title 1">
            <a:extLst>
              <a:ext uri="{FF2B5EF4-FFF2-40B4-BE49-F238E27FC236}">
                <a16:creationId xmlns:a16="http://schemas.microsoft.com/office/drawing/2014/main" id="{08AF85F3-5290-4EBA-8B8A-DB6A01B381A6}"/>
              </a:ext>
            </a:extLst>
          </p:cNvPr>
          <p:cNvSpPr>
            <a:spLocks noGrp="1"/>
          </p:cNvSpPr>
          <p:nvPr>
            <p:ph type="ctrTitle" hasCustomPrompt="1"/>
          </p:nvPr>
        </p:nvSpPr>
        <p:spPr>
          <a:xfrm>
            <a:off x="6368133" y="3994896"/>
            <a:ext cx="4630057" cy="1801524"/>
          </a:xfrm>
        </p:spPr>
        <p:txBody>
          <a:bodyPr vert="horz" anchor="b">
            <a:noAutofit/>
          </a:bodyPr>
          <a:lstStyle>
            <a:lvl1pPr algn="l">
              <a:defRPr sz="3600">
                <a:solidFill>
                  <a:schemeClr val="bg2"/>
                </a:solidFill>
                <a:latin typeface="Century Gothic" panose="020B0502020202020204" pitchFamily="34" charset="0"/>
              </a:defRPr>
            </a:lvl1pPr>
          </a:lstStyle>
          <a:p>
            <a:r>
              <a:rPr lang="en-US" noProof="0"/>
              <a:t>Click to edit master title style</a:t>
            </a:r>
          </a:p>
        </p:txBody>
      </p:sp>
      <p:sp>
        <p:nvSpPr>
          <p:cNvPr id="3" name="Subtitle 2">
            <a:extLst>
              <a:ext uri="{FF2B5EF4-FFF2-40B4-BE49-F238E27FC236}">
                <a16:creationId xmlns:a16="http://schemas.microsoft.com/office/drawing/2014/main" id="{FC3B1678-8578-485B-ABDD-36D8CF73E2D8}"/>
              </a:ext>
            </a:extLst>
          </p:cNvPr>
          <p:cNvSpPr>
            <a:spLocks noGrp="1"/>
          </p:cNvSpPr>
          <p:nvPr>
            <p:ph type="subTitle" idx="1" hasCustomPrompt="1"/>
          </p:nvPr>
        </p:nvSpPr>
        <p:spPr>
          <a:xfrm>
            <a:off x="6368131" y="5883244"/>
            <a:ext cx="4630058" cy="349250"/>
          </a:xfrm>
        </p:spPr>
        <p:txBody>
          <a:bodyPr lIns="0" tIns="0" rIns="0" bIns="0" anchor="ctr">
            <a:noAutofit/>
          </a:bodyPr>
          <a:lstStyle>
            <a:lvl1pPr marL="0" indent="0" algn="l">
              <a:buNone/>
              <a:defRPr sz="2000">
                <a:solidFill>
                  <a:srgbClr val="95D600"/>
                </a:solidFill>
                <a:latin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pic>
        <p:nvPicPr>
          <p:cNvPr id="12" name="Picture 11" descr="A picture containing logo&#10;&#10;Description automatically generated">
            <a:extLst>
              <a:ext uri="{FF2B5EF4-FFF2-40B4-BE49-F238E27FC236}">
                <a16:creationId xmlns:a16="http://schemas.microsoft.com/office/drawing/2014/main" id="{FFB48E65-93C6-48D1-BD43-B2B468BB4B48}"/>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368131" y="348748"/>
            <a:ext cx="1856143" cy="1613595"/>
          </a:xfrm>
          <a:prstGeom prst="rect">
            <a:avLst/>
          </a:prstGeom>
        </p:spPr>
      </p:pic>
      <p:sp>
        <p:nvSpPr>
          <p:cNvPr id="10" name="Picture Placeholder 19">
            <a:extLst>
              <a:ext uri="{FF2B5EF4-FFF2-40B4-BE49-F238E27FC236}">
                <a16:creationId xmlns:a16="http://schemas.microsoft.com/office/drawing/2014/main" id="{7AAD8B0E-17EB-488A-9721-65FC583FE98A}"/>
              </a:ext>
            </a:extLst>
          </p:cNvPr>
          <p:cNvSpPr>
            <a:spLocks noGrp="1"/>
          </p:cNvSpPr>
          <p:nvPr>
            <p:ph type="pic" sz="quarter" idx="10"/>
          </p:nvPr>
        </p:nvSpPr>
        <p:spPr>
          <a:xfrm>
            <a:off x="2" y="0"/>
            <a:ext cx="5499094" cy="6858000"/>
          </a:xfrm>
          <a:solidFill>
            <a:srgbClr val="EAF7CC"/>
          </a:solidFill>
        </p:spPr>
        <p:txBody>
          <a:bodyPr/>
          <a:lstStyle>
            <a:lvl1pPr>
              <a:defRPr>
                <a:latin typeface="Century Gothic" panose="020B0502020202020204" pitchFamily="34" charset="0"/>
              </a:defRPr>
            </a:lvl1pPr>
          </a:lstStyle>
          <a:p>
            <a:r>
              <a:rPr lang="en-US"/>
              <a:t>Click icon to add picture</a:t>
            </a:r>
            <a:endParaRPr lang="ru-RU"/>
          </a:p>
        </p:txBody>
      </p:sp>
    </p:spTree>
    <p:extLst>
      <p:ext uri="{BB962C8B-B14F-4D97-AF65-F5344CB8AC3E}">
        <p14:creationId xmlns:p14="http://schemas.microsoft.com/office/powerpoint/2010/main" val="2784005310"/>
      </p:ext>
    </p:extLst>
  </p:cSld>
  <p:clrMapOvr>
    <a:masterClrMapping/>
  </p:clrMapOvr>
  <p:hf hdr="0" dt="0"/>
  <p:extLst>
    <p:ext uri="{DCECCB84-F9BA-43D5-87BE-67443E8EF086}">
      <p15:sldGuideLst xmlns:p15="http://schemas.microsoft.com/office/powerpoint/2012/main">
        <p15:guide id="2" orient="horz" pos="674">
          <p15:clr>
            <a:srgbClr val="FBAE40"/>
          </p15:clr>
        </p15:guide>
        <p15:guide id="3" pos="4806">
          <p15:clr>
            <a:srgbClr val="FBAE40"/>
          </p15:clr>
        </p15:guide>
        <p15:guide id="4" pos="558">
          <p15:clr>
            <a:srgbClr val="FBAE40"/>
          </p15:clr>
        </p15:guide>
        <p15:guide id="7" orient="horz" pos="1064">
          <p15:clr>
            <a:srgbClr val="FBAE40"/>
          </p15:clr>
        </p15:guide>
        <p15:guide id="8" orient="horz" pos="257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2F0D3B3-FB4D-45BC-BE2E-E0ACC1635A4F}"/>
              </a:ext>
            </a:extLst>
          </p:cNvPr>
          <p:cNvGraphicFramePr>
            <a:graphicFrameLocks noChangeAspect="1"/>
          </p:cNvGraphicFramePr>
          <p:nvPr>
            <p:custDataLst>
              <p:tags r:id="rId1"/>
            </p:custDataLst>
            <p:extLst>
              <p:ext uri="{D42A27DB-BD31-4B8C-83A1-F6EECF244321}">
                <p14:modId xmlns:p14="http://schemas.microsoft.com/office/powerpoint/2010/main" val="39025466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8" name="Object 7" hidden="1">
                        <a:extLst>
                          <a:ext uri="{FF2B5EF4-FFF2-40B4-BE49-F238E27FC236}">
                            <a16:creationId xmlns:a16="http://schemas.microsoft.com/office/drawing/2014/main" id="{82F0D3B3-FB4D-45BC-BE2E-E0ACC1635A4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0D406DB-41A2-4933-86A0-0828F55DE1B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6000" b="0" i="0" baseline="0">
              <a:latin typeface="Verdana" panose="020B0604030504040204" pitchFamily="34" charset="0"/>
              <a:ea typeface="+mj-ea"/>
              <a:cs typeface="+mj-cs"/>
              <a:sym typeface="Museo Sans 100"/>
            </a:endParaRPr>
          </a:p>
        </p:txBody>
      </p:sp>
      <p:sp>
        <p:nvSpPr>
          <p:cNvPr id="3" name="Subtitle 2">
            <a:extLst>
              <a:ext uri="{FF2B5EF4-FFF2-40B4-BE49-F238E27FC236}">
                <a16:creationId xmlns:a16="http://schemas.microsoft.com/office/drawing/2014/main" id="{FC3B1678-8578-485B-ABDD-36D8CF73E2D8}"/>
              </a:ext>
            </a:extLst>
          </p:cNvPr>
          <p:cNvSpPr>
            <a:spLocks noGrp="1"/>
          </p:cNvSpPr>
          <p:nvPr>
            <p:ph type="subTitle" idx="1" hasCustomPrompt="1"/>
          </p:nvPr>
        </p:nvSpPr>
        <p:spPr>
          <a:xfrm>
            <a:off x="885669" y="1069975"/>
            <a:ext cx="6741080" cy="349250"/>
          </a:xfrm>
        </p:spPr>
        <p:txBody>
          <a:bodyPr lIns="0" tIns="0" rIns="0" bIns="0">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sp>
        <p:nvSpPr>
          <p:cNvPr id="10" name="Title 1">
            <a:extLst>
              <a:ext uri="{FF2B5EF4-FFF2-40B4-BE49-F238E27FC236}">
                <a16:creationId xmlns:a16="http://schemas.microsoft.com/office/drawing/2014/main" id="{FEBB6DFB-8795-4A35-B6E9-764C4B0B3556}"/>
              </a:ext>
            </a:extLst>
          </p:cNvPr>
          <p:cNvSpPr>
            <a:spLocks noGrp="1"/>
          </p:cNvSpPr>
          <p:nvPr>
            <p:ph type="ctrTitle" idx="4294967295"/>
          </p:nvPr>
        </p:nvSpPr>
        <p:spPr>
          <a:xfrm>
            <a:off x="885668" y="1691464"/>
            <a:ext cx="6741079" cy="2387600"/>
          </a:xfrm>
        </p:spPr>
        <p:txBody>
          <a:bodyPr>
            <a:noAutofit/>
          </a:bodyPr>
          <a:lstStyle>
            <a:lvl1pPr>
              <a:defRPr sz="3600"/>
            </a:lvl1pPr>
          </a:lstStyle>
          <a:p>
            <a:r>
              <a:rPr lang="en-US" noProof="0"/>
              <a:t>Click to edit Master title style</a:t>
            </a:r>
          </a:p>
        </p:txBody>
      </p:sp>
      <p:pic>
        <p:nvPicPr>
          <p:cNvPr id="2" name="Picture 1" descr="A close up of a logo&#10;&#10;Description automatically generated">
            <a:extLst>
              <a:ext uri="{FF2B5EF4-FFF2-40B4-BE49-F238E27FC236}">
                <a16:creationId xmlns:a16="http://schemas.microsoft.com/office/drawing/2014/main" id="{3E0A0E4F-2031-1FD7-3694-84C930D97F52}"/>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t="21654" r="7536" b="21822"/>
          <a:stretch/>
        </p:blipFill>
        <p:spPr>
          <a:xfrm>
            <a:off x="10695878" y="6305447"/>
            <a:ext cx="1384998" cy="409678"/>
          </a:xfrm>
          <a:prstGeom prst="rect">
            <a:avLst/>
          </a:prstGeom>
        </p:spPr>
      </p:pic>
    </p:spTree>
    <p:extLst>
      <p:ext uri="{BB962C8B-B14F-4D97-AF65-F5344CB8AC3E}">
        <p14:creationId xmlns:p14="http://schemas.microsoft.com/office/powerpoint/2010/main" val="1035250031"/>
      </p:ext>
    </p:extLst>
  </p:cSld>
  <p:clrMapOvr>
    <a:masterClrMapping/>
  </p:clrMapOvr>
  <p:extLst>
    <p:ext uri="{DCECCB84-F9BA-43D5-87BE-67443E8EF086}">
      <p15:sldGuideLst xmlns:p15="http://schemas.microsoft.com/office/powerpoint/2012/main">
        <p15:guide id="1" pos="558">
          <p15:clr>
            <a:srgbClr val="FBAE40"/>
          </p15:clr>
        </p15:guide>
        <p15:guide id="2" pos="4804">
          <p15:clr>
            <a:srgbClr val="FBAE40"/>
          </p15:clr>
        </p15:guide>
        <p15:guide id="4" orient="horz" pos="113">
          <p15:clr>
            <a:srgbClr val="FBAE40"/>
          </p15:clr>
        </p15:guide>
        <p15:guide id="5" orient="horz" pos="674">
          <p15:clr>
            <a:srgbClr val="FBAE40"/>
          </p15:clr>
        </p15:guide>
        <p15:guide id="6" orient="horz" pos="2568">
          <p15:clr>
            <a:srgbClr val="FBAE40"/>
          </p15:clr>
        </p15:guide>
        <p15:guide id="7" orient="horz" pos="2160">
          <p15:clr>
            <a:srgbClr val="FBAE40"/>
          </p15:clr>
        </p15:guide>
        <p15:guide id="8" orient="horz" pos="1062">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18_Title Slide (Picture)">
    <p:bg>
      <p:bgPr>
        <a:solidFill>
          <a:schemeClr val="bg2"/>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2F0D3B3-FB4D-45BC-BE2E-E0ACC1635A4F}"/>
              </a:ext>
            </a:extLst>
          </p:cNvPr>
          <p:cNvGraphicFramePr>
            <a:graphicFrameLocks noChangeAspect="1"/>
          </p:cNvGraphicFramePr>
          <p:nvPr>
            <p:custDataLst>
              <p:tags r:id="rId1"/>
            </p:custDataLst>
            <p:extLst>
              <p:ext uri="{D42A27DB-BD31-4B8C-83A1-F6EECF244321}">
                <p14:modId xmlns:p14="http://schemas.microsoft.com/office/powerpoint/2010/main" val="18531102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8" name="Object 7" hidden="1">
                        <a:extLst>
                          <a:ext uri="{FF2B5EF4-FFF2-40B4-BE49-F238E27FC236}">
                            <a16:creationId xmlns:a16="http://schemas.microsoft.com/office/drawing/2014/main" id="{82F0D3B3-FB4D-45BC-BE2E-E0ACC1635A4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0D406DB-41A2-4933-86A0-0828F55DE1B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6000" b="1" i="0" baseline="0">
              <a:latin typeface="Inter" panose="020B0502030000000004" pitchFamily="34" charset="0"/>
              <a:ea typeface="Inter" panose="020B0502030000000004" pitchFamily="34" charset="0"/>
              <a:cs typeface="Inter" panose="020B0502030000000004" pitchFamily="34" charset="0"/>
              <a:sym typeface="Inter" panose="020B0502030000000004" pitchFamily="34" charset="0"/>
            </a:endParaRPr>
          </a:p>
        </p:txBody>
      </p:sp>
      <p:sp>
        <p:nvSpPr>
          <p:cNvPr id="9" name="Picture Placeholder 8">
            <a:extLst>
              <a:ext uri="{FF2B5EF4-FFF2-40B4-BE49-F238E27FC236}">
                <a16:creationId xmlns:a16="http://schemas.microsoft.com/office/drawing/2014/main" id="{172DCD42-D661-4A77-A320-C376CF432C6C}"/>
              </a:ext>
            </a:extLst>
          </p:cNvPr>
          <p:cNvSpPr>
            <a:spLocks noGrp="1"/>
          </p:cNvSpPr>
          <p:nvPr>
            <p:ph type="pic" sz="quarter" idx="10"/>
          </p:nvPr>
        </p:nvSpPr>
        <p:spPr>
          <a:xfrm>
            <a:off x="0" y="0"/>
            <a:ext cx="12192000" cy="6858000"/>
          </a:xfrm>
        </p:spPr>
        <p:txBody>
          <a:bodyPr/>
          <a:lstStyle/>
          <a:p>
            <a:r>
              <a:rPr lang="en-US"/>
              <a:t>Click icon to add picture</a:t>
            </a:r>
            <a:endParaRPr lang="de-DE"/>
          </a:p>
        </p:txBody>
      </p:sp>
      <p:sp>
        <p:nvSpPr>
          <p:cNvPr id="2" name="Title 1">
            <a:extLst>
              <a:ext uri="{FF2B5EF4-FFF2-40B4-BE49-F238E27FC236}">
                <a16:creationId xmlns:a16="http://schemas.microsoft.com/office/drawing/2014/main" id="{08AF85F3-5290-4EBA-8B8A-DB6A01B381A6}"/>
              </a:ext>
            </a:extLst>
          </p:cNvPr>
          <p:cNvSpPr>
            <a:spLocks noGrp="1"/>
          </p:cNvSpPr>
          <p:nvPr>
            <p:ph type="ctrTitle" hasCustomPrompt="1"/>
          </p:nvPr>
        </p:nvSpPr>
        <p:spPr>
          <a:xfrm>
            <a:off x="822168" y="2044699"/>
            <a:ext cx="6741079" cy="2390775"/>
          </a:xfrm>
        </p:spPr>
        <p:txBody>
          <a:bodyPr vert="horz" anchor="t">
            <a:noAutofit/>
          </a:bodyPr>
          <a:lstStyle>
            <a:lvl1pPr algn="l">
              <a:defRPr sz="5400">
                <a:solidFill>
                  <a:schemeClr val="bg2"/>
                </a:solidFill>
              </a:defRPr>
            </a:lvl1pPr>
          </a:lstStyle>
          <a:p>
            <a:r>
              <a:rPr lang="en-US" noProof="0"/>
              <a:t>Click to edit master title style</a:t>
            </a:r>
          </a:p>
        </p:txBody>
      </p:sp>
      <p:sp>
        <p:nvSpPr>
          <p:cNvPr id="3" name="Subtitle 2">
            <a:extLst>
              <a:ext uri="{FF2B5EF4-FFF2-40B4-BE49-F238E27FC236}">
                <a16:creationId xmlns:a16="http://schemas.microsoft.com/office/drawing/2014/main" id="{FC3B1678-8578-485B-ABDD-36D8CF73E2D8}"/>
              </a:ext>
            </a:extLst>
          </p:cNvPr>
          <p:cNvSpPr>
            <a:spLocks noGrp="1"/>
          </p:cNvSpPr>
          <p:nvPr>
            <p:ph type="subTitle" idx="1" hasCustomPrompt="1"/>
          </p:nvPr>
        </p:nvSpPr>
        <p:spPr>
          <a:xfrm>
            <a:off x="822169" y="1425575"/>
            <a:ext cx="6741079" cy="349250"/>
          </a:xfrm>
        </p:spPr>
        <p:txBody>
          <a:bodyPr lIns="0" tIns="0" rIns="0" bIns="0">
            <a:noAutofit/>
          </a:bodyPr>
          <a:lstStyle>
            <a:lvl1pPr marL="0" indent="0" algn="l">
              <a:buNone/>
              <a:defRPr sz="200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spTree>
    <p:extLst>
      <p:ext uri="{BB962C8B-B14F-4D97-AF65-F5344CB8AC3E}">
        <p14:creationId xmlns:p14="http://schemas.microsoft.com/office/powerpoint/2010/main" val="957541852"/>
      </p:ext>
    </p:extLst>
  </p:cSld>
  <p:clrMapOvr>
    <a:masterClrMapping/>
  </p:clrMapOvr>
  <p:hf hdr="0" dt="0"/>
  <p:extLst>
    <p:ext uri="{DCECCB84-F9BA-43D5-87BE-67443E8EF086}">
      <p15:sldGuideLst xmlns:p15="http://schemas.microsoft.com/office/powerpoint/2012/main">
        <p15:guide id="2" orient="horz" pos="674">
          <p15:clr>
            <a:srgbClr val="FBAE40"/>
          </p15:clr>
        </p15:guide>
        <p15:guide id="3" pos="4806">
          <p15:clr>
            <a:srgbClr val="FBAE40"/>
          </p15:clr>
        </p15:guide>
        <p15:guide id="4" pos="558">
          <p15:clr>
            <a:srgbClr val="FBAE40"/>
          </p15:clr>
        </p15:guide>
        <p15:guide id="7" orient="horz" pos="1064">
          <p15:clr>
            <a:srgbClr val="FBAE40"/>
          </p15:clr>
        </p15:guide>
        <p15:guide id="8" orient="horz" pos="257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Section Header">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2F0D3B3-FB4D-45BC-BE2E-E0ACC1635A4F}"/>
              </a:ext>
            </a:extLst>
          </p:cNvPr>
          <p:cNvGraphicFramePr>
            <a:graphicFrameLocks noChangeAspect="1"/>
          </p:cNvGraphicFramePr>
          <p:nvPr>
            <p:custDataLst>
              <p:tags r:id="rId1"/>
            </p:custDataLst>
            <p:extLst>
              <p:ext uri="{D42A27DB-BD31-4B8C-83A1-F6EECF244321}">
                <p14:modId xmlns:p14="http://schemas.microsoft.com/office/powerpoint/2010/main" val="9022091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8" name="Object 7" hidden="1">
                        <a:extLst>
                          <a:ext uri="{FF2B5EF4-FFF2-40B4-BE49-F238E27FC236}">
                            <a16:creationId xmlns:a16="http://schemas.microsoft.com/office/drawing/2014/main" id="{82F0D3B3-FB4D-45BC-BE2E-E0ACC1635A4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0D406DB-41A2-4933-86A0-0828F55DE1B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6000" b="0" i="0" baseline="0">
              <a:latin typeface="Verdana" panose="020B0604030504040204" pitchFamily="34" charset="0"/>
              <a:ea typeface="+mj-ea"/>
              <a:cs typeface="+mj-cs"/>
              <a:sym typeface="Museo Sans 100"/>
            </a:endParaRPr>
          </a:p>
        </p:txBody>
      </p:sp>
      <p:sp>
        <p:nvSpPr>
          <p:cNvPr id="2" name="Title 1">
            <a:extLst>
              <a:ext uri="{FF2B5EF4-FFF2-40B4-BE49-F238E27FC236}">
                <a16:creationId xmlns:a16="http://schemas.microsoft.com/office/drawing/2014/main" id="{08AF85F3-5290-4EBA-8B8A-DB6A01B381A6}"/>
              </a:ext>
            </a:extLst>
          </p:cNvPr>
          <p:cNvSpPr>
            <a:spLocks noGrp="1"/>
          </p:cNvSpPr>
          <p:nvPr>
            <p:ph type="ctrTitle" hasCustomPrompt="1"/>
          </p:nvPr>
        </p:nvSpPr>
        <p:spPr>
          <a:xfrm>
            <a:off x="885668" y="1689100"/>
            <a:ext cx="6741079" cy="2389964"/>
          </a:xfrm>
        </p:spPr>
        <p:txBody>
          <a:bodyPr vert="horz" lIns="0" tIns="0" rIns="0" bIns="0" anchor="t">
            <a:noAutofit/>
          </a:bodyPr>
          <a:lstStyle>
            <a:lvl1pPr algn="l">
              <a:defRPr sz="5400"/>
            </a:lvl1pPr>
          </a:lstStyle>
          <a:p>
            <a:r>
              <a:rPr lang="en-US" noProof="0"/>
              <a:t>Click to edit master title style</a:t>
            </a:r>
          </a:p>
        </p:txBody>
      </p:sp>
      <p:sp>
        <p:nvSpPr>
          <p:cNvPr id="3" name="Subtitle 2">
            <a:extLst>
              <a:ext uri="{FF2B5EF4-FFF2-40B4-BE49-F238E27FC236}">
                <a16:creationId xmlns:a16="http://schemas.microsoft.com/office/drawing/2014/main" id="{FC3B1678-8578-485B-ABDD-36D8CF73E2D8}"/>
              </a:ext>
            </a:extLst>
          </p:cNvPr>
          <p:cNvSpPr>
            <a:spLocks noGrp="1"/>
          </p:cNvSpPr>
          <p:nvPr>
            <p:ph type="subTitle" idx="1" hasCustomPrompt="1"/>
          </p:nvPr>
        </p:nvSpPr>
        <p:spPr>
          <a:xfrm>
            <a:off x="885669" y="1069975"/>
            <a:ext cx="6741079" cy="349250"/>
          </a:xfrm>
        </p:spPr>
        <p:txBody>
          <a:bodyPr lIns="0" tIns="0" rIns="0" bIns="0">
            <a:noAutofit/>
          </a:bodyPr>
          <a:lstStyle>
            <a:lvl1pPr marL="0" indent="0" algn="l">
              <a:buNone/>
              <a:defRPr sz="2000">
                <a:solidFill>
                  <a:schemeClr val="tx2">
                    <a:lumMod val="10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sp>
        <p:nvSpPr>
          <p:cNvPr id="6" name="Slide Number Placeholder 5">
            <a:extLst>
              <a:ext uri="{FF2B5EF4-FFF2-40B4-BE49-F238E27FC236}">
                <a16:creationId xmlns:a16="http://schemas.microsoft.com/office/drawing/2014/main" id="{9346F278-8B8A-4874-AB9B-D1092252AB25}"/>
              </a:ext>
            </a:extLst>
          </p:cNvPr>
          <p:cNvSpPr>
            <a:spLocks noGrp="1"/>
          </p:cNvSpPr>
          <p:nvPr>
            <p:ph type="sldNum" sz="quarter" idx="12"/>
          </p:nvPr>
        </p:nvSpPr>
        <p:spPr/>
        <p:txBody>
          <a:bodyPr lIns="0" tIns="0" rIns="0" bIns="0"/>
          <a:lstStyle/>
          <a:p>
            <a:fld id="{DDF71BC8-773F-4A54-968E-450E29C75AD4}" type="slidenum">
              <a:rPr lang="en-GB" smtClean="0"/>
              <a:pPr/>
              <a:t>‹#›</a:t>
            </a:fld>
            <a:endParaRPr lang="en-GB"/>
          </a:p>
        </p:txBody>
      </p:sp>
      <p:sp>
        <p:nvSpPr>
          <p:cNvPr id="4" name="Rectangle 3">
            <a:extLst>
              <a:ext uri="{FF2B5EF4-FFF2-40B4-BE49-F238E27FC236}">
                <a16:creationId xmlns:a16="http://schemas.microsoft.com/office/drawing/2014/main" id="{8F8383F9-6957-EFFF-499D-533972507A5C}"/>
              </a:ext>
            </a:extLst>
          </p:cNvPr>
          <p:cNvSpPr/>
          <p:nvPr userDrawn="1"/>
        </p:nvSpPr>
        <p:spPr>
          <a:xfrm>
            <a:off x="890430" y="510885"/>
            <a:ext cx="1312012" cy="45719"/>
          </a:xfrm>
          <a:prstGeom prst="rect">
            <a:avLst/>
          </a:prstGeom>
          <a:solidFill>
            <a:schemeClr val="accent2">
              <a:lumMod val="100000"/>
            </a:schemeClr>
          </a:solidFill>
          <a:ln w="12700" cap="flat" cmpd="sng" algn="ctr">
            <a:solidFill>
              <a:schemeClr val="accent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Tree>
    <p:extLst>
      <p:ext uri="{BB962C8B-B14F-4D97-AF65-F5344CB8AC3E}">
        <p14:creationId xmlns:p14="http://schemas.microsoft.com/office/powerpoint/2010/main" val="2342854187"/>
      </p:ext>
    </p:extLst>
  </p:cSld>
  <p:clrMapOvr>
    <a:masterClrMapping/>
  </p:clrMapOvr>
  <p:extLst>
    <p:ext uri="{DCECCB84-F9BA-43D5-87BE-67443E8EF086}">
      <p15:sldGuideLst xmlns:p15="http://schemas.microsoft.com/office/powerpoint/2012/main">
        <p15:guide id="1" orient="horz" pos="1064">
          <p15:clr>
            <a:srgbClr val="FBAE40"/>
          </p15:clr>
        </p15:guide>
        <p15:guide id="2" orient="horz" pos="674">
          <p15:clr>
            <a:srgbClr val="FBAE40"/>
          </p15:clr>
        </p15:guide>
        <p15:guide id="3" pos="4805">
          <p15:clr>
            <a:srgbClr val="FBAE40"/>
          </p15:clr>
        </p15:guide>
        <p15:guide id="4" pos="558">
          <p15:clr>
            <a:srgbClr val="FBAE40"/>
          </p15:clr>
        </p15:guide>
        <p15:guide id="5" orient="horz" pos="2570">
          <p15:clr>
            <a:srgbClr val="FBAE40"/>
          </p15:clr>
        </p15:guide>
        <p15:guide id="6" orient="horz" pos="3969">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ection Header (Blue 1)">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2F0D3B3-FB4D-45BC-BE2E-E0ACC1635A4F}"/>
              </a:ext>
            </a:extLst>
          </p:cNvPr>
          <p:cNvGraphicFramePr>
            <a:graphicFrameLocks noChangeAspect="1"/>
          </p:cNvGraphicFramePr>
          <p:nvPr>
            <p:custDataLst>
              <p:tags r:id="rId1"/>
            </p:custDataLst>
            <p:extLst>
              <p:ext uri="{D42A27DB-BD31-4B8C-83A1-F6EECF244321}">
                <p14:modId xmlns:p14="http://schemas.microsoft.com/office/powerpoint/2010/main" val="21511281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8" name="Object 7" hidden="1">
                        <a:extLst>
                          <a:ext uri="{FF2B5EF4-FFF2-40B4-BE49-F238E27FC236}">
                            <a16:creationId xmlns:a16="http://schemas.microsoft.com/office/drawing/2014/main" id="{82F0D3B3-FB4D-45BC-BE2E-E0ACC1635A4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0D406DB-41A2-4933-86A0-0828F55DE1B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6000" b="0" i="0" baseline="0">
              <a:latin typeface="Verdana" panose="020B0604030504040204" pitchFamily="34" charset="0"/>
              <a:ea typeface="+mj-ea"/>
              <a:cs typeface="+mj-cs"/>
              <a:sym typeface="Museo Sans 100"/>
            </a:endParaRPr>
          </a:p>
        </p:txBody>
      </p:sp>
      <p:sp>
        <p:nvSpPr>
          <p:cNvPr id="10" name="Rectangle 9">
            <a:extLst>
              <a:ext uri="{FF2B5EF4-FFF2-40B4-BE49-F238E27FC236}">
                <a16:creationId xmlns:a16="http://schemas.microsoft.com/office/drawing/2014/main" id="{F92D6356-6339-48B3-8B32-2E2AEE29EDEF}"/>
              </a:ext>
            </a:extLst>
          </p:cNvPr>
          <p:cNvSpPr/>
          <p:nvPr/>
        </p:nvSpPr>
        <p:spPr>
          <a:xfrm>
            <a:off x="382385" y="540000"/>
            <a:ext cx="11427232" cy="5398838"/>
          </a:xfrm>
          <a:prstGeom prst="rect">
            <a:avLst/>
          </a:prstGeom>
          <a:solidFill>
            <a:schemeClr val="tx2">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r"/>
            <a:endParaRPr lang="en-US" sz="3600" b="1" noProof="0">
              <a:solidFill>
                <a:schemeClr val="tx2"/>
              </a:solidFill>
            </a:endParaRPr>
          </a:p>
        </p:txBody>
      </p:sp>
      <p:sp>
        <p:nvSpPr>
          <p:cNvPr id="3" name="Subtitle 2">
            <a:extLst>
              <a:ext uri="{FF2B5EF4-FFF2-40B4-BE49-F238E27FC236}">
                <a16:creationId xmlns:a16="http://schemas.microsoft.com/office/drawing/2014/main" id="{FC3B1678-8578-485B-ABDD-36D8CF73E2D8}"/>
              </a:ext>
            </a:extLst>
          </p:cNvPr>
          <p:cNvSpPr>
            <a:spLocks noGrp="1"/>
          </p:cNvSpPr>
          <p:nvPr>
            <p:ph type="subTitle" idx="1" hasCustomPrompt="1"/>
          </p:nvPr>
        </p:nvSpPr>
        <p:spPr>
          <a:xfrm>
            <a:off x="885669" y="1069975"/>
            <a:ext cx="6741079" cy="349250"/>
          </a:xfrm>
        </p:spPr>
        <p:txBody>
          <a:bodyPr lIns="0" tIns="0" rIns="0" bIns="0">
            <a:no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sp>
        <p:nvSpPr>
          <p:cNvPr id="6" name="Slide Number Placeholder 5">
            <a:extLst>
              <a:ext uri="{FF2B5EF4-FFF2-40B4-BE49-F238E27FC236}">
                <a16:creationId xmlns:a16="http://schemas.microsoft.com/office/drawing/2014/main" id="{9346F278-8B8A-4874-AB9B-D1092252AB25}"/>
              </a:ext>
            </a:extLst>
          </p:cNvPr>
          <p:cNvSpPr>
            <a:spLocks noGrp="1"/>
          </p:cNvSpPr>
          <p:nvPr>
            <p:ph type="sldNum" sz="quarter" idx="12"/>
          </p:nvPr>
        </p:nvSpPr>
        <p:spPr/>
        <p:txBody>
          <a:bodyPr lIns="0" tIns="0" rIns="0" bIns="0"/>
          <a:lstStyle/>
          <a:p>
            <a:fld id="{DDF71BC8-773F-4A54-968E-450E29C75AD4}" type="slidenum">
              <a:rPr lang="en-GB" smtClean="0"/>
              <a:pPr/>
              <a:t>‹#›</a:t>
            </a:fld>
            <a:endParaRPr lang="en-GB"/>
          </a:p>
        </p:txBody>
      </p:sp>
      <p:sp>
        <p:nvSpPr>
          <p:cNvPr id="11" name="Title 1">
            <a:extLst>
              <a:ext uri="{FF2B5EF4-FFF2-40B4-BE49-F238E27FC236}">
                <a16:creationId xmlns:a16="http://schemas.microsoft.com/office/drawing/2014/main" id="{0CEB10F1-9A99-4B04-99A0-D8E2CAE06AC0}"/>
              </a:ext>
            </a:extLst>
          </p:cNvPr>
          <p:cNvSpPr>
            <a:spLocks noGrp="1"/>
          </p:cNvSpPr>
          <p:nvPr>
            <p:ph type="ctrTitle" hasCustomPrompt="1"/>
          </p:nvPr>
        </p:nvSpPr>
        <p:spPr>
          <a:xfrm>
            <a:off x="885668" y="1689100"/>
            <a:ext cx="6741079" cy="2389964"/>
          </a:xfrm>
        </p:spPr>
        <p:txBody>
          <a:bodyPr vert="horz" lIns="0" tIns="0" rIns="0" bIns="0" anchor="t">
            <a:noAutofit/>
          </a:bodyPr>
          <a:lstStyle>
            <a:lvl1pPr algn="l">
              <a:defRPr sz="5400">
                <a:solidFill>
                  <a:schemeClr val="bg1"/>
                </a:solidFill>
              </a:defRPr>
            </a:lvl1pPr>
          </a:lstStyle>
          <a:p>
            <a:r>
              <a:rPr lang="en-US" noProof="0"/>
              <a:t>Click to edit master title style</a:t>
            </a:r>
          </a:p>
        </p:txBody>
      </p:sp>
      <p:sp>
        <p:nvSpPr>
          <p:cNvPr id="2" name="Rectangle 1">
            <a:extLst>
              <a:ext uri="{FF2B5EF4-FFF2-40B4-BE49-F238E27FC236}">
                <a16:creationId xmlns:a16="http://schemas.microsoft.com/office/drawing/2014/main" id="{0F52B603-03CA-6068-2709-0AE9B6003598}"/>
              </a:ext>
            </a:extLst>
          </p:cNvPr>
          <p:cNvSpPr/>
          <p:nvPr userDrawn="1"/>
        </p:nvSpPr>
        <p:spPr>
          <a:xfrm>
            <a:off x="539749" y="540000"/>
            <a:ext cx="11109600" cy="5398838"/>
          </a:xfrm>
          <a:prstGeom prst="rect">
            <a:avLst/>
          </a:prstGeom>
          <a:solidFill>
            <a:schemeClr val="tx2">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r"/>
            <a:endParaRPr lang="en-GB" sz="3600" b="1" noProof="0">
              <a:solidFill>
                <a:schemeClr val="tx2"/>
              </a:solidFill>
            </a:endParaRPr>
          </a:p>
        </p:txBody>
      </p:sp>
    </p:spTree>
    <p:extLst>
      <p:ext uri="{BB962C8B-B14F-4D97-AF65-F5344CB8AC3E}">
        <p14:creationId xmlns:p14="http://schemas.microsoft.com/office/powerpoint/2010/main" val="2225647653"/>
      </p:ext>
    </p:extLst>
  </p:cSld>
  <p:clrMapOvr>
    <a:masterClrMapping/>
  </p:clrMapOvr>
  <p:extLst>
    <p:ext uri="{DCECCB84-F9BA-43D5-87BE-67443E8EF086}">
      <p15:sldGuideLst xmlns:p15="http://schemas.microsoft.com/office/powerpoint/2012/main">
        <p15:guide id="1" orient="horz" pos="1063">
          <p15:clr>
            <a:srgbClr val="FBAE40"/>
          </p15:clr>
        </p15:guide>
        <p15:guide id="2" orient="horz" pos="674">
          <p15:clr>
            <a:srgbClr val="FBAE40"/>
          </p15:clr>
        </p15:guide>
        <p15:guide id="3" pos="4806">
          <p15:clr>
            <a:srgbClr val="FBAE40"/>
          </p15:clr>
        </p15:guide>
        <p15:guide id="4" pos="558">
          <p15:clr>
            <a:srgbClr val="FBAE40"/>
          </p15:clr>
        </p15:guide>
        <p15:guide id="5" orient="horz" pos="2570">
          <p15:clr>
            <a:srgbClr val="FBAE40"/>
          </p15:clr>
        </p15:guide>
        <p15:guide id="7" orient="horz" pos="374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Header (Blue 2)">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2F0D3B3-FB4D-45BC-BE2E-E0ACC1635A4F}"/>
              </a:ext>
            </a:extLst>
          </p:cNvPr>
          <p:cNvGraphicFramePr>
            <a:graphicFrameLocks noChangeAspect="1"/>
          </p:cNvGraphicFramePr>
          <p:nvPr>
            <p:custDataLst>
              <p:tags r:id="rId1"/>
            </p:custDataLst>
            <p:extLst>
              <p:ext uri="{D42A27DB-BD31-4B8C-83A1-F6EECF244321}">
                <p14:modId xmlns:p14="http://schemas.microsoft.com/office/powerpoint/2010/main" val="3782973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8" name="Object 7" hidden="1">
                        <a:extLst>
                          <a:ext uri="{FF2B5EF4-FFF2-40B4-BE49-F238E27FC236}">
                            <a16:creationId xmlns:a16="http://schemas.microsoft.com/office/drawing/2014/main" id="{82F0D3B3-FB4D-45BC-BE2E-E0ACC1635A4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0D406DB-41A2-4933-86A0-0828F55DE1B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6000" b="0" i="0" baseline="0">
              <a:latin typeface="Verdana" panose="020B0604030504040204" pitchFamily="34" charset="0"/>
              <a:ea typeface="+mj-ea"/>
              <a:cs typeface="+mj-cs"/>
              <a:sym typeface="Museo Sans 100"/>
            </a:endParaRPr>
          </a:p>
        </p:txBody>
      </p:sp>
      <p:sp>
        <p:nvSpPr>
          <p:cNvPr id="10" name="Rectangle 9">
            <a:extLst>
              <a:ext uri="{FF2B5EF4-FFF2-40B4-BE49-F238E27FC236}">
                <a16:creationId xmlns:a16="http://schemas.microsoft.com/office/drawing/2014/main" id="{F92D6356-6339-48B3-8B32-2E2AEE29EDEF}"/>
              </a:ext>
            </a:extLst>
          </p:cNvPr>
          <p:cNvSpPr/>
          <p:nvPr/>
        </p:nvSpPr>
        <p:spPr>
          <a:xfrm>
            <a:off x="382382" y="540000"/>
            <a:ext cx="11427231" cy="5398838"/>
          </a:xfrm>
          <a:prstGeom prst="rect">
            <a:avLst/>
          </a:prstGeom>
          <a:solidFill>
            <a:schemeClr val="accent1">
              <a:lumMod val="100000"/>
            </a:schemeClr>
          </a:solidFill>
          <a:ln w="9525" cap="flat" cmpd="sng" algn="ctr">
            <a:solidFill>
              <a:schemeClr val="accent1">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r"/>
            <a:endParaRPr lang="en-US" sz="3600" b="1" noProof="0">
              <a:solidFill>
                <a:schemeClr val="tx2"/>
              </a:solidFill>
            </a:endParaRPr>
          </a:p>
        </p:txBody>
      </p:sp>
      <p:sp>
        <p:nvSpPr>
          <p:cNvPr id="3" name="Subtitle 2">
            <a:extLst>
              <a:ext uri="{FF2B5EF4-FFF2-40B4-BE49-F238E27FC236}">
                <a16:creationId xmlns:a16="http://schemas.microsoft.com/office/drawing/2014/main" id="{FC3B1678-8578-485B-ABDD-36D8CF73E2D8}"/>
              </a:ext>
            </a:extLst>
          </p:cNvPr>
          <p:cNvSpPr>
            <a:spLocks noGrp="1"/>
          </p:cNvSpPr>
          <p:nvPr>
            <p:ph type="subTitle" idx="1" hasCustomPrompt="1"/>
          </p:nvPr>
        </p:nvSpPr>
        <p:spPr>
          <a:xfrm>
            <a:off x="885669" y="1069975"/>
            <a:ext cx="6741079" cy="349250"/>
          </a:xfrm>
        </p:spPr>
        <p:txBody>
          <a:bodyPr lIns="0" tIns="0" rIns="0" bIns="0">
            <a:no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sp>
        <p:nvSpPr>
          <p:cNvPr id="6" name="Slide Number Placeholder 5">
            <a:extLst>
              <a:ext uri="{FF2B5EF4-FFF2-40B4-BE49-F238E27FC236}">
                <a16:creationId xmlns:a16="http://schemas.microsoft.com/office/drawing/2014/main" id="{9346F278-8B8A-4874-AB9B-D1092252AB25}"/>
              </a:ext>
            </a:extLst>
          </p:cNvPr>
          <p:cNvSpPr>
            <a:spLocks noGrp="1"/>
          </p:cNvSpPr>
          <p:nvPr>
            <p:ph type="sldNum" sz="quarter" idx="12"/>
          </p:nvPr>
        </p:nvSpPr>
        <p:spPr/>
        <p:txBody>
          <a:bodyPr lIns="0" tIns="0" rIns="0" bIns="0"/>
          <a:lstStyle/>
          <a:p>
            <a:fld id="{DDF71BC8-773F-4A54-968E-450E29C75AD4}" type="slidenum">
              <a:rPr lang="en-GB" smtClean="0"/>
              <a:pPr/>
              <a:t>‹#›</a:t>
            </a:fld>
            <a:endParaRPr lang="en-GB"/>
          </a:p>
        </p:txBody>
      </p:sp>
      <p:sp>
        <p:nvSpPr>
          <p:cNvPr id="9" name="Title 1">
            <a:extLst>
              <a:ext uri="{FF2B5EF4-FFF2-40B4-BE49-F238E27FC236}">
                <a16:creationId xmlns:a16="http://schemas.microsoft.com/office/drawing/2014/main" id="{F170A15B-3A41-426F-B535-FB2163750E8F}"/>
              </a:ext>
            </a:extLst>
          </p:cNvPr>
          <p:cNvSpPr>
            <a:spLocks noGrp="1"/>
          </p:cNvSpPr>
          <p:nvPr>
            <p:ph type="ctrTitle" hasCustomPrompt="1"/>
          </p:nvPr>
        </p:nvSpPr>
        <p:spPr>
          <a:xfrm>
            <a:off x="885668" y="1687513"/>
            <a:ext cx="6741079" cy="2391551"/>
          </a:xfrm>
        </p:spPr>
        <p:txBody>
          <a:bodyPr vert="horz" lIns="0" tIns="0" rIns="0" bIns="0" anchor="t">
            <a:noAutofit/>
          </a:bodyPr>
          <a:lstStyle>
            <a:lvl1pPr algn="l">
              <a:defRPr sz="5400">
                <a:solidFill>
                  <a:schemeClr val="bg1"/>
                </a:solidFill>
              </a:defRPr>
            </a:lvl1pPr>
          </a:lstStyle>
          <a:p>
            <a:r>
              <a:rPr lang="en-US" noProof="0"/>
              <a:t>Click to edit master title style</a:t>
            </a:r>
          </a:p>
        </p:txBody>
      </p:sp>
      <p:sp>
        <p:nvSpPr>
          <p:cNvPr id="2" name="Rectangle 1">
            <a:extLst>
              <a:ext uri="{FF2B5EF4-FFF2-40B4-BE49-F238E27FC236}">
                <a16:creationId xmlns:a16="http://schemas.microsoft.com/office/drawing/2014/main" id="{38E03FE5-7492-115A-6B3A-41A00BC073F6}"/>
              </a:ext>
            </a:extLst>
          </p:cNvPr>
          <p:cNvSpPr/>
          <p:nvPr userDrawn="1"/>
        </p:nvSpPr>
        <p:spPr>
          <a:xfrm>
            <a:off x="539749" y="540000"/>
            <a:ext cx="11109600" cy="53988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r"/>
            <a:endParaRPr lang="en-GB" sz="3600" b="1" noProof="0">
              <a:solidFill>
                <a:schemeClr val="tx2"/>
              </a:solidFill>
            </a:endParaRPr>
          </a:p>
        </p:txBody>
      </p:sp>
    </p:spTree>
    <p:extLst>
      <p:ext uri="{BB962C8B-B14F-4D97-AF65-F5344CB8AC3E}">
        <p14:creationId xmlns:p14="http://schemas.microsoft.com/office/powerpoint/2010/main" val="2105348012"/>
      </p:ext>
    </p:extLst>
  </p:cSld>
  <p:clrMapOvr>
    <a:masterClrMapping/>
  </p:clrMapOvr>
  <p:extLst>
    <p:ext uri="{DCECCB84-F9BA-43D5-87BE-67443E8EF086}">
      <p15:sldGuideLst xmlns:p15="http://schemas.microsoft.com/office/powerpoint/2012/main">
        <p15:guide id="1" orient="horz" pos="1063">
          <p15:clr>
            <a:srgbClr val="FBAE40"/>
          </p15:clr>
        </p15:guide>
        <p15:guide id="2" orient="horz" pos="674">
          <p15:clr>
            <a:srgbClr val="FBAE40"/>
          </p15:clr>
        </p15:guide>
        <p15:guide id="3" pos="558">
          <p15:clr>
            <a:srgbClr val="FBAE40"/>
          </p15:clr>
        </p15:guide>
        <p15:guide id="4" pos="4806">
          <p15:clr>
            <a:srgbClr val="FBAE40"/>
          </p15:clr>
        </p15:guide>
        <p15:guide id="5" orient="horz" pos="2570">
          <p15:clr>
            <a:srgbClr val="FBAE40"/>
          </p15:clr>
        </p15:guide>
        <p15:guide id="7" orient="horz" pos="374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ection Header (Green)">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2F0D3B3-FB4D-45BC-BE2E-E0ACC1635A4F}"/>
              </a:ext>
            </a:extLst>
          </p:cNvPr>
          <p:cNvGraphicFramePr>
            <a:graphicFrameLocks noChangeAspect="1"/>
          </p:cNvGraphicFramePr>
          <p:nvPr>
            <p:custDataLst>
              <p:tags r:id="rId1"/>
            </p:custDataLst>
            <p:extLst>
              <p:ext uri="{D42A27DB-BD31-4B8C-83A1-F6EECF244321}">
                <p14:modId xmlns:p14="http://schemas.microsoft.com/office/powerpoint/2010/main" val="13638776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8" name="Object 7" hidden="1">
                        <a:extLst>
                          <a:ext uri="{FF2B5EF4-FFF2-40B4-BE49-F238E27FC236}">
                            <a16:creationId xmlns:a16="http://schemas.microsoft.com/office/drawing/2014/main" id="{82F0D3B3-FB4D-45BC-BE2E-E0ACC1635A4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0D406DB-41A2-4933-86A0-0828F55DE1B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6000" b="0" i="0" baseline="0">
              <a:latin typeface="Verdana" panose="020B0604030504040204" pitchFamily="34" charset="0"/>
              <a:ea typeface="+mj-ea"/>
              <a:cs typeface="+mj-cs"/>
              <a:sym typeface="Museo Sans 100"/>
            </a:endParaRPr>
          </a:p>
        </p:txBody>
      </p:sp>
      <p:sp>
        <p:nvSpPr>
          <p:cNvPr id="10" name="Rectangle 9">
            <a:extLst>
              <a:ext uri="{FF2B5EF4-FFF2-40B4-BE49-F238E27FC236}">
                <a16:creationId xmlns:a16="http://schemas.microsoft.com/office/drawing/2014/main" id="{F92D6356-6339-48B3-8B32-2E2AEE29EDEF}"/>
              </a:ext>
            </a:extLst>
          </p:cNvPr>
          <p:cNvSpPr/>
          <p:nvPr/>
        </p:nvSpPr>
        <p:spPr>
          <a:xfrm>
            <a:off x="382382" y="540000"/>
            <a:ext cx="11427231" cy="5398838"/>
          </a:xfrm>
          <a:prstGeom prst="rect">
            <a:avLst/>
          </a:prstGeom>
          <a:solidFill>
            <a:schemeClr val="accent2">
              <a:lumMod val="100000"/>
            </a:schemeClr>
          </a:solidFill>
          <a:ln w="9525" cap="flat" cmpd="sng" algn="ctr">
            <a:solidFill>
              <a:schemeClr val="accent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r"/>
            <a:endParaRPr lang="en-US" sz="3600" b="1" noProof="0">
              <a:solidFill>
                <a:schemeClr val="tx2"/>
              </a:solidFill>
            </a:endParaRPr>
          </a:p>
        </p:txBody>
      </p:sp>
      <p:sp>
        <p:nvSpPr>
          <p:cNvPr id="3" name="Subtitle 2">
            <a:extLst>
              <a:ext uri="{FF2B5EF4-FFF2-40B4-BE49-F238E27FC236}">
                <a16:creationId xmlns:a16="http://schemas.microsoft.com/office/drawing/2014/main" id="{FC3B1678-8578-485B-ABDD-36D8CF73E2D8}"/>
              </a:ext>
            </a:extLst>
          </p:cNvPr>
          <p:cNvSpPr>
            <a:spLocks noGrp="1"/>
          </p:cNvSpPr>
          <p:nvPr>
            <p:ph type="subTitle" idx="1" hasCustomPrompt="1"/>
          </p:nvPr>
        </p:nvSpPr>
        <p:spPr>
          <a:xfrm>
            <a:off x="885669" y="1069975"/>
            <a:ext cx="6741079" cy="349250"/>
          </a:xfrm>
        </p:spPr>
        <p:txBody>
          <a:bodyPr lIns="0" tIns="0" rIns="0" bIns="0">
            <a:no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sp>
        <p:nvSpPr>
          <p:cNvPr id="6" name="Slide Number Placeholder 5">
            <a:extLst>
              <a:ext uri="{FF2B5EF4-FFF2-40B4-BE49-F238E27FC236}">
                <a16:creationId xmlns:a16="http://schemas.microsoft.com/office/drawing/2014/main" id="{9346F278-8B8A-4874-AB9B-D1092252AB25}"/>
              </a:ext>
            </a:extLst>
          </p:cNvPr>
          <p:cNvSpPr>
            <a:spLocks noGrp="1"/>
          </p:cNvSpPr>
          <p:nvPr>
            <p:ph type="sldNum" sz="quarter" idx="12"/>
          </p:nvPr>
        </p:nvSpPr>
        <p:spPr/>
        <p:txBody>
          <a:bodyPr lIns="0" tIns="0" rIns="0" bIns="0"/>
          <a:lstStyle/>
          <a:p>
            <a:fld id="{DDF71BC8-773F-4A54-968E-450E29C75AD4}" type="slidenum">
              <a:rPr lang="en-GB" smtClean="0"/>
              <a:pPr/>
              <a:t>‹#›</a:t>
            </a:fld>
            <a:endParaRPr lang="en-GB"/>
          </a:p>
        </p:txBody>
      </p:sp>
      <p:sp>
        <p:nvSpPr>
          <p:cNvPr id="9" name="Title 1">
            <a:extLst>
              <a:ext uri="{FF2B5EF4-FFF2-40B4-BE49-F238E27FC236}">
                <a16:creationId xmlns:a16="http://schemas.microsoft.com/office/drawing/2014/main" id="{F170A15B-3A41-426F-B535-FB2163750E8F}"/>
              </a:ext>
            </a:extLst>
          </p:cNvPr>
          <p:cNvSpPr>
            <a:spLocks noGrp="1"/>
          </p:cNvSpPr>
          <p:nvPr>
            <p:ph type="ctrTitle" hasCustomPrompt="1"/>
          </p:nvPr>
        </p:nvSpPr>
        <p:spPr>
          <a:xfrm>
            <a:off x="885668" y="1689100"/>
            <a:ext cx="6741079" cy="2389964"/>
          </a:xfrm>
        </p:spPr>
        <p:txBody>
          <a:bodyPr vert="horz" lIns="0" tIns="0" rIns="0" bIns="0" anchor="t">
            <a:noAutofit/>
          </a:bodyPr>
          <a:lstStyle>
            <a:lvl1pPr algn="l">
              <a:defRPr sz="5400">
                <a:solidFill>
                  <a:schemeClr val="bg1"/>
                </a:solidFill>
              </a:defRPr>
            </a:lvl1pPr>
          </a:lstStyle>
          <a:p>
            <a:r>
              <a:rPr lang="en-US" noProof="0"/>
              <a:t>Click to edit master title style</a:t>
            </a:r>
          </a:p>
        </p:txBody>
      </p:sp>
      <p:sp>
        <p:nvSpPr>
          <p:cNvPr id="2" name="Rectangle 1">
            <a:extLst>
              <a:ext uri="{FF2B5EF4-FFF2-40B4-BE49-F238E27FC236}">
                <a16:creationId xmlns:a16="http://schemas.microsoft.com/office/drawing/2014/main" id="{B97ECBCF-6D5F-265B-F850-6FB92B6D3C6D}"/>
              </a:ext>
            </a:extLst>
          </p:cNvPr>
          <p:cNvSpPr/>
          <p:nvPr userDrawn="1"/>
        </p:nvSpPr>
        <p:spPr>
          <a:xfrm>
            <a:off x="539749" y="540000"/>
            <a:ext cx="11109600" cy="539883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r"/>
            <a:endParaRPr lang="en-GB" sz="3600" b="1" noProof="0">
              <a:solidFill>
                <a:schemeClr val="tx2"/>
              </a:solidFill>
            </a:endParaRPr>
          </a:p>
        </p:txBody>
      </p:sp>
    </p:spTree>
    <p:extLst>
      <p:ext uri="{BB962C8B-B14F-4D97-AF65-F5344CB8AC3E}">
        <p14:creationId xmlns:p14="http://schemas.microsoft.com/office/powerpoint/2010/main" val="4158405932"/>
      </p:ext>
    </p:extLst>
  </p:cSld>
  <p:clrMapOvr>
    <a:masterClrMapping/>
  </p:clrMapOvr>
  <p:extLst>
    <p:ext uri="{DCECCB84-F9BA-43D5-87BE-67443E8EF086}">
      <p15:sldGuideLst xmlns:p15="http://schemas.microsoft.com/office/powerpoint/2012/main">
        <p15:guide id="1" orient="horz" pos="1063">
          <p15:clr>
            <a:srgbClr val="FBAE40"/>
          </p15:clr>
        </p15:guide>
        <p15:guide id="2" orient="horz" pos="674">
          <p15:clr>
            <a:srgbClr val="FBAE40"/>
          </p15:clr>
        </p15:guide>
        <p15:guide id="3" pos="558">
          <p15:clr>
            <a:srgbClr val="FBAE40"/>
          </p15:clr>
        </p15:guide>
        <p15:guide id="4" pos="4806">
          <p15:clr>
            <a:srgbClr val="FBAE40"/>
          </p15:clr>
        </p15:guide>
        <p15:guide id="5" orient="horz" pos="2570">
          <p15:clr>
            <a:srgbClr val="FBAE40"/>
          </p15:clr>
        </p15:guide>
        <p15:guide id="6" orient="horz" pos="374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ackup">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2F0D3B3-FB4D-45BC-BE2E-E0ACC1635A4F}"/>
              </a:ext>
            </a:extLst>
          </p:cNvPr>
          <p:cNvGraphicFramePr>
            <a:graphicFrameLocks noChangeAspect="1"/>
          </p:cNvGraphicFramePr>
          <p:nvPr>
            <p:custDataLst>
              <p:tags r:id="rId1"/>
            </p:custDataLst>
            <p:extLst>
              <p:ext uri="{D42A27DB-BD31-4B8C-83A1-F6EECF244321}">
                <p14:modId xmlns:p14="http://schemas.microsoft.com/office/powerpoint/2010/main" val="41551221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8" name="Object 7" hidden="1">
                        <a:extLst>
                          <a:ext uri="{FF2B5EF4-FFF2-40B4-BE49-F238E27FC236}">
                            <a16:creationId xmlns:a16="http://schemas.microsoft.com/office/drawing/2014/main" id="{82F0D3B3-FB4D-45BC-BE2E-E0ACC1635A4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0D406DB-41A2-4933-86A0-0828F55DE1B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11500" b="0" i="0" baseline="0">
              <a:latin typeface="Century Gothic" panose="020B0502020202020204" pitchFamily="34" charset="0"/>
              <a:ea typeface="+mj-ea"/>
              <a:cs typeface="+mj-cs"/>
              <a:sym typeface="Century Gothic" panose="020B0502020202020204" pitchFamily="34" charset="0"/>
            </a:endParaRPr>
          </a:p>
        </p:txBody>
      </p:sp>
      <p:sp>
        <p:nvSpPr>
          <p:cNvPr id="10" name="Rectangle 9">
            <a:extLst>
              <a:ext uri="{FF2B5EF4-FFF2-40B4-BE49-F238E27FC236}">
                <a16:creationId xmlns:a16="http://schemas.microsoft.com/office/drawing/2014/main" id="{F92D6356-6339-48B3-8B32-2E2AEE29EDEF}"/>
              </a:ext>
            </a:extLst>
          </p:cNvPr>
          <p:cNvSpPr/>
          <p:nvPr/>
        </p:nvSpPr>
        <p:spPr>
          <a:xfrm>
            <a:off x="393465" y="549331"/>
            <a:ext cx="11427232" cy="5398838"/>
          </a:xfrm>
          <a:prstGeom prst="rect">
            <a:avLst/>
          </a:prstGeom>
          <a:solidFill>
            <a:schemeClr val="accent1">
              <a:lumMod val="100000"/>
            </a:schemeClr>
          </a:solidFill>
          <a:ln w="9525" cap="flat" cmpd="sng" algn="ctr">
            <a:solidFill>
              <a:schemeClr val="accent1">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r"/>
            <a:endParaRPr lang="en-US" sz="3600" b="1" noProof="0">
              <a:solidFill>
                <a:schemeClr val="tx2"/>
              </a:solidFill>
            </a:endParaRPr>
          </a:p>
        </p:txBody>
      </p:sp>
      <p:sp>
        <p:nvSpPr>
          <p:cNvPr id="15" name="Title 1">
            <a:extLst>
              <a:ext uri="{FF2B5EF4-FFF2-40B4-BE49-F238E27FC236}">
                <a16:creationId xmlns:a16="http://schemas.microsoft.com/office/drawing/2014/main" id="{EEF825C3-94B5-43A8-822C-83F664AEB289}"/>
              </a:ext>
            </a:extLst>
          </p:cNvPr>
          <p:cNvSpPr txBox="1">
            <a:spLocks/>
          </p:cNvSpPr>
          <p:nvPr/>
        </p:nvSpPr>
        <p:spPr>
          <a:xfrm>
            <a:off x="8520757" y="4678255"/>
            <a:ext cx="2793977" cy="882647"/>
          </a:xfrm>
          <a:prstGeom prst="rect">
            <a:avLst/>
          </a:prstGeom>
        </p:spPr>
        <p:txBody>
          <a:bodyPr vert="horz" lIns="0" tIns="0" rIns="0" bIns="0" rtlCol="0" anchor="ctr">
            <a:noAutofit/>
          </a:bodyPr>
          <a:lstStyle>
            <a:lvl1pPr algn="l" defTabSz="914400" rtl="0" eaLnBrk="1" latinLnBrk="0" hangingPunct="1">
              <a:lnSpc>
                <a:spcPct val="90000"/>
              </a:lnSpc>
              <a:spcBef>
                <a:spcPct val="0"/>
              </a:spcBef>
              <a:buNone/>
              <a:defRPr sz="11500" b="0" kern="1200" cap="none" baseline="0">
                <a:solidFill>
                  <a:schemeClr val="bg1"/>
                </a:solidFill>
                <a:latin typeface="+mj-lt"/>
                <a:ea typeface="+mj-ea"/>
                <a:cs typeface="+mj-cs"/>
              </a:defRPr>
            </a:lvl1pPr>
          </a:lstStyle>
          <a:p>
            <a:pPr algn="r"/>
            <a:r>
              <a:rPr lang="en-US" sz="5400">
                <a:latin typeface="Century Gothic" panose="020B0502020202020204" pitchFamily="34" charset="0"/>
                <a:ea typeface="Verdana" panose="020B0604030504040204" pitchFamily="34" charset="0"/>
                <a:cs typeface="Inter" panose="020B0502030000000004" pitchFamily="34" charset="0"/>
              </a:rPr>
              <a:t>Backup</a:t>
            </a:r>
          </a:p>
        </p:txBody>
      </p:sp>
      <p:sp>
        <p:nvSpPr>
          <p:cNvPr id="11" name="Slide Number Placeholder 3">
            <a:extLst>
              <a:ext uri="{FF2B5EF4-FFF2-40B4-BE49-F238E27FC236}">
                <a16:creationId xmlns:a16="http://schemas.microsoft.com/office/drawing/2014/main" id="{4680C26E-18A4-48BD-8E92-5051A941E429}"/>
              </a:ext>
            </a:extLst>
          </p:cNvPr>
          <p:cNvSpPr>
            <a:spLocks noGrp="1"/>
          </p:cNvSpPr>
          <p:nvPr>
            <p:ph type="sldNum" sz="quarter" idx="11"/>
          </p:nvPr>
        </p:nvSpPr>
        <p:spPr>
          <a:xfrm>
            <a:off x="11314734" y="6342890"/>
            <a:ext cx="505963" cy="374690"/>
          </a:xfrm>
        </p:spPr>
        <p:txBody>
          <a:bodyPr/>
          <a:lstStyle/>
          <a:p>
            <a:fld id="{DDF71BC8-773F-4A54-968E-450E29C75AD4}" type="slidenum">
              <a:rPr lang="en-GB" smtClean="0"/>
              <a:pPr/>
              <a:t>‹#›</a:t>
            </a:fld>
            <a:endParaRPr lang="en-GB"/>
          </a:p>
        </p:txBody>
      </p:sp>
      <p:sp>
        <p:nvSpPr>
          <p:cNvPr id="12" name="Footer Placeholder 3">
            <a:extLst>
              <a:ext uri="{FF2B5EF4-FFF2-40B4-BE49-F238E27FC236}">
                <a16:creationId xmlns:a16="http://schemas.microsoft.com/office/drawing/2014/main" id="{C27CBBE8-9E82-41D7-A686-F5E087424F63}"/>
              </a:ext>
            </a:extLst>
          </p:cNvPr>
          <p:cNvSpPr>
            <a:spLocks noGrp="1"/>
          </p:cNvSpPr>
          <p:nvPr>
            <p:ph type="ftr" sz="quarter" idx="13"/>
          </p:nvPr>
        </p:nvSpPr>
        <p:spPr>
          <a:xfrm>
            <a:off x="1520890" y="6342890"/>
            <a:ext cx="9675845" cy="374690"/>
          </a:xfrm>
        </p:spPr>
        <p:txBody>
          <a:bodyPr/>
          <a:lstStyle/>
          <a:p>
            <a:endParaRPr lang="en-GB"/>
          </a:p>
        </p:txBody>
      </p:sp>
    </p:spTree>
    <p:extLst>
      <p:ext uri="{BB962C8B-B14F-4D97-AF65-F5344CB8AC3E}">
        <p14:creationId xmlns:p14="http://schemas.microsoft.com/office/powerpoint/2010/main" val="4254011400"/>
      </p:ext>
    </p:extLst>
  </p:cSld>
  <p:clrMapOvr>
    <a:masterClrMapping/>
  </p:clrMapOvr>
  <p:hf hdr="0" dt="0"/>
  <p:extLst>
    <p:ext uri="{DCECCB84-F9BA-43D5-87BE-67443E8EF086}">
      <p15:sldGuideLst xmlns:p15="http://schemas.microsoft.com/office/powerpoint/2012/main">
        <p15:guide id="1" orient="horz" pos="1063">
          <p15:clr>
            <a:srgbClr val="FBAE40"/>
          </p15:clr>
        </p15:guide>
        <p15:guide id="2" orient="horz" pos="674">
          <p15:clr>
            <a:srgbClr val="FBAE40"/>
          </p15:clr>
        </p15:guide>
        <p15:guide id="3" pos="558">
          <p15:clr>
            <a:srgbClr val="FBAE40"/>
          </p15:clr>
        </p15:guide>
        <p15:guide id="4" pos="4806">
          <p15:clr>
            <a:srgbClr val="FBAE40"/>
          </p15:clr>
        </p15:guide>
        <p15:guide id="5" orient="horz" pos="2570">
          <p15:clr>
            <a:srgbClr val="FBAE40"/>
          </p15:clr>
        </p15:guide>
        <p15:guide id="7" orient="horz" pos="374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Appendix">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2F0D3B3-FB4D-45BC-BE2E-E0ACC1635A4F}"/>
              </a:ext>
            </a:extLst>
          </p:cNvPr>
          <p:cNvGraphicFramePr>
            <a:graphicFrameLocks noChangeAspect="1"/>
          </p:cNvGraphicFramePr>
          <p:nvPr>
            <p:custDataLst>
              <p:tags r:id="rId1"/>
            </p:custDataLst>
            <p:extLst>
              <p:ext uri="{D42A27DB-BD31-4B8C-83A1-F6EECF244321}">
                <p14:modId xmlns:p14="http://schemas.microsoft.com/office/powerpoint/2010/main" val="12263828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8" name="Object 7" hidden="1">
                        <a:extLst>
                          <a:ext uri="{FF2B5EF4-FFF2-40B4-BE49-F238E27FC236}">
                            <a16:creationId xmlns:a16="http://schemas.microsoft.com/office/drawing/2014/main" id="{82F0D3B3-FB4D-45BC-BE2E-E0ACC1635A4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0D406DB-41A2-4933-86A0-0828F55DE1B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11500" b="0" i="0" baseline="0">
              <a:latin typeface="Century Gothic" panose="020B0502020202020204" pitchFamily="34" charset="0"/>
              <a:ea typeface="+mj-ea"/>
              <a:cs typeface="+mj-cs"/>
              <a:sym typeface="Century Gothic" panose="020B0502020202020204" pitchFamily="34" charset="0"/>
            </a:endParaRPr>
          </a:p>
        </p:txBody>
      </p:sp>
      <p:sp>
        <p:nvSpPr>
          <p:cNvPr id="15" name="Title 1">
            <a:extLst>
              <a:ext uri="{FF2B5EF4-FFF2-40B4-BE49-F238E27FC236}">
                <a16:creationId xmlns:a16="http://schemas.microsoft.com/office/drawing/2014/main" id="{EEF825C3-94B5-43A8-822C-83F664AEB289}"/>
              </a:ext>
            </a:extLst>
          </p:cNvPr>
          <p:cNvSpPr txBox="1">
            <a:spLocks/>
          </p:cNvSpPr>
          <p:nvPr/>
        </p:nvSpPr>
        <p:spPr>
          <a:xfrm>
            <a:off x="7836196" y="4678255"/>
            <a:ext cx="3360524" cy="882647"/>
          </a:xfrm>
          <a:prstGeom prst="rect">
            <a:avLst/>
          </a:prstGeom>
        </p:spPr>
        <p:txBody>
          <a:bodyPr vert="horz" lIns="0" tIns="0" rIns="0" bIns="0" rtlCol="0" anchor="ctr">
            <a:noAutofit/>
          </a:bodyPr>
          <a:lstStyle>
            <a:lvl1pPr algn="l" defTabSz="914400" rtl="0" eaLnBrk="1" latinLnBrk="0" hangingPunct="1">
              <a:lnSpc>
                <a:spcPct val="90000"/>
              </a:lnSpc>
              <a:spcBef>
                <a:spcPct val="0"/>
              </a:spcBef>
              <a:buNone/>
              <a:defRPr sz="11500" b="0" kern="1200" cap="none" baseline="0">
                <a:solidFill>
                  <a:schemeClr val="bg1"/>
                </a:solidFill>
                <a:latin typeface="+mj-lt"/>
                <a:ea typeface="+mj-ea"/>
                <a:cs typeface="+mj-cs"/>
              </a:defRPr>
            </a:lvl1pPr>
          </a:lstStyle>
          <a:p>
            <a:r>
              <a:rPr lang="en-US" sz="5400">
                <a:latin typeface="Verdana" panose="020B0604030504040204" pitchFamily="34" charset="0"/>
                <a:ea typeface="Verdana" panose="020B0604030504040204" pitchFamily="34" charset="0"/>
                <a:cs typeface="Inter" panose="020B0502030000000004" pitchFamily="34" charset="0"/>
              </a:rPr>
              <a:t>Appendix</a:t>
            </a:r>
          </a:p>
        </p:txBody>
      </p:sp>
      <p:sp>
        <p:nvSpPr>
          <p:cNvPr id="11" name="Slide Number Placeholder 3">
            <a:extLst>
              <a:ext uri="{FF2B5EF4-FFF2-40B4-BE49-F238E27FC236}">
                <a16:creationId xmlns:a16="http://schemas.microsoft.com/office/drawing/2014/main" id="{471CBB97-3BEF-4690-BB14-A4EB68413A36}"/>
              </a:ext>
            </a:extLst>
          </p:cNvPr>
          <p:cNvSpPr>
            <a:spLocks noGrp="1"/>
          </p:cNvSpPr>
          <p:nvPr>
            <p:ph type="sldNum" sz="quarter" idx="11"/>
          </p:nvPr>
        </p:nvSpPr>
        <p:spPr>
          <a:xfrm>
            <a:off x="11314734" y="6342890"/>
            <a:ext cx="505963" cy="374690"/>
          </a:xfrm>
        </p:spPr>
        <p:txBody>
          <a:bodyPr/>
          <a:lstStyle/>
          <a:p>
            <a:fld id="{DDF71BC8-773F-4A54-968E-450E29C75AD4}" type="slidenum">
              <a:rPr lang="en-GB" smtClean="0"/>
              <a:pPr/>
              <a:t>‹#›</a:t>
            </a:fld>
            <a:endParaRPr lang="en-GB"/>
          </a:p>
        </p:txBody>
      </p:sp>
      <p:sp>
        <p:nvSpPr>
          <p:cNvPr id="12" name="Footer Placeholder 3">
            <a:extLst>
              <a:ext uri="{FF2B5EF4-FFF2-40B4-BE49-F238E27FC236}">
                <a16:creationId xmlns:a16="http://schemas.microsoft.com/office/drawing/2014/main" id="{28A91CC3-499E-4CFD-B2DC-78EAF2A8D046}"/>
              </a:ext>
            </a:extLst>
          </p:cNvPr>
          <p:cNvSpPr>
            <a:spLocks noGrp="1"/>
          </p:cNvSpPr>
          <p:nvPr>
            <p:ph type="ftr" sz="quarter" idx="13"/>
          </p:nvPr>
        </p:nvSpPr>
        <p:spPr>
          <a:xfrm>
            <a:off x="1520890" y="6342890"/>
            <a:ext cx="9675845" cy="374690"/>
          </a:xfrm>
        </p:spPr>
        <p:txBody>
          <a:bodyPr/>
          <a:lstStyle/>
          <a:p>
            <a:endParaRPr lang="en-GB"/>
          </a:p>
        </p:txBody>
      </p:sp>
      <p:sp>
        <p:nvSpPr>
          <p:cNvPr id="13" name="Rectangle 12">
            <a:extLst>
              <a:ext uri="{FF2B5EF4-FFF2-40B4-BE49-F238E27FC236}">
                <a16:creationId xmlns:a16="http://schemas.microsoft.com/office/drawing/2014/main" id="{184A0FD2-50C3-46FD-A05F-2143AFFAB503}"/>
              </a:ext>
            </a:extLst>
          </p:cNvPr>
          <p:cNvSpPr/>
          <p:nvPr/>
        </p:nvSpPr>
        <p:spPr>
          <a:xfrm>
            <a:off x="393465" y="549331"/>
            <a:ext cx="11427232" cy="5398838"/>
          </a:xfrm>
          <a:prstGeom prst="rect">
            <a:avLst/>
          </a:prstGeom>
          <a:solidFill>
            <a:srgbClr val="004876"/>
          </a:solidFill>
          <a:ln w="9525" cap="flat" cmpd="sng" algn="ctr">
            <a:solidFill>
              <a:schemeClr val="accent1">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r"/>
            <a:endParaRPr lang="en-US" sz="3600" b="1" noProof="0">
              <a:solidFill>
                <a:schemeClr val="tx2"/>
              </a:solidFill>
            </a:endParaRPr>
          </a:p>
        </p:txBody>
      </p:sp>
      <p:sp>
        <p:nvSpPr>
          <p:cNvPr id="14" name="Title 1">
            <a:extLst>
              <a:ext uri="{FF2B5EF4-FFF2-40B4-BE49-F238E27FC236}">
                <a16:creationId xmlns:a16="http://schemas.microsoft.com/office/drawing/2014/main" id="{A4D8ED86-1F40-4C56-8B49-F5E79B3E4BBC}"/>
              </a:ext>
            </a:extLst>
          </p:cNvPr>
          <p:cNvSpPr txBox="1">
            <a:spLocks/>
          </p:cNvSpPr>
          <p:nvPr/>
        </p:nvSpPr>
        <p:spPr>
          <a:xfrm>
            <a:off x="7954211" y="4678255"/>
            <a:ext cx="3360523" cy="882647"/>
          </a:xfrm>
          <a:prstGeom prst="rect">
            <a:avLst/>
          </a:prstGeom>
        </p:spPr>
        <p:txBody>
          <a:bodyPr vert="horz" lIns="0" tIns="0" rIns="0" bIns="0" rtlCol="0" anchor="ctr">
            <a:noAutofit/>
          </a:bodyPr>
          <a:lstStyle>
            <a:lvl1pPr algn="l" defTabSz="914400" rtl="0" eaLnBrk="1" latinLnBrk="0" hangingPunct="1">
              <a:lnSpc>
                <a:spcPct val="90000"/>
              </a:lnSpc>
              <a:spcBef>
                <a:spcPct val="0"/>
              </a:spcBef>
              <a:buNone/>
              <a:defRPr sz="11500" b="0" kern="1200" cap="none" baseline="0">
                <a:solidFill>
                  <a:schemeClr val="bg1"/>
                </a:solidFill>
                <a:latin typeface="+mj-lt"/>
                <a:ea typeface="+mj-ea"/>
                <a:cs typeface="+mj-cs"/>
              </a:defRPr>
            </a:lvl1pPr>
          </a:lstStyle>
          <a:p>
            <a:pPr algn="r"/>
            <a:r>
              <a:rPr lang="en-US" sz="5400">
                <a:latin typeface="Century Gothic" panose="020B0502020202020204" pitchFamily="34" charset="0"/>
                <a:ea typeface="Verdana" panose="020B0604030504040204" pitchFamily="34" charset="0"/>
                <a:cs typeface="Inter" panose="020B0502030000000004" pitchFamily="34" charset="0"/>
              </a:rPr>
              <a:t>Appendix</a:t>
            </a:r>
          </a:p>
        </p:txBody>
      </p:sp>
    </p:spTree>
    <p:extLst>
      <p:ext uri="{BB962C8B-B14F-4D97-AF65-F5344CB8AC3E}">
        <p14:creationId xmlns:p14="http://schemas.microsoft.com/office/powerpoint/2010/main" val="1583458791"/>
      </p:ext>
    </p:extLst>
  </p:cSld>
  <p:clrMapOvr>
    <a:masterClrMapping/>
  </p:clrMapOvr>
  <p:hf hdr="0" dt="0"/>
  <p:extLst>
    <p:ext uri="{DCECCB84-F9BA-43D5-87BE-67443E8EF086}">
      <p15:sldGuideLst xmlns:p15="http://schemas.microsoft.com/office/powerpoint/2012/main">
        <p15:guide id="1" orient="horz" pos="1063">
          <p15:clr>
            <a:srgbClr val="FBAE40"/>
          </p15:clr>
        </p15:guide>
        <p15:guide id="2" orient="horz" pos="674">
          <p15:clr>
            <a:srgbClr val="FBAE40"/>
          </p15:clr>
        </p15:guide>
        <p15:guide id="3" pos="558">
          <p15:clr>
            <a:srgbClr val="FBAE40"/>
          </p15:clr>
        </p15:guide>
        <p15:guide id="4" pos="4806">
          <p15:clr>
            <a:srgbClr val="FBAE40"/>
          </p15:clr>
        </p15:guide>
        <p15:guide id="5" orient="horz" pos="2570">
          <p15:clr>
            <a:srgbClr val="FBAE40"/>
          </p15:clr>
        </p15:guide>
        <p15:guide id="7" orient="horz" pos="374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F3E268D-AB50-4521-85B1-C1387B18D756}"/>
              </a:ext>
            </a:extLst>
          </p:cNvPr>
          <p:cNvGraphicFramePr>
            <a:graphicFrameLocks noChangeAspect="1"/>
          </p:cNvGraphicFramePr>
          <p:nvPr>
            <p:custDataLst>
              <p:tags r:id="rId1"/>
            </p:custDataLst>
            <p:extLst>
              <p:ext uri="{D42A27DB-BD31-4B8C-83A1-F6EECF244321}">
                <p14:modId xmlns:p14="http://schemas.microsoft.com/office/powerpoint/2010/main" val="39768973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26" imgH="526" progId="TCLayout.ActiveDocument.1">
                  <p:embed/>
                </p:oleObj>
              </mc:Choice>
              <mc:Fallback>
                <p:oleObj name="think-cell Slide" r:id="rId4" imgW="526" imgH="526" progId="TCLayout.ActiveDocument.1">
                  <p:embed/>
                  <p:pic>
                    <p:nvPicPr>
                      <p:cNvPr id="6" name="Object 5" hidden="1">
                        <a:extLst>
                          <a:ext uri="{FF2B5EF4-FFF2-40B4-BE49-F238E27FC236}">
                            <a16:creationId xmlns:a16="http://schemas.microsoft.com/office/drawing/2014/main" id="{BF3E268D-AB50-4521-85B1-C1387B18D75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EAD2561-9FF3-4C8F-B41A-88E05A00BB28}"/>
              </a:ext>
            </a:extLst>
          </p:cNvPr>
          <p:cNvSpPr>
            <a:spLocks noGrp="1"/>
          </p:cNvSpPr>
          <p:nvPr>
            <p:ph type="title"/>
          </p:nvPr>
        </p:nvSpPr>
        <p:spPr/>
        <p:txBody>
          <a:bodyPr vert="horz">
            <a:noAutofit/>
          </a:bodyPr>
          <a:lstStyle/>
          <a:p>
            <a:r>
              <a:rPr lang="en-US"/>
              <a:t>Click to edit Master title style</a:t>
            </a:r>
            <a:endParaRPr lang="en-GB"/>
          </a:p>
        </p:txBody>
      </p:sp>
      <p:sp>
        <p:nvSpPr>
          <p:cNvPr id="4" name="Slide Number Placeholder 3">
            <a:extLst>
              <a:ext uri="{FF2B5EF4-FFF2-40B4-BE49-F238E27FC236}">
                <a16:creationId xmlns:a16="http://schemas.microsoft.com/office/drawing/2014/main" id="{5303DA3F-89CD-4D41-9AF0-FDBCD3B3BB2E}"/>
              </a:ext>
            </a:extLst>
          </p:cNvPr>
          <p:cNvSpPr>
            <a:spLocks noGrp="1"/>
          </p:cNvSpPr>
          <p:nvPr>
            <p:ph type="sldNum" sz="quarter" idx="11"/>
          </p:nvPr>
        </p:nvSpPr>
        <p:spPr/>
        <p:txBody>
          <a:bodyPr/>
          <a:lstStyle/>
          <a:p>
            <a:fld id="{DDF71BC8-773F-4A54-968E-450E29C75AD4}" type="slidenum">
              <a:rPr lang="en-GB" smtClean="0"/>
              <a:pPr/>
              <a:t>‹#›</a:t>
            </a:fld>
            <a:endParaRPr lang="en-GB"/>
          </a:p>
        </p:txBody>
      </p:sp>
      <p:graphicFrame>
        <p:nvGraphicFramePr>
          <p:cNvPr id="7" name="Object 6" hidden="1">
            <a:extLst>
              <a:ext uri="{FF2B5EF4-FFF2-40B4-BE49-F238E27FC236}">
                <a16:creationId xmlns:a16="http://schemas.microsoft.com/office/drawing/2014/main" id="{9070EB65-B7B2-447E-B10E-4D5693F060E0}"/>
              </a:ext>
            </a:extLst>
          </p:cNvPr>
          <p:cNvGraphicFramePr>
            <a:graphicFrameLocks noChangeAspect="1"/>
          </p:cNvGraphicFramePr>
          <p:nvPr>
            <p:custDataLst>
              <p:tags r:id="rId2"/>
            </p:custDataLst>
            <p:extLst>
              <p:ext uri="{D42A27DB-BD31-4B8C-83A1-F6EECF244321}">
                <p14:modId xmlns:p14="http://schemas.microsoft.com/office/powerpoint/2010/main" val="32435657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26" imgH="526" progId="TCLayout.ActiveDocument.1">
                  <p:embed/>
                </p:oleObj>
              </mc:Choice>
              <mc:Fallback>
                <p:oleObj name="think-cell Slide" r:id="rId6" imgW="526" imgH="526" progId="TCLayout.ActiveDocument.1">
                  <p:embed/>
                  <p:pic>
                    <p:nvPicPr>
                      <p:cNvPr id="7" name="Object 6" hidden="1">
                        <a:extLst>
                          <a:ext uri="{FF2B5EF4-FFF2-40B4-BE49-F238E27FC236}">
                            <a16:creationId xmlns:a16="http://schemas.microsoft.com/office/drawing/2014/main" id="{9070EB65-B7B2-447E-B10E-4D5693F060E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Footer Placeholder 3">
            <a:extLst>
              <a:ext uri="{FF2B5EF4-FFF2-40B4-BE49-F238E27FC236}">
                <a16:creationId xmlns:a16="http://schemas.microsoft.com/office/drawing/2014/main" id="{ACC16D01-A71A-4FF2-971A-6DE2E8C2085F}"/>
              </a:ext>
            </a:extLst>
          </p:cNvPr>
          <p:cNvSpPr>
            <a:spLocks noGrp="1"/>
          </p:cNvSpPr>
          <p:nvPr>
            <p:ph type="ftr" sz="quarter" idx="13"/>
          </p:nvPr>
        </p:nvSpPr>
        <p:spPr>
          <a:xfrm>
            <a:off x="1520890" y="6342890"/>
            <a:ext cx="9675845" cy="374690"/>
          </a:xfrm>
        </p:spPr>
        <p:txBody>
          <a:bodyPr/>
          <a:lstStyle/>
          <a:p>
            <a:endParaRPr lang="en-GB"/>
          </a:p>
        </p:txBody>
      </p:sp>
    </p:spTree>
    <p:extLst>
      <p:ext uri="{BB962C8B-B14F-4D97-AF65-F5344CB8AC3E}">
        <p14:creationId xmlns:p14="http://schemas.microsoft.com/office/powerpoint/2010/main" val="3087253647"/>
      </p:ext>
    </p:extLst>
  </p:cSld>
  <p:clrMapOvr>
    <a:masterClrMapping/>
  </p:clrMapOvr>
  <p:hf hdr="0" dt="0"/>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3F9CE876-340E-4FD3-98C6-3988BBCA6E5E}"/>
              </a:ext>
            </a:extLst>
          </p:cNvPr>
          <p:cNvGraphicFramePr>
            <a:graphicFrameLocks noChangeAspect="1"/>
          </p:cNvGraphicFramePr>
          <p:nvPr>
            <p:custDataLst>
              <p:tags r:id="rId1"/>
            </p:custDataLst>
            <p:extLst>
              <p:ext uri="{D42A27DB-BD31-4B8C-83A1-F6EECF244321}">
                <p14:modId xmlns:p14="http://schemas.microsoft.com/office/powerpoint/2010/main" val="29648463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9" name="Object 8" hidden="1">
                        <a:extLst>
                          <a:ext uri="{FF2B5EF4-FFF2-40B4-BE49-F238E27FC236}">
                            <a16:creationId xmlns:a16="http://schemas.microsoft.com/office/drawing/2014/main" id="{3F9CE876-340E-4FD3-98C6-3988BBCA6E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AFCA972F-F766-4DED-BFAA-A0D97E14EF33}"/>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4400" b="0" i="0" baseline="0">
              <a:latin typeface="Verdana" panose="020B0604030504040204" pitchFamily="34" charset="0"/>
              <a:ea typeface="+mj-ea"/>
              <a:cs typeface="+mj-cs"/>
              <a:sym typeface="Museo Sans 100"/>
            </a:endParaRPr>
          </a:p>
        </p:txBody>
      </p:sp>
      <p:sp>
        <p:nvSpPr>
          <p:cNvPr id="2" name="Title 1">
            <a:extLst>
              <a:ext uri="{FF2B5EF4-FFF2-40B4-BE49-F238E27FC236}">
                <a16:creationId xmlns:a16="http://schemas.microsoft.com/office/drawing/2014/main" id="{0D9CBCFD-AEF5-4826-A1E8-350015BA3412}"/>
              </a:ext>
            </a:extLst>
          </p:cNvPr>
          <p:cNvSpPr>
            <a:spLocks noGrp="1"/>
          </p:cNvSpPr>
          <p:nvPr>
            <p:ph type="title" hasCustomPrompt="1"/>
          </p:nvPr>
        </p:nvSpPr>
        <p:spPr/>
        <p:txBody>
          <a:bodyPr vert="horz" lIns="0" tIns="0" rIns="0" bIns="0">
            <a:noAutofit/>
          </a:bodyPr>
          <a:lstStyle>
            <a:lvl1pPr>
              <a:defRPr cap="none"/>
            </a:lvl1pPr>
          </a:lstStyle>
          <a:p>
            <a:r>
              <a:rPr lang="en-US" noProof="0"/>
              <a:t>Click to edit master title style</a:t>
            </a:r>
          </a:p>
        </p:txBody>
      </p:sp>
      <p:sp>
        <p:nvSpPr>
          <p:cNvPr id="3" name="Content Placeholder 2">
            <a:extLst>
              <a:ext uri="{FF2B5EF4-FFF2-40B4-BE49-F238E27FC236}">
                <a16:creationId xmlns:a16="http://schemas.microsoft.com/office/drawing/2014/main" id="{1267F840-EFC6-4307-BD69-B27B457ED07B}"/>
              </a:ext>
            </a:extLst>
          </p:cNvPr>
          <p:cNvSpPr>
            <a:spLocks noGrp="1"/>
          </p:cNvSpPr>
          <p:nvPr>
            <p:ph sz="half" idx="1"/>
          </p:nvPr>
        </p:nvSpPr>
        <p:spPr>
          <a:xfrm>
            <a:off x="382384" y="1247775"/>
            <a:ext cx="5475882" cy="4691063"/>
          </a:xfrm>
        </p:spPr>
        <p:txBody>
          <a:bodyPr>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Content Placeholder 3">
            <a:extLst>
              <a:ext uri="{FF2B5EF4-FFF2-40B4-BE49-F238E27FC236}">
                <a16:creationId xmlns:a16="http://schemas.microsoft.com/office/drawing/2014/main" id="{C92E9254-622E-41C6-B3D0-27C816BBF106}"/>
              </a:ext>
            </a:extLst>
          </p:cNvPr>
          <p:cNvSpPr>
            <a:spLocks noGrp="1"/>
          </p:cNvSpPr>
          <p:nvPr>
            <p:ph sz="half" idx="2"/>
          </p:nvPr>
        </p:nvSpPr>
        <p:spPr>
          <a:xfrm>
            <a:off x="6344816" y="1247776"/>
            <a:ext cx="5475882" cy="4691062"/>
          </a:xfrm>
        </p:spPr>
        <p:txBody>
          <a:bodyPr>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Slide Number Placeholder 6">
            <a:extLst>
              <a:ext uri="{FF2B5EF4-FFF2-40B4-BE49-F238E27FC236}">
                <a16:creationId xmlns:a16="http://schemas.microsoft.com/office/drawing/2014/main" id="{4C172E53-4DB8-4D7A-B888-012956DB7275}"/>
              </a:ext>
            </a:extLst>
          </p:cNvPr>
          <p:cNvSpPr>
            <a:spLocks noGrp="1"/>
          </p:cNvSpPr>
          <p:nvPr>
            <p:ph type="sldNum" sz="quarter" idx="12"/>
          </p:nvPr>
        </p:nvSpPr>
        <p:spPr/>
        <p:txBody>
          <a:bodyPr lIns="0" tIns="0" rIns="0" bIns="0"/>
          <a:lstStyle/>
          <a:p>
            <a:fld id="{DDF71BC8-773F-4A54-968E-450E29C75AD4}" type="slidenum">
              <a:rPr lang="en-GB" smtClean="0"/>
              <a:pPr/>
              <a:t>‹#›</a:t>
            </a:fld>
            <a:endParaRPr lang="en-GB"/>
          </a:p>
        </p:txBody>
      </p:sp>
      <p:sp>
        <p:nvSpPr>
          <p:cNvPr id="10" name="Footer Placeholder 3">
            <a:extLst>
              <a:ext uri="{FF2B5EF4-FFF2-40B4-BE49-F238E27FC236}">
                <a16:creationId xmlns:a16="http://schemas.microsoft.com/office/drawing/2014/main" id="{5CE255B9-C36D-47C5-A515-5D9AC358F828}"/>
              </a:ext>
            </a:extLst>
          </p:cNvPr>
          <p:cNvSpPr>
            <a:spLocks noGrp="1"/>
          </p:cNvSpPr>
          <p:nvPr>
            <p:ph type="ftr" sz="quarter" idx="3"/>
          </p:nvPr>
        </p:nvSpPr>
        <p:spPr>
          <a:xfrm>
            <a:off x="1520890" y="6342890"/>
            <a:ext cx="9675845" cy="374690"/>
          </a:xfrm>
          <a:prstGeom prst="rect">
            <a:avLst/>
          </a:prstGeom>
        </p:spPr>
        <p:txBody>
          <a:bodyPr lIns="0" tIns="0" rIns="0" bIns="0" anchor="b"/>
          <a:lstStyle>
            <a:lvl1pPr>
              <a:defRPr sz="900">
                <a:latin typeface="Century Gothic" panose="020B0502020202020204" pitchFamily="34" charset="0"/>
              </a:defRPr>
            </a:lvl1pPr>
          </a:lstStyle>
          <a:p>
            <a:endParaRPr lang="en-GB"/>
          </a:p>
        </p:txBody>
      </p:sp>
    </p:spTree>
    <p:extLst>
      <p:ext uri="{BB962C8B-B14F-4D97-AF65-F5344CB8AC3E}">
        <p14:creationId xmlns:p14="http://schemas.microsoft.com/office/powerpoint/2010/main" val="3845842326"/>
      </p:ext>
    </p:extLst>
  </p:cSld>
  <p:clrMapOvr>
    <a:masterClrMapping/>
  </p:clrMapOvr>
  <p:hf hdr="0" dt="0"/>
  <p:extLst>
    <p:ext uri="{DCECCB84-F9BA-43D5-87BE-67443E8EF086}">
      <p15:sldGuideLst xmlns:p15="http://schemas.microsoft.com/office/powerpoint/2012/main">
        <p15:guide id="1" pos="3783">
          <p15:clr>
            <a:srgbClr val="FBAE40"/>
          </p15:clr>
        </p15:guide>
        <p15:guide id="2" pos="3897">
          <p15:clr>
            <a:srgbClr val="FBAE40"/>
          </p15:clr>
        </p15:guide>
        <p15:guide id="3" orient="horz" pos="113">
          <p15:clr>
            <a:srgbClr val="FBAE40"/>
          </p15:clr>
        </p15:guide>
        <p15:guide id="4" orient="horz" pos="786">
          <p15:clr>
            <a:srgbClr val="FBAE40"/>
          </p15:clr>
        </p15:guide>
        <p15:guide id="5" orient="horz" pos="3741">
          <p15:clr>
            <a:srgbClr val="FBAE40"/>
          </p15:clr>
        </p15:guide>
        <p15:guide id="6" orient="horz" pos="1158">
          <p15:clr>
            <a:srgbClr val="FBAE40"/>
          </p15:clr>
        </p15:guide>
        <p15:guide id="7" orient="horz" pos="1272">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omparison_w_line">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188AF8EE-35AC-49E3-9930-1BDCACEFD4B1}"/>
              </a:ext>
            </a:extLst>
          </p:cNvPr>
          <p:cNvGraphicFramePr>
            <a:graphicFrameLocks noChangeAspect="1"/>
          </p:cNvGraphicFramePr>
          <p:nvPr>
            <p:custDataLst>
              <p:tags r:id="rId1"/>
            </p:custDataLst>
            <p:extLst>
              <p:ext uri="{D42A27DB-BD31-4B8C-83A1-F6EECF244321}">
                <p14:modId xmlns:p14="http://schemas.microsoft.com/office/powerpoint/2010/main" val="10088721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11" name="Object 10" hidden="1">
                        <a:extLst>
                          <a:ext uri="{FF2B5EF4-FFF2-40B4-BE49-F238E27FC236}">
                            <a16:creationId xmlns:a16="http://schemas.microsoft.com/office/drawing/2014/main" id="{188AF8EE-35AC-49E3-9930-1BDCACEFD4B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8B4B1AF4-DDE1-4321-AD46-F0E1D9240B1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4400" b="0" i="0" baseline="0">
              <a:latin typeface="Verdana" panose="020B0604030504040204" pitchFamily="34" charset="0"/>
              <a:ea typeface="+mj-ea"/>
              <a:cs typeface="+mj-cs"/>
              <a:sym typeface="Museo Sans 100"/>
            </a:endParaRPr>
          </a:p>
        </p:txBody>
      </p:sp>
      <p:sp>
        <p:nvSpPr>
          <p:cNvPr id="3" name="Text Placeholder 2">
            <a:extLst>
              <a:ext uri="{FF2B5EF4-FFF2-40B4-BE49-F238E27FC236}">
                <a16:creationId xmlns:a16="http://schemas.microsoft.com/office/drawing/2014/main" id="{9E03F3A1-CCD7-4F8F-9CB5-0C0C93A2BAED}"/>
              </a:ext>
            </a:extLst>
          </p:cNvPr>
          <p:cNvSpPr>
            <a:spLocks noGrp="1"/>
          </p:cNvSpPr>
          <p:nvPr>
            <p:ph type="body" idx="1"/>
          </p:nvPr>
        </p:nvSpPr>
        <p:spPr>
          <a:xfrm>
            <a:off x="382384" y="1205244"/>
            <a:ext cx="5621541" cy="587975"/>
          </a:xfrm>
        </p:spPr>
        <p:txBody>
          <a:bodyPr lIns="72000" tIns="72000" rIns="72000" bIns="72000" anchor="b">
            <a:noAutofit/>
          </a:bodyPr>
          <a:lstStyle>
            <a:lvl1pPr marL="0" indent="0">
              <a:buNone/>
              <a:defRPr sz="1800" b="1">
                <a:solidFill>
                  <a:schemeClr val="tx2">
                    <a:lumMod val="10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4" name="Content Placeholder 3">
            <a:extLst>
              <a:ext uri="{FF2B5EF4-FFF2-40B4-BE49-F238E27FC236}">
                <a16:creationId xmlns:a16="http://schemas.microsoft.com/office/drawing/2014/main" id="{6F7156F0-9E20-4DB3-A7D9-421A0EEF76D6}"/>
              </a:ext>
            </a:extLst>
          </p:cNvPr>
          <p:cNvSpPr>
            <a:spLocks noGrp="1"/>
          </p:cNvSpPr>
          <p:nvPr>
            <p:ph sz="half" idx="2"/>
          </p:nvPr>
        </p:nvSpPr>
        <p:spPr>
          <a:xfrm>
            <a:off x="382385" y="2014538"/>
            <a:ext cx="5475882" cy="3924299"/>
          </a:xfrm>
        </p:spPr>
        <p:txBody>
          <a:bodyPr lIns="72000" tIns="72000" rIns="72000" bIns="7200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4">
            <a:extLst>
              <a:ext uri="{FF2B5EF4-FFF2-40B4-BE49-F238E27FC236}">
                <a16:creationId xmlns:a16="http://schemas.microsoft.com/office/drawing/2014/main" id="{6FCA77FD-9ACC-49B7-B506-B3E7BD7EDC92}"/>
              </a:ext>
            </a:extLst>
          </p:cNvPr>
          <p:cNvSpPr>
            <a:spLocks noGrp="1"/>
          </p:cNvSpPr>
          <p:nvPr>
            <p:ph type="body" sz="quarter" idx="3"/>
          </p:nvPr>
        </p:nvSpPr>
        <p:spPr>
          <a:xfrm>
            <a:off x="6344815" y="1205246"/>
            <a:ext cx="5475882" cy="587974"/>
          </a:xfrm>
        </p:spPr>
        <p:txBody>
          <a:bodyPr lIns="72000" tIns="72000" rIns="72000" bIns="72000" anchor="b">
            <a:noAutofit/>
          </a:bodyPr>
          <a:lstStyle>
            <a:lvl1pPr marL="0" indent="0">
              <a:buNone/>
              <a:defRPr sz="1800" b="1">
                <a:solidFill>
                  <a:schemeClr val="tx2">
                    <a:lumMod val="10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6" name="Content Placeholder 5">
            <a:extLst>
              <a:ext uri="{FF2B5EF4-FFF2-40B4-BE49-F238E27FC236}">
                <a16:creationId xmlns:a16="http://schemas.microsoft.com/office/drawing/2014/main" id="{B2AB2582-7062-4BC6-9D19-F0253BC1B6A2}"/>
              </a:ext>
            </a:extLst>
          </p:cNvPr>
          <p:cNvSpPr>
            <a:spLocks noGrp="1"/>
          </p:cNvSpPr>
          <p:nvPr>
            <p:ph sz="quarter" idx="4"/>
          </p:nvPr>
        </p:nvSpPr>
        <p:spPr>
          <a:xfrm>
            <a:off x="6333735" y="2014538"/>
            <a:ext cx="5486962" cy="3924299"/>
          </a:xfrm>
        </p:spPr>
        <p:txBody>
          <a:bodyPr lIns="72000" tIns="72000" rIns="72000" bIns="7200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Slide Number Placeholder 8">
            <a:extLst>
              <a:ext uri="{FF2B5EF4-FFF2-40B4-BE49-F238E27FC236}">
                <a16:creationId xmlns:a16="http://schemas.microsoft.com/office/drawing/2014/main" id="{B599CBCB-3A71-49DF-A2FE-693C98D8DFA8}"/>
              </a:ext>
            </a:extLst>
          </p:cNvPr>
          <p:cNvSpPr>
            <a:spLocks noGrp="1"/>
          </p:cNvSpPr>
          <p:nvPr>
            <p:ph type="sldNum" sz="quarter" idx="12"/>
          </p:nvPr>
        </p:nvSpPr>
        <p:spPr/>
        <p:txBody>
          <a:bodyPr lIns="0" tIns="0" rIns="0" bIns="0"/>
          <a:lstStyle/>
          <a:p>
            <a:fld id="{DDF71BC8-773F-4A54-968E-450E29C75AD4}" type="slidenum">
              <a:rPr lang="en-GB" smtClean="0"/>
              <a:pPr/>
              <a:t>‹#›</a:t>
            </a:fld>
            <a:endParaRPr lang="en-GB"/>
          </a:p>
        </p:txBody>
      </p:sp>
      <p:cxnSp>
        <p:nvCxnSpPr>
          <p:cNvPr id="14" name="Straight Connector 13">
            <a:extLst>
              <a:ext uri="{FF2B5EF4-FFF2-40B4-BE49-F238E27FC236}">
                <a16:creationId xmlns:a16="http://schemas.microsoft.com/office/drawing/2014/main" id="{0E80DDF9-9ABD-41C0-B8CD-6641DEAFE776}"/>
              </a:ext>
            </a:extLst>
          </p:cNvPr>
          <p:cNvCxnSpPr>
            <a:cxnSpLocks/>
          </p:cNvCxnSpPr>
          <p:nvPr/>
        </p:nvCxnSpPr>
        <p:spPr>
          <a:xfrm flipH="1">
            <a:off x="382384" y="1867501"/>
            <a:ext cx="5475883" cy="0"/>
          </a:xfrm>
          <a:prstGeom prst="line">
            <a:avLst/>
          </a:prstGeom>
          <a:ln w="12700" cap="flat" cmpd="sng" algn="ctr">
            <a:solidFill>
              <a:schemeClr val="tx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787ACC30-B3BF-495E-860A-1FD6FA83F803}"/>
              </a:ext>
            </a:extLst>
          </p:cNvPr>
          <p:cNvCxnSpPr>
            <a:cxnSpLocks/>
          </p:cNvCxnSpPr>
          <p:nvPr/>
        </p:nvCxnSpPr>
        <p:spPr>
          <a:xfrm flipH="1">
            <a:off x="6333735" y="1869774"/>
            <a:ext cx="5486962" cy="0"/>
          </a:xfrm>
          <a:prstGeom prst="line">
            <a:avLst/>
          </a:prstGeom>
          <a:ln w="12700" cap="flat" cmpd="sng" algn="ctr">
            <a:solidFill>
              <a:schemeClr val="tx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6" name="Footer Placeholder 3">
            <a:extLst>
              <a:ext uri="{FF2B5EF4-FFF2-40B4-BE49-F238E27FC236}">
                <a16:creationId xmlns:a16="http://schemas.microsoft.com/office/drawing/2014/main" id="{9ACD1BD4-24B7-493E-9C7D-4D406E0164A8}"/>
              </a:ext>
            </a:extLst>
          </p:cNvPr>
          <p:cNvSpPr>
            <a:spLocks noGrp="1"/>
          </p:cNvSpPr>
          <p:nvPr>
            <p:ph type="ftr" sz="quarter" idx="13"/>
          </p:nvPr>
        </p:nvSpPr>
        <p:spPr>
          <a:xfrm>
            <a:off x="1520890" y="6342890"/>
            <a:ext cx="9675845" cy="374690"/>
          </a:xfrm>
          <a:prstGeom prst="rect">
            <a:avLst/>
          </a:prstGeom>
        </p:spPr>
        <p:txBody>
          <a:bodyPr lIns="0" tIns="0" rIns="0" bIns="0" anchor="b"/>
          <a:lstStyle>
            <a:lvl1pPr>
              <a:defRPr sz="900">
                <a:latin typeface="Century Gothic" panose="020B0502020202020204" pitchFamily="34" charset="0"/>
              </a:defRPr>
            </a:lvl1pPr>
          </a:lstStyle>
          <a:p>
            <a:endParaRPr lang="en-GB"/>
          </a:p>
        </p:txBody>
      </p:sp>
      <p:sp>
        <p:nvSpPr>
          <p:cNvPr id="17" name="Title 1">
            <a:extLst>
              <a:ext uri="{FF2B5EF4-FFF2-40B4-BE49-F238E27FC236}">
                <a16:creationId xmlns:a16="http://schemas.microsoft.com/office/drawing/2014/main" id="{9C88C7A3-0501-4FC5-A23C-F213AB20F2F7}"/>
              </a:ext>
            </a:extLst>
          </p:cNvPr>
          <p:cNvSpPr>
            <a:spLocks noGrp="1"/>
          </p:cNvSpPr>
          <p:nvPr>
            <p:ph type="title" hasCustomPrompt="1"/>
          </p:nvPr>
        </p:nvSpPr>
        <p:spPr>
          <a:xfrm>
            <a:off x="382384" y="179388"/>
            <a:ext cx="11438313" cy="708715"/>
          </a:xfrm>
        </p:spPr>
        <p:txBody>
          <a:bodyPr vert="horz" lIns="0" tIns="0" rIns="0" bIns="0">
            <a:noAutofit/>
          </a:bodyPr>
          <a:lstStyle>
            <a:lvl1pPr>
              <a:defRPr cap="none"/>
            </a:lvl1pPr>
          </a:lstStyle>
          <a:p>
            <a:r>
              <a:rPr lang="en-US" noProof="0"/>
              <a:t>Click to edit master title style</a:t>
            </a:r>
          </a:p>
        </p:txBody>
      </p:sp>
    </p:spTree>
    <p:extLst>
      <p:ext uri="{BB962C8B-B14F-4D97-AF65-F5344CB8AC3E}">
        <p14:creationId xmlns:p14="http://schemas.microsoft.com/office/powerpoint/2010/main" val="862119927"/>
      </p:ext>
    </p:extLst>
  </p:cSld>
  <p:clrMapOvr>
    <a:masterClrMapping/>
  </p:clrMapOvr>
  <p:hf hdr="0" dt="0"/>
  <p:extLst>
    <p:ext uri="{DCECCB84-F9BA-43D5-87BE-67443E8EF086}">
      <p15:sldGuideLst xmlns:p15="http://schemas.microsoft.com/office/powerpoint/2012/main">
        <p15:guide id="2" orient="horz" pos="786">
          <p15:clr>
            <a:srgbClr val="FBAE40"/>
          </p15:clr>
        </p15:guide>
        <p15:guide id="3" orient="horz" pos="113">
          <p15:clr>
            <a:srgbClr val="FBAE40"/>
          </p15:clr>
        </p15:guide>
        <p15:guide id="5" pos="3783">
          <p15:clr>
            <a:srgbClr val="FBAE40"/>
          </p15:clr>
        </p15:guide>
        <p15:guide id="6" pos="3897">
          <p15:clr>
            <a:srgbClr val="FBAE40"/>
          </p15:clr>
        </p15:guide>
        <p15:guide id="9" orient="horz" pos="1269">
          <p15:clr>
            <a:srgbClr val="FBAE40"/>
          </p15:clr>
        </p15:guide>
        <p15:guide id="10" orient="horz" pos="3741">
          <p15:clr>
            <a:srgbClr val="FBAE40"/>
          </p15:clr>
        </p15:guide>
        <p15:guide id="11" orient="horz" pos="1155">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188AF8EE-35AC-49E3-9930-1BDCACEFD4B1}"/>
              </a:ext>
            </a:extLst>
          </p:cNvPr>
          <p:cNvGraphicFramePr>
            <a:graphicFrameLocks noChangeAspect="1"/>
          </p:cNvGraphicFramePr>
          <p:nvPr>
            <p:custDataLst>
              <p:tags r:id="rId1"/>
            </p:custDataLst>
            <p:extLst>
              <p:ext uri="{D42A27DB-BD31-4B8C-83A1-F6EECF244321}">
                <p14:modId xmlns:p14="http://schemas.microsoft.com/office/powerpoint/2010/main" val="16992062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11" name="Object 10" hidden="1">
                        <a:extLst>
                          <a:ext uri="{FF2B5EF4-FFF2-40B4-BE49-F238E27FC236}">
                            <a16:creationId xmlns:a16="http://schemas.microsoft.com/office/drawing/2014/main" id="{188AF8EE-35AC-49E3-9930-1BDCACEFD4B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8B4B1AF4-DDE1-4321-AD46-F0E1D9240B1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4400" b="0" i="0" baseline="0">
              <a:latin typeface="Verdana" panose="020B0604030504040204" pitchFamily="34" charset="0"/>
              <a:ea typeface="+mj-ea"/>
              <a:cs typeface="+mj-cs"/>
              <a:sym typeface="Museo Sans 100"/>
            </a:endParaRPr>
          </a:p>
        </p:txBody>
      </p:sp>
      <p:sp>
        <p:nvSpPr>
          <p:cNvPr id="9" name="Slide Number Placeholder 8">
            <a:extLst>
              <a:ext uri="{FF2B5EF4-FFF2-40B4-BE49-F238E27FC236}">
                <a16:creationId xmlns:a16="http://schemas.microsoft.com/office/drawing/2014/main" id="{B599CBCB-3A71-49DF-A2FE-693C98D8DFA8}"/>
              </a:ext>
            </a:extLst>
          </p:cNvPr>
          <p:cNvSpPr>
            <a:spLocks noGrp="1"/>
          </p:cNvSpPr>
          <p:nvPr>
            <p:ph type="sldNum" sz="quarter" idx="12"/>
          </p:nvPr>
        </p:nvSpPr>
        <p:spPr/>
        <p:txBody>
          <a:bodyPr lIns="0" tIns="0" rIns="0" bIns="0"/>
          <a:lstStyle/>
          <a:p>
            <a:fld id="{DDF71BC8-773F-4A54-968E-450E29C75AD4}" type="slidenum">
              <a:rPr lang="en-GB" smtClean="0"/>
              <a:pPr/>
              <a:t>‹#›</a:t>
            </a:fld>
            <a:endParaRPr lang="en-GB"/>
          </a:p>
        </p:txBody>
      </p:sp>
      <p:sp>
        <p:nvSpPr>
          <p:cNvPr id="13" name="Footer Placeholder 3">
            <a:extLst>
              <a:ext uri="{FF2B5EF4-FFF2-40B4-BE49-F238E27FC236}">
                <a16:creationId xmlns:a16="http://schemas.microsoft.com/office/drawing/2014/main" id="{0AF537C3-0565-49B7-BAF7-707C0CFC0232}"/>
              </a:ext>
            </a:extLst>
          </p:cNvPr>
          <p:cNvSpPr>
            <a:spLocks noGrp="1"/>
          </p:cNvSpPr>
          <p:nvPr>
            <p:ph type="ftr" sz="quarter" idx="13"/>
          </p:nvPr>
        </p:nvSpPr>
        <p:spPr>
          <a:xfrm>
            <a:off x="1520890" y="6342890"/>
            <a:ext cx="9675845" cy="374690"/>
          </a:xfrm>
          <a:prstGeom prst="rect">
            <a:avLst/>
          </a:prstGeom>
        </p:spPr>
        <p:txBody>
          <a:bodyPr lIns="0" tIns="0" rIns="0" bIns="0" anchor="b"/>
          <a:lstStyle>
            <a:lvl1pPr>
              <a:defRPr sz="900">
                <a:latin typeface="Century Gothic" panose="020B0502020202020204" pitchFamily="34" charset="0"/>
              </a:defRPr>
            </a:lvl1pPr>
          </a:lstStyle>
          <a:p>
            <a:endParaRPr lang="en-GB"/>
          </a:p>
        </p:txBody>
      </p:sp>
      <p:sp>
        <p:nvSpPr>
          <p:cNvPr id="14" name="Title 1">
            <a:extLst>
              <a:ext uri="{FF2B5EF4-FFF2-40B4-BE49-F238E27FC236}">
                <a16:creationId xmlns:a16="http://schemas.microsoft.com/office/drawing/2014/main" id="{B214B955-5CE2-401B-88E7-E488FF6074DC}"/>
              </a:ext>
            </a:extLst>
          </p:cNvPr>
          <p:cNvSpPr>
            <a:spLocks noGrp="1"/>
          </p:cNvSpPr>
          <p:nvPr>
            <p:ph type="title" hasCustomPrompt="1"/>
          </p:nvPr>
        </p:nvSpPr>
        <p:spPr>
          <a:xfrm>
            <a:off x="382384" y="179388"/>
            <a:ext cx="11438313" cy="708715"/>
          </a:xfrm>
        </p:spPr>
        <p:txBody>
          <a:bodyPr vert="horz" lIns="0" tIns="0" rIns="0" bIns="0">
            <a:noAutofit/>
          </a:bodyPr>
          <a:lstStyle>
            <a:lvl1pPr>
              <a:defRPr cap="none"/>
            </a:lvl1pPr>
          </a:lstStyle>
          <a:p>
            <a:r>
              <a:rPr lang="en-US" noProof="0"/>
              <a:t>Click to edit master title style</a:t>
            </a:r>
          </a:p>
        </p:txBody>
      </p:sp>
      <p:sp>
        <p:nvSpPr>
          <p:cNvPr id="15" name="Content Placeholder 2">
            <a:extLst>
              <a:ext uri="{FF2B5EF4-FFF2-40B4-BE49-F238E27FC236}">
                <a16:creationId xmlns:a16="http://schemas.microsoft.com/office/drawing/2014/main" id="{1E8465C6-CA5D-4B05-9A5A-0802DB88B8BF}"/>
              </a:ext>
            </a:extLst>
          </p:cNvPr>
          <p:cNvSpPr>
            <a:spLocks noGrp="1"/>
          </p:cNvSpPr>
          <p:nvPr>
            <p:ph sz="half" idx="1"/>
          </p:nvPr>
        </p:nvSpPr>
        <p:spPr>
          <a:xfrm>
            <a:off x="382384" y="1247775"/>
            <a:ext cx="5475882" cy="4691063"/>
          </a:xfrm>
        </p:spPr>
        <p:txBody>
          <a:bodyPr>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6" name="Content Placeholder 3">
            <a:extLst>
              <a:ext uri="{FF2B5EF4-FFF2-40B4-BE49-F238E27FC236}">
                <a16:creationId xmlns:a16="http://schemas.microsoft.com/office/drawing/2014/main" id="{C8711B5E-1663-44E3-AE92-8A03E23ED7CB}"/>
              </a:ext>
            </a:extLst>
          </p:cNvPr>
          <p:cNvSpPr>
            <a:spLocks noGrp="1"/>
          </p:cNvSpPr>
          <p:nvPr>
            <p:ph sz="half" idx="2"/>
          </p:nvPr>
        </p:nvSpPr>
        <p:spPr>
          <a:xfrm>
            <a:off x="6344816" y="1247776"/>
            <a:ext cx="5475882" cy="4691062"/>
          </a:xfrm>
        </p:spPr>
        <p:txBody>
          <a:bodyPr>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108573910"/>
      </p:ext>
    </p:extLst>
  </p:cSld>
  <p:clrMapOvr>
    <a:masterClrMapping/>
  </p:clrMapOvr>
  <p:hf hdr="0" dt="0"/>
  <p:extLst>
    <p:ext uri="{DCECCB84-F9BA-43D5-87BE-67443E8EF086}">
      <p15:sldGuideLst xmlns:p15="http://schemas.microsoft.com/office/powerpoint/2012/main">
        <p15:guide id="2" orient="horz" pos="786">
          <p15:clr>
            <a:srgbClr val="FBAE40"/>
          </p15:clr>
        </p15:guide>
        <p15:guide id="3" orient="horz" pos="113">
          <p15:clr>
            <a:srgbClr val="FBAE40"/>
          </p15:clr>
        </p15:guide>
        <p15:guide id="5" pos="3783">
          <p15:clr>
            <a:srgbClr val="FBAE40"/>
          </p15:clr>
        </p15:guide>
        <p15:guide id="6" pos="3897">
          <p15:clr>
            <a:srgbClr val="FBAE40"/>
          </p15:clr>
        </p15:guide>
        <p15:guide id="9" orient="horz" pos="1269">
          <p15:clr>
            <a:srgbClr val="FBAE40"/>
          </p15:clr>
        </p15:guide>
        <p15:guide id="10" orient="horz" pos="3741">
          <p15:clr>
            <a:srgbClr val="FBAE40"/>
          </p15:clr>
        </p15:guide>
        <p15:guide id="11" orient="horz" pos="1155">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5C200AD-18D5-486A-A4CB-E94C0B69B40B}"/>
              </a:ext>
            </a:extLst>
          </p:cNvPr>
          <p:cNvGraphicFramePr>
            <a:graphicFrameLocks noChangeAspect="1"/>
          </p:cNvGraphicFramePr>
          <p:nvPr>
            <p:custDataLst>
              <p:tags r:id="rId1"/>
            </p:custDataLst>
            <p:extLst>
              <p:ext uri="{D42A27DB-BD31-4B8C-83A1-F6EECF244321}">
                <p14:modId xmlns:p14="http://schemas.microsoft.com/office/powerpoint/2010/main" val="18324526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55C200AD-18D5-486A-A4CB-E94C0B69B40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2A69E91C-60CE-4280-A020-6C74B0B2171F}"/>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4400" b="0" i="0" baseline="0">
              <a:latin typeface="Verdana" panose="020B0604030504040204" pitchFamily="34" charset="0"/>
              <a:ea typeface="+mj-ea"/>
              <a:cs typeface="+mj-cs"/>
              <a:sym typeface="Museo Sans 100"/>
            </a:endParaRPr>
          </a:p>
        </p:txBody>
      </p:sp>
      <p:sp>
        <p:nvSpPr>
          <p:cNvPr id="2" name="Title 1">
            <a:extLst>
              <a:ext uri="{FF2B5EF4-FFF2-40B4-BE49-F238E27FC236}">
                <a16:creationId xmlns:a16="http://schemas.microsoft.com/office/drawing/2014/main" id="{41820E8D-4EE5-4F53-8446-F66BF7FA8047}"/>
              </a:ext>
            </a:extLst>
          </p:cNvPr>
          <p:cNvSpPr>
            <a:spLocks noGrp="1"/>
          </p:cNvSpPr>
          <p:nvPr>
            <p:ph type="title" hasCustomPrompt="1"/>
          </p:nvPr>
        </p:nvSpPr>
        <p:spPr/>
        <p:txBody>
          <a:bodyPr vert="horz" lIns="0" tIns="0" rIns="0" bIns="0">
            <a:noAutofit/>
          </a:bodyPr>
          <a:lstStyle>
            <a:lvl1pPr>
              <a:defRPr cap="none"/>
            </a:lvl1pPr>
          </a:lstStyle>
          <a:p>
            <a:r>
              <a:rPr lang="en-US" noProof="0"/>
              <a:t>Click to edit master title style</a:t>
            </a:r>
          </a:p>
        </p:txBody>
      </p:sp>
      <p:sp>
        <p:nvSpPr>
          <p:cNvPr id="5" name="Slide Number Placeholder 4">
            <a:extLst>
              <a:ext uri="{FF2B5EF4-FFF2-40B4-BE49-F238E27FC236}">
                <a16:creationId xmlns:a16="http://schemas.microsoft.com/office/drawing/2014/main" id="{3E98EFC9-0015-445F-920E-4162760DF929}"/>
              </a:ext>
            </a:extLst>
          </p:cNvPr>
          <p:cNvSpPr>
            <a:spLocks noGrp="1"/>
          </p:cNvSpPr>
          <p:nvPr>
            <p:ph type="sldNum" sz="quarter" idx="12"/>
          </p:nvPr>
        </p:nvSpPr>
        <p:spPr/>
        <p:txBody>
          <a:bodyPr lIns="0" tIns="0" rIns="0" bIns="0"/>
          <a:lstStyle/>
          <a:p>
            <a:fld id="{DDF71BC8-773F-4A54-968E-450E29C75AD4}" type="slidenum">
              <a:rPr lang="en-GB" smtClean="0"/>
              <a:pPr/>
              <a:t>‹#›</a:t>
            </a:fld>
            <a:endParaRPr lang="en-GB"/>
          </a:p>
        </p:txBody>
      </p:sp>
      <p:sp>
        <p:nvSpPr>
          <p:cNvPr id="8" name="Footer Placeholder 3">
            <a:extLst>
              <a:ext uri="{FF2B5EF4-FFF2-40B4-BE49-F238E27FC236}">
                <a16:creationId xmlns:a16="http://schemas.microsoft.com/office/drawing/2014/main" id="{BD97228A-8562-4988-804B-49C33360530C}"/>
              </a:ext>
            </a:extLst>
          </p:cNvPr>
          <p:cNvSpPr>
            <a:spLocks noGrp="1"/>
          </p:cNvSpPr>
          <p:nvPr>
            <p:ph type="ftr" sz="quarter" idx="3"/>
          </p:nvPr>
        </p:nvSpPr>
        <p:spPr>
          <a:xfrm>
            <a:off x="1520890" y="6342890"/>
            <a:ext cx="9675845" cy="374690"/>
          </a:xfrm>
          <a:prstGeom prst="rect">
            <a:avLst/>
          </a:prstGeom>
        </p:spPr>
        <p:txBody>
          <a:bodyPr lIns="0" tIns="0" rIns="0" bIns="0" anchor="b"/>
          <a:lstStyle>
            <a:lvl1pPr>
              <a:defRPr sz="900">
                <a:latin typeface="Century Gothic" panose="020B0502020202020204" pitchFamily="34" charset="0"/>
              </a:defRPr>
            </a:lvl1pPr>
          </a:lstStyle>
          <a:p>
            <a:endParaRPr lang="en-GB"/>
          </a:p>
        </p:txBody>
      </p:sp>
    </p:spTree>
    <p:extLst>
      <p:ext uri="{BB962C8B-B14F-4D97-AF65-F5344CB8AC3E}">
        <p14:creationId xmlns:p14="http://schemas.microsoft.com/office/powerpoint/2010/main" val="3364236632"/>
      </p:ext>
    </p:extLst>
  </p:cSld>
  <p:clrMapOvr>
    <a:masterClrMapping/>
  </p:clrMapOvr>
  <p:hf hdr="0" dt="0"/>
  <p:extLst>
    <p:ext uri="{DCECCB84-F9BA-43D5-87BE-67443E8EF086}">
      <p15:sldGuideLst xmlns:p15="http://schemas.microsoft.com/office/powerpoint/2012/main">
        <p15:guide id="1" orient="horz" pos="114">
          <p15:clr>
            <a:srgbClr val="FBAE40"/>
          </p15:clr>
        </p15:guide>
        <p15:guide id="2" orient="horz" pos="786">
          <p15:clr>
            <a:srgbClr val="FBAE40"/>
          </p15:clr>
        </p15:guide>
        <p15:guide id="3" orient="horz" pos="1155">
          <p15:clr>
            <a:srgbClr val="FBAE40"/>
          </p15:clr>
        </p15:guide>
        <p15:guide id="4" orient="horz" pos="1269">
          <p15:clr>
            <a:srgbClr val="FBAE40"/>
          </p15:clr>
        </p15:guide>
        <p15:guide id="5" pos="3783">
          <p15:clr>
            <a:srgbClr val="FBAE40"/>
          </p15:clr>
        </p15:guide>
        <p15:guide id="6" pos="3897">
          <p15:clr>
            <a:srgbClr val="FBAE40"/>
          </p15:clr>
        </p15:guide>
        <p15:guide id="7" orient="horz" pos="374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ActionTitl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5C200AD-18D5-486A-A4CB-E94C0B69B40B}"/>
              </a:ext>
            </a:extLst>
          </p:cNvPr>
          <p:cNvGraphicFramePr>
            <a:graphicFrameLocks noChangeAspect="1"/>
          </p:cNvGraphicFramePr>
          <p:nvPr>
            <p:custDataLst>
              <p:tags r:id="rId1"/>
            </p:custDataLst>
            <p:extLst>
              <p:ext uri="{D42A27DB-BD31-4B8C-83A1-F6EECF244321}">
                <p14:modId xmlns:p14="http://schemas.microsoft.com/office/powerpoint/2010/main" val="4420789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55C200AD-18D5-486A-A4CB-E94C0B69B40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2A69E91C-60CE-4280-A020-6C74B0B2171F}"/>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4400" b="0" i="0" baseline="0">
              <a:latin typeface="Verdana" panose="020B0604030504040204" pitchFamily="34" charset="0"/>
              <a:ea typeface="+mj-ea"/>
              <a:cs typeface="+mj-cs"/>
              <a:sym typeface="Museo Sans 100"/>
            </a:endParaRPr>
          </a:p>
        </p:txBody>
      </p:sp>
      <p:sp>
        <p:nvSpPr>
          <p:cNvPr id="2" name="Title 1">
            <a:extLst>
              <a:ext uri="{FF2B5EF4-FFF2-40B4-BE49-F238E27FC236}">
                <a16:creationId xmlns:a16="http://schemas.microsoft.com/office/drawing/2014/main" id="{41820E8D-4EE5-4F53-8446-F66BF7FA8047}"/>
              </a:ext>
            </a:extLst>
          </p:cNvPr>
          <p:cNvSpPr>
            <a:spLocks noGrp="1"/>
          </p:cNvSpPr>
          <p:nvPr>
            <p:ph type="title" hasCustomPrompt="1"/>
          </p:nvPr>
        </p:nvSpPr>
        <p:spPr/>
        <p:txBody>
          <a:bodyPr vert="horz" lIns="0" tIns="0" rIns="0" bIns="0">
            <a:noAutofit/>
          </a:bodyPr>
          <a:lstStyle>
            <a:lvl1pPr>
              <a:defRPr cap="none"/>
            </a:lvl1pPr>
          </a:lstStyle>
          <a:p>
            <a:r>
              <a:rPr lang="en-US" noProof="0"/>
              <a:t>Click to edit master title style</a:t>
            </a:r>
          </a:p>
        </p:txBody>
      </p:sp>
      <p:sp>
        <p:nvSpPr>
          <p:cNvPr id="5" name="Slide Number Placeholder 4">
            <a:extLst>
              <a:ext uri="{FF2B5EF4-FFF2-40B4-BE49-F238E27FC236}">
                <a16:creationId xmlns:a16="http://schemas.microsoft.com/office/drawing/2014/main" id="{3E98EFC9-0015-445F-920E-4162760DF929}"/>
              </a:ext>
            </a:extLst>
          </p:cNvPr>
          <p:cNvSpPr>
            <a:spLocks noGrp="1"/>
          </p:cNvSpPr>
          <p:nvPr>
            <p:ph type="sldNum" sz="quarter" idx="12"/>
          </p:nvPr>
        </p:nvSpPr>
        <p:spPr/>
        <p:txBody>
          <a:bodyPr lIns="0" tIns="0" rIns="0" bIns="0"/>
          <a:lstStyle/>
          <a:p>
            <a:fld id="{DDF71BC8-773F-4A54-968E-450E29C75AD4}" type="slidenum">
              <a:rPr lang="en-GB" smtClean="0"/>
              <a:pPr/>
              <a:t>‹#›</a:t>
            </a:fld>
            <a:endParaRPr lang="en-GB"/>
          </a:p>
        </p:txBody>
      </p:sp>
      <p:sp>
        <p:nvSpPr>
          <p:cNvPr id="10" name="Text Placeholder 9">
            <a:extLst>
              <a:ext uri="{FF2B5EF4-FFF2-40B4-BE49-F238E27FC236}">
                <a16:creationId xmlns:a16="http://schemas.microsoft.com/office/drawing/2014/main" id="{03957C2D-A49F-4DB6-BF75-79C374D34A24}"/>
              </a:ext>
            </a:extLst>
          </p:cNvPr>
          <p:cNvSpPr>
            <a:spLocks noGrp="1"/>
          </p:cNvSpPr>
          <p:nvPr>
            <p:ph type="body" sz="quarter" idx="13" hasCustomPrompt="1"/>
          </p:nvPr>
        </p:nvSpPr>
        <p:spPr>
          <a:xfrm>
            <a:off x="179388" y="887413"/>
            <a:ext cx="11831637" cy="374650"/>
          </a:xfrm>
        </p:spPr>
        <p:txBody>
          <a:bodyPr anchor="ctr">
            <a:noAutofit/>
          </a:bodyPr>
          <a:lstStyle>
            <a:lvl1pPr marL="0" indent="0">
              <a:buNone/>
              <a:defRPr sz="1400">
                <a:solidFill>
                  <a:schemeClr val="tx1">
                    <a:lumMod val="50000"/>
                    <a:lumOff val="50000"/>
                  </a:schemeClr>
                </a:solidFill>
              </a:defRPr>
            </a:lvl1pPr>
          </a:lstStyle>
          <a:p>
            <a:pPr lvl="0"/>
            <a:r>
              <a:rPr lang="de-DE"/>
              <a:t>Action title</a:t>
            </a:r>
            <a:endParaRPr lang="en-US"/>
          </a:p>
        </p:txBody>
      </p:sp>
      <p:sp>
        <p:nvSpPr>
          <p:cNvPr id="8" name="Footer Placeholder 3">
            <a:extLst>
              <a:ext uri="{FF2B5EF4-FFF2-40B4-BE49-F238E27FC236}">
                <a16:creationId xmlns:a16="http://schemas.microsoft.com/office/drawing/2014/main" id="{2DACB3D2-A539-4EC7-A0B5-0E6391268851}"/>
              </a:ext>
            </a:extLst>
          </p:cNvPr>
          <p:cNvSpPr>
            <a:spLocks noGrp="1"/>
          </p:cNvSpPr>
          <p:nvPr>
            <p:ph type="ftr" sz="quarter" idx="3"/>
          </p:nvPr>
        </p:nvSpPr>
        <p:spPr>
          <a:xfrm>
            <a:off x="1520890" y="6342890"/>
            <a:ext cx="9675845" cy="374690"/>
          </a:xfrm>
          <a:prstGeom prst="rect">
            <a:avLst/>
          </a:prstGeom>
        </p:spPr>
        <p:txBody>
          <a:bodyPr lIns="0" tIns="0" rIns="0" bIns="0" anchor="b"/>
          <a:lstStyle>
            <a:lvl1pPr>
              <a:defRPr sz="900">
                <a:latin typeface="Century Gothic" panose="020B0502020202020204" pitchFamily="34" charset="0"/>
              </a:defRPr>
            </a:lvl1pPr>
          </a:lstStyle>
          <a:p>
            <a:endParaRPr lang="en-GB"/>
          </a:p>
        </p:txBody>
      </p:sp>
    </p:spTree>
    <p:extLst>
      <p:ext uri="{BB962C8B-B14F-4D97-AF65-F5344CB8AC3E}">
        <p14:creationId xmlns:p14="http://schemas.microsoft.com/office/powerpoint/2010/main" val="4107602767"/>
      </p:ext>
    </p:extLst>
  </p:cSld>
  <p:clrMapOvr>
    <a:masterClrMapping/>
  </p:clrMapOvr>
  <p:hf hdr="0" dt="0"/>
  <p:extLst>
    <p:ext uri="{DCECCB84-F9BA-43D5-87BE-67443E8EF086}">
      <p15:sldGuideLst xmlns:p15="http://schemas.microsoft.com/office/powerpoint/2012/main">
        <p15:guide id="1" orient="horz" pos="114">
          <p15:clr>
            <a:srgbClr val="FBAE40"/>
          </p15:clr>
        </p15:guide>
        <p15:guide id="2" orient="horz" pos="786">
          <p15:clr>
            <a:srgbClr val="FBAE40"/>
          </p15:clr>
        </p15:guide>
        <p15:guide id="3" orient="horz" pos="1155">
          <p15:clr>
            <a:srgbClr val="FBAE40"/>
          </p15:clr>
        </p15:guide>
        <p15:guide id="4" orient="horz" pos="1269">
          <p15:clr>
            <a:srgbClr val="FBAE40"/>
          </p15:clr>
        </p15:guide>
        <p15:guide id="5" pos="3783">
          <p15:clr>
            <a:srgbClr val="FBAE40"/>
          </p15:clr>
        </p15:guide>
        <p15:guide id="6" pos="3897">
          <p15:clr>
            <a:srgbClr val="FBAE40"/>
          </p15:clr>
        </p15:guide>
        <p15:guide id="7" orient="horz" pos="374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ActionTitle_lin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5C200AD-18D5-486A-A4CB-E94C0B69B40B}"/>
              </a:ext>
            </a:extLst>
          </p:cNvPr>
          <p:cNvGraphicFramePr>
            <a:graphicFrameLocks noChangeAspect="1"/>
          </p:cNvGraphicFramePr>
          <p:nvPr>
            <p:custDataLst>
              <p:tags r:id="rId1"/>
            </p:custDataLst>
            <p:extLst>
              <p:ext uri="{D42A27DB-BD31-4B8C-83A1-F6EECF244321}">
                <p14:modId xmlns:p14="http://schemas.microsoft.com/office/powerpoint/2010/main" val="3903381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55C200AD-18D5-486A-A4CB-E94C0B69B40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2A69E91C-60CE-4280-A020-6C74B0B2171F}"/>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4400" b="0" i="0" baseline="0">
              <a:latin typeface="Verdana" panose="020B0604030504040204" pitchFamily="34" charset="0"/>
              <a:ea typeface="+mj-ea"/>
              <a:cs typeface="+mj-cs"/>
              <a:sym typeface="Museo Sans 100"/>
            </a:endParaRPr>
          </a:p>
        </p:txBody>
      </p:sp>
      <p:sp>
        <p:nvSpPr>
          <p:cNvPr id="2" name="Title 1">
            <a:extLst>
              <a:ext uri="{FF2B5EF4-FFF2-40B4-BE49-F238E27FC236}">
                <a16:creationId xmlns:a16="http://schemas.microsoft.com/office/drawing/2014/main" id="{41820E8D-4EE5-4F53-8446-F66BF7FA8047}"/>
              </a:ext>
            </a:extLst>
          </p:cNvPr>
          <p:cNvSpPr>
            <a:spLocks noGrp="1"/>
          </p:cNvSpPr>
          <p:nvPr>
            <p:ph type="title" hasCustomPrompt="1"/>
          </p:nvPr>
        </p:nvSpPr>
        <p:spPr/>
        <p:txBody>
          <a:bodyPr vert="horz" lIns="0" tIns="0" rIns="0" bIns="0">
            <a:noAutofit/>
          </a:bodyPr>
          <a:lstStyle>
            <a:lvl1pPr>
              <a:defRPr cap="none"/>
            </a:lvl1pPr>
          </a:lstStyle>
          <a:p>
            <a:r>
              <a:rPr lang="en-US" noProof="0"/>
              <a:t>Click to edit master title style</a:t>
            </a:r>
          </a:p>
        </p:txBody>
      </p:sp>
      <p:sp>
        <p:nvSpPr>
          <p:cNvPr id="5" name="Slide Number Placeholder 4">
            <a:extLst>
              <a:ext uri="{FF2B5EF4-FFF2-40B4-BE49-F238E27FC236}">
                <a16:creationId xmlns:a16="http://schemas.microsoft.com/office/drawing/2014/main" id="{3E98EFC9-0015-445F-920E-4162760DF929}"/>
              </a:ext>
            </a:extLst>
          </p:cNvPr>
          <p:cNvSpPr>
            <a:spLocks noGrp="1"/>
          </p:cNvSpPr>
          <p:nvPr>
            <p:ph type="sldNum" sz="quarter" idx="12"/>
          </p:nvPr>
        </p:nvSpPr>
        <p:spPr/>
        <p:txBody>
          <a:bodyPr lIns="0" tIns="0" rIns="0" bIns="0"/>
          <a:lstStyle/>
          <a:p>
            <a:fld id="{DDF71BC8-773F-4A54-968E-450E29C75AD4}" type="slidenum">
              <a:rPr lang="en-GB" smtClean="0"/>
              <a:pPr/>
              <a:t>‹#›</a:t>
            </a:fld>
            <a:endParaRPr lang="en-GB"/>
          </a:p>
        </p:txBody>
      </p:sp>
      <p:sp>
        <p:nvSpPr>
          <p:cNvPr id="10" name="Text Placeholder 9">
            <a:extLst>
              <a:ext uri="{FF2B5EF4-FFF2-40B4-BE49-F238E27FC236}">
                <a16:creationId xmlns:a16="http://schemas.microsoft.com/office/drawing/2014/main" id="{03957C2D-A49F-4DB6-BF75-79C374D34A24}"/>
              </a:ext>
            </a:extLst>
          </p:cNvPr>
          <p:cNvSpPr>
            <a:spLocks noGrp="1"/>
          </p:cNvSpPr>
          <p:nvPr>
            <p:ph type="body" sz="quarter" idx="13" hasCustomPrompt="1"/>
          </p:nvPr>
        </p:nvSpPr>
        <p:spPr>
          <a:xfrm>
            <a:off x="179389" y="1030346"/>
            <a:ext cx="11831637" cy="374650"/>
          </a:xfrm>
        </p:spPr>
        <p:txBody>
          <a:bodyPr anchor="ctr">
            <a:noAutofit/>
          </a:bodyPr>
          <a:lstStyle>
            <a:lvl1pPr marL="0" indent="0">
              <a:buNone/>
              <a:defRPr sz="1400">
                <a:solidFill>
                  <a:schemeClr val="tx1">
                    <a:lumMod val="50000"/>
                    <a:lumOff val="50000"/>
                  </a:schemeClr>
                </a:solidFill>
              </a:defRPr>
            </a:lvl1pPr>
          </a:lstStyle>
          <a:p>
            <a:pPr lvl="0"/>
            <a:r>
              <a:rPr lang="de-DE"/>
              <a:t>Action title</a:t>
            </a:r>
            <a:endParaRPr lang="en-US"/>
          </a:p>
        </p:txBody>
      </p:sp>
      <p:cxnSp>
        <p:nvCxnSpPr>
          <p:cNvPr id="8" name="Straight Connector 7">
            <a:extLst>
              <a:ext uri="{FF2B5EF4-FFF2-40B4-BE49-F238E27FC236}">
                <a16:creationId xmlns:a16="http://schemas.microsoft.com/office/drawing/2014/main" id="{EE47034B-D2F8-4408-9356-EA89719BDD6C}"/>
              </a:ext>
            </a:extLst>
          </p:cNvPr>
          <p:cNvCxnSpPr/>
          <p:nvPr/>
        </p:nvCxnSpPr>
        <p:spPr>
          <a:xfrm>
            <a:off x="179387" y="959224"/>
            <a:ext cx="11831639" cy="0"/>
          </a:xfrm>
          <a:prstGeom prst="line">
            <a:avLst/>
          </a:prstGeom>
          <a:ln w="19050" cap="flat" cmpd="sng" algn="ctr">
            <a:solidFill>
              <a:schemeClr val="tx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4D966112-46BA-4411-81C3-C6CF0FC49E94}"/>
              </a:ext>
            </a:extLst>
          </p:cNvPr>
          <p:cNvCxnSpPr/>
          <p:nvPr/>
        </p:nvCxnSpPr>
        <p:spPr>
          <a:xfrm>
            <a:off x="179387" y="959224"/>
            <a:ext cx="11831639" cy="0"/>
          </a:xfrm>
          <a:prstGeom prst="line">
            <a:avLst/>
          </a:prstGeom>
          <a:ln w="19050" cap="flat" cmpd="sng" algn="ctr">
            <a:solidFill>
              <a:schemeClr val="tx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 name="Footer Placeholder 3">
            <a:extLst>
              <a:ext uri="{FF2B5EF4-FFF2-40B4-BE49-F238E27FC236}">
                <a16:creationId xmlns:a16="http://schemas.microsoft.com/office/drawing/2014/main" id="{28DF757E-0F9C-4A13-A15D-7D58F7E37D6F}"/>
              </a:ext>
            </a:extLst>
          </p:cNvPr>
          <p:cNvSpPr>
            <a:spLocks noGrp="1"/>
          </p:cNvSpPr>
          <p:nvPr>
            <p:ph type="ftr" sz="quarter" idx="3"/>
          </p:nvPr>
        </p:nvSpPr>
        <p:spPr>
          <a:xfrm>
            <a:off x="1520890" y="6342890"/>
            <a:ext cx="9675845" cy="374690"/>
          </a:xfrm>
          <a:prstGeom prst="rect">
            <a:avLst/>
          </a:prstGeom>
        </p:spPr>
        <p:txBody>
          <a:bodyPr lIns="0" tIns="0" rIns="0" bIns="0" anchor="b"/>
          <a:lstStyle>
            <a:lvl1pPr>
              <a:defRPr sz="900">
                <a:latin typeface="Century Gothic" panose="020B0502020202020204" pitchFamily="34" charset="0"/>
              </a:defRPr>
            </a:lvl1pPr>
          </a:lstStyle>
          <a:p>
            <a:endParaRPr lang="en-GB"/>
          </a:p>
        </p:txBody>
      </p:sp>
    </p:spTree>
    <p:extLst>
      <p:ext uri="{BB962C8B-B14F-4D97-AF65-F5344CB8AC3E}">
        <p14:creationId xmlns:p14="http://schemas.microsoft.com/office/powerpoint/2010/main" val="4253406431"/>
      </p:ext>
    </p:extLst>
  </p:cSld>
  <p:clrMapOvr>
    <a:masterClrMapping/>
  </p:clrMapOvr>
  <p:hf hdr="0" dt="0"/>
  <p:extLst>
    <p:ext uri="{DCECCB84-F9BA-43D5-87BE-67443E8EF086}">
      <p15:sldGuideLst xmlns:p15="http://schemas.microsoft.com/office/powerpoint/2012/main">
        <p15:guide id="1" orient="horz" pos="114">
          <p15:clr>
            <a:srgbClr val="FBAE40"/>
          </p15:clr>
        </p15:guide>
        <p15:guide id="2" orient="horz" pos="786">
          <p15:clr>
            <a:srgbClr val="FBAE40"/>
          </p15:clr>
        </p15:guide>
        <p15:guide id="3" orient="horz" pos="1155">
          <p15:clr>
            <a:srgbClr val="FBAE40"/>
          </p15:clr>
        </p15:guide>
        <p15:guide id="4" orient="horz" pos="1269">
          <p15:clr>
            <a:srgbClr val="FBAE40"/>
          </p15:clr>
        </p15:guide>
        <p15:guide id="5" pos="3783">
          <p15:clr>
            <a:srgbClr val="FBAE40"/>
          </p15:clr>
        </p15:guide>
        <p15:guide id="6" pos="3897">
          <p15:clr>
            <a:srgbClr val="FBAE40"/>
          </p15:clr>
        </p15:guide>
        <p15:guide id="7" orient="horz" pos="374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5C200AD-18D5-486A-A4CB-E94C0B69B40B}"/>
              </a:ext>
            </a:extLst>
          </p:cNvPr>
          <p:cNvGraphicFramePr>
            <a:graphicFrameLocks noChangeAspect="1"/>
          </p:cNvGraphicFramePr>
          <p:nvPr>
            <p:custDataLst>
              <p:tags r:id="rId1"/>
            </p:custDataLst>
            <p:extLst>
              <p:ext uri="{D42A27DB-BD31-4B8C-83A1-F6EECF244321}">
                <p14:modId xmlns:p14="http://schemas.microsoft.com/office/powerpoint/2010/main" val="5333989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55C200AD-18D5-486A-A4CB-E94C0B69B40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2A69E91C-60CE-4280-A020-6C74B0B2171F}"/>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4400" b="0" i="0" baseline="0">
              <a:latin typeface="Verdana" panose="020B0604030504040204" pitchFamily="34" charset="0"/>
              <a:ea typeface="+mj-ea"/>
              <a:cs typeface="+mj-cs"/>
              <a:sym typeface="Museo Sans 100"/>
            </a:endParaRPr>
          </a:p>
        </p:txBody>
      </p:sp>
      <p:sp>
        <p:nvSpPr>
          <p:cNvPr id="5" name="Slide Number Placeholder 4">
            <a:extLst>
              <a:ext uri="{FF2B5EF4-FFF2-40B4-BE49-F238E27FC236}">
                <a16:creationId xmlns:a16="http://schemas.microsoft.com/office/drawing/2014/main" id="{3E98EFC9-0015-445F-920E-4162760DF929}"/>
              </a:ext>
            </a:extLst>
          </p:cNvPr>
          <p:cNvSpPr>
            <a:spLocks noGrp="1"/>
          </p:cNvSpPr>
          <p:nvPr>
            <p:ph type="sldNum" sz="quarter" idx="12"/>
          </p:nvPr>
        </p:nvSpPr>
        <p:spPr/>
        <p:txBody>
          <a:bodyPr lIns="0" tIns="0" rIns="0" bIns="0"/>
          <a:lstStyle/>
          <a:p>
            <a:fld id="{DDF71BC8-773F-4A54-968E-450E29C75AD4}" type="slidenum">
              <a:rPr lang="en-GB" smtClean="0"/>
              <a:pPr/>
              <a:t>‹#›</a:t>
            </a:fld>
            <a:endParaRPr lang="en-GB"/>
          </a:p>
        </p:txBody>
      </p:sp>
      <p:sp>
        <p:nvSpPr>
          <p:cNvPr id="8" name="Footer Placeholder 3">
            <a:extLst>
              <a:ext uri="{FF2B5EF4-FFF2-40B4-BE49-F238E27FC236}">
                <a16:creationId xmlns:a16="http://schemas.microsoft.com/office/drawing/2014/main" id="{E342A359-25FF-4CB6-93F5-1F3AF6A26741}"/>
              </a:ext>
            </a:extLst>
          </p:cNvPr>
          <p:cNvSpPr>
            <a:spLocks noGrp="1"/>
          </p:cNvSpPr>
          <p:nvPr>
            <p:ph type="ftr" sz="quarter" idx="3"/>
          </p:nvPr>
        </p:nvSpPr>
        <p:spPr>
          <a:xfrm>
            <a:off x="1520890" y="6342890"/>
            <a:ext cx="9675845" cy="374690"/>
          </a:xfrm>
          <a:prstGeom prst="rect">
            <a:avLst/>
          </a:prstGeom>
        </p:spPr>
        <p:txBody>
          <a:bodyPr lIns="0" tIns="0" rIns="0" bIns="0" anchor="b"/>
          <a:lstStyle>
            <a:lvl1pPr>
              <a:defRPr sz="900">
                <a:latin typeface="Century Gothic" panose="020B0502020202020204" pitchFamily="34" charset="0"/>
              </a:defRPr>
            </a:lvl1pPr>
          </a:lstStyle>
          <a:p>
            <a:endParaRPr lang="en-GB"/>
          </a:p>
        </p:txBody>
      </p:sp>
    </p:spTree>
    <p:extLst>
      <p:ext uri="{BB962C8B-B14F-4D97-AF65-F5344CB8AC3E}">
        <p14:creationId xmlns:p14="http://schemas.microsoft.com/office/powerpoint/2010/main" val="2586092676"/>
      </p:ext>
    </p:extLst>
  </p:cSld>
  <p:clrMapOvr>
    <a:masterClrMapping/>
  </p:clrMapOvr>
  <p:hf hdr="0" dt="0"/>
  <p:extLst>
    <p:ext uri="{DCECCB84-F9BA-43D5-87BE-67443E8EF086}">
      <p15:sldGuideLst xmlns:p15="http://schemas.microsoft.com/office/powerpoint/2012/main">
        <p15:guide id="1" orient="horz" pos="114">
          <p15:clr>
            <a:srgbClr val="FBAE40"/>
          </p15:clr>
        </p15:guide>
        <p15:guide id="2" orient="horz" pos="786">
          <p15:clr>
            <a:srgbClr val="FBAE40"/>
          </p15:clr>
        </p15:guide>
        <p15:guide id="3" orient="horz" pos="1155">
          <p15:clr>
            <a:srgbClr val="FBAE40"/>
          </p15:clr>
        </p15:guide>
        <p15:guide id="4" orient="horz" pos="1269">
          <p15:clr>
            <a:srgbClr val="FBAE40"/>
          </p15:clr>
        </p15:guide>
        <p15:guide id="5" pos="3783">
          <p15:clr>
            <a:srgbClr val="FBAE40"/>
          </p15:clr>
        </p15:guide>
        <p15:guide id="6" pos="3897">
          <p15:clr>
            <a:srgbClr val="FBAE40"/>
          </p15:clr>
        </p15:guide>
        <p15:guide id="7" orient="horz" pos="374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CDA8D5C-4ABE-4CBA-9D0A-B520E820C1C4}"/>
              </a:ext>
            </a:extLst>
          </p:cNvPr>
          <p:cNvGraphicFramePr>
            <a:graphicFrameLocks noChangeAspect="1"/>
          </p:cNvGraphicFramePr>
          <p:nvPr>
            <p:custDataLst>
              <p:tags r:id="rId1"/>
            </p:custDataLst>
            <p:extLst>
              <p:ext uri="{D42A27DB-BD31-4B8C-83A1-F6EECF244321}">
                <p14:modId xmlns:p14="http://schemas.microsoft.com/office/powerpoint/2010/main" val="1698592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9" name="Object 8" hidden="1">
                        <a:extLst>
                          <a:ext uri="{FF2B5EF4-FFF2-40B4-BE49-F238E27FC236}">
                            <a16:creationId xmlns:a16="http://schemas.microsoft.com/office/drawing/2014/main" id="{DCDA8D5C-4ABE-4CBA-9D0A-B520E820C1C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30DE0B9-1D37-413A-9F14-DFA5702F739F}"/>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4400" b="0" i="0" baseline="0">
              <a:latin typeface="Verdana" panose="020B0604030504040204" pitchFamily="34" charset="0"/>
              <a:ea typeface="+mj-ea"/>
              <a:cs typeface="+mj-cs"/>
              <a:sym typeface="Museo Sans 100"/>
            </a:endParaRPr>
          </a:p>
        </p:txBody>
      </p:sp>
      <p:sp>
        <p:nvSpPr>
          <p:cNvPr id="2" name="Title 1">
            <a:extLst>
              <a:ext uri="{FF2B5EF4-FFF2-40B4-BE49-F238E27FC236}">
                <a16:creationId xmlns:a16="http://schemas.microsoft.com/office/drawing/2014/main" id="{7923FFFA-0F55-4A69-8CBA-48FD568E0D7A}"/>
              </a:ext>
            </a:extLst>
          </p:cNvPr>
          <p:cNvSpPr>
            <a:spLocks noGrp="1"/>
          </p:cNvSpPr>
          <p:nvPr>
            <p:ph type="title" hasCustomPrompt="1"/>
          </p:nvPr>
        </p:nvSpPr>
        <p:spPr>
          <a:xfrm>
            <a:off x="179388" y="179387"/>
            <a:ext cx="5824536" cy="1654175"/>
          </a:xfrm>
        </p:spPr>
        <p:txBody>
          <a:bodyPr vert="horz" lIns="0" tIns="0" rIns="0" bIns="0" anchor="t">
            <a:noAutofit/>
          </a:bodyPr>
          <a:lstStyle>
            <a:lvl1pPr>
              <a:defRPr sz="4400" cap="none"/>
            </a:lvl1pPr>
          </a:lstStyle>
          <a:p>
            <a:r>
              <a:rPr lang="en-US" noProof="0"/>
              <a:t>Click to edit master title style</a:t>
            </a:r>
          </a:p>
        </p:txBody>
      </p:sp>
      <p:sp>
        <p:nvSpPr>
          <p:cNvPr id="3" name="Content Placeholder 2">
            <a:extLst>
              <a:ext uri="{FF2B5EF4-FFF2-40B4-BE49-F238E27FC236}">
                <a16:creationId xmlns:a16="http://schemas.microsoft.com/office/drawing/2014/main" id="{B15D8B6A-7A61-408F-BDB0-38567CF8EC11}"/>
              </a:ext>
            </a:extLst>
          </p:cNvPr>
          <p:cNvSpPr>
            <a:spLocks noGrp="1"/>
          </p:cNvSpPr>
          <p:nvPr>
            <p:ph idx="1"/>
          </p:nvPr>
        </p:nvSpPr>
        <p:spPr>
          <a:xfrm>
            <a:off x="6186489" y="188014"/>
            <a:ext cx="5824536" cy="5759451"/>
          </a:xfrm>
        </p:spPr>
        <p:txBody>
          <a:bodyPr lIns="0" tIns="0" rIns="0" bIns="0">
            <a:noAutofit/>
          </a:bodyPr>
          <a:lstStyle>
            <a:lvl1pPr>
              <a:defRPr sz="1400"/>
            </a:lvl1pPr>
            <a:lvl2pPr>
              <a:defRPr sz="1400"/>
            </a:lvl2pPr>
            <a:lvl3pPr>
              <a:defRPr sz="1400"/>
            </a:lvl3pPr>
            <a:lvl4pPr>
              <a:defRPr sz="1400"/>
            </a:lvl4pPr>
            <a:lvl5pPr>
              <a:defRPr sz="1400"/>
            </a:lvl5pPr>
            <a:lvl6pPr>
              <a:defRPr sz="2000"/>
            </a:lvl6pPr>
            <a:lvl7pPr>
              <a:defRPr sz="2000"/>
            </a:lvl7pPr>
            <a:lvl8pPr>
              <a:defRPr sz="2000"/>
            </a:lvl8pPr>
            <a:lvl9pPr>
              <a:defRPr sz="20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Text Placeholder 3">
            <a:extLst>
              <a:ext uri="{FF2B5EF4-FFF2-40B4-BE49-F238E27FC236}">
                <a16:creationId xmlns:a16="http://schemas.microsoft.com/office/drawing/2014/main" id="{08DDAE1C-D6AE-48B7-9F5A-D6622B24751D}"/>
              </a:ext>
            </a:extLst>
          </p:cNvPr>
          <p:cNvSpPr>
            <a:spLocks noGrp="1"/>
          </p:cNvSpPr>
          <p:nvPr>
            <p:ph type="body" sz="half" idx="2"/>
          </p:nvPr>
        </p:nvSpPr>
        <p:spPr>
          <a:xfrm>
            <a:off x="179387" y="2014538"/>
            <a:ext cx="5824536" cy="3924301"/>
          </a:xfrm>
        </p:spPr>
        <p:txBody>
          <a:bodyPr>
            <a:noAutofit/>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noProof="0"/>
              <a:t>Click to edit Master text styles</a:t>
            </a:r>
          </a:p>
        </p:txBody>
      </p:sp>
      <p:sp>
        <p:nvSpPr>
          <p:cNvPr id="7" name="Slide Number Placeholder 6">
            <a:extLst>
              <a:ext uri="{FF2B5EF4-FFF2-40B4-BE49-F238E27FC236}">
                <a16:creationId xmlns:a16="http://schemas.microsoft.com/office/drawing/2014/main" id="{940C6EDE-4618-41A4-9573-E028EF41F681}"/>
              </a:ext>
            </a:extLst>
          </p:cNvPr>
          <p:cNvSpPr>
            <a:spLocks noGrp="1"/>
          </p:cNvSpPr>
          <p:nvPr>
            <p:ph type="sldNum" sz="quarter" idx="12"/>
          </p:nvPr>
        </p:nvSpPr>
        <p:spPr/>
        <p:txBody>
          <a:bodyPr lIns="0" tIns="0" rIns="0" bIns="0"/>
          <a:lstStyle/>
          <a:p>
            <a:fld id="{DDF71BC8-773F-4A54-968E-450E29C75AD4}" type="slidenum">
              <a:rPr lang="en-GB" smtClean="0"/>
              <a:pPr/>
              <a:t>‹#›</a:t>
            </a:fld>
            <a:endParaRPr lang="en-GB"/>
          </a:p>
        </p:txBody>
      </p:sp>
      <p:sp>
        <p:nvSpPr>
          <p:cNvPr id="10" name="Footer Placeholder 3">
            <a:extLst>
              <a:ext uri="{FF2B5EF4-FFF2-40B4-BE49-F238E27FC236}">
                <a16:creationId xmlns:a16="http://schemas.microsoft.com/office/drawing/2014/main" id="{0F24D20C-D7F8-4213-B4E6-A72F46470ABF}"/>
              </a:ext>
            </a:extLst>
          </p:cNvPr>
          <p:cNvSpPr>
            <a:spLocks noGrp="1"/>
          </p:cNvSpPr>
          <p:nvPr>
            <p:ph type="ftr" sz="quarter" idx="3"/>
          </p:nvPr>
        </p:nvSpPr>
        <p:spPr>
          <a:xfrm>
            <a:off x="1520890" y="6342890"/>
            <a:ext cx="9675845" cy="374690"/>
          </a:xfrm>
          <a:prstGeom prst="rect">
            <a:avLst/>
          </a:prstGeom>
        </p:spPr>
        <p:txBody>
          <a:bodyPr lIns="0" tIns="0" rIns="0" bIns="0" anchor="b"/>
          <a:lstStyle>
            <a:lvl1pPr>
              <a:defRPr sz="900">
                <a:latin typeface="Century Gothic" panose="020B0502020202020204" pitchFamily="34" charset="0"/>
              </a:defRPr>
            </a:lvl1pPr>
          </a:lstStyle>
          <a:p>
            <a:endParaRPr lang="en-GB"/>
          </a:p>
        </p:txBody>
      </p:sp>
    </p:spTree>
    <p:extLst>
      <p:ext uri="{BB962C8B-B14F-4D97-AF65-F5344CB8AC3E}">
        <p14:creationId xmlns:p14="http://schemas.microsoft.com/office/powerpoint/2010/main" val="1715867675"/>
      </p:ext>
    </p:extLst>
  </p:cSld>
  <p:clrMapOvr>
    <a:masterClrMapping/>
  </p:clrMapOvr>
  <p:hf hdr="0" dt="0"/>
  <p:extLst>
    <p:ext uri="{DCECCB84-F9BA-43D5-87BE-67443E8EF086}">
      <p15:sldGuideLst xmlns:p15="http://schemas.microsoft.com/office/powerpoint/2012/main">
        <p15:guide id="3" orient="horz" pos="113">
          <p15:clr>
            <a:srgbClr val="FBAE40"/>
          </p15:clr>
        </p15:guide>
        <p15:guide id="6" orient="horz" pos="1155">
          <p15:clr>
            <a:srgbClr val="FBAE40"/>
          </p15:clr>
        </p15:guide>
        <p15:guide id="7" orient="horz" pos="1269">
          <p15:clr>
            <a:srgbClr val="FBAE40"/>
          </p15:clr>
        </p15:guide>
        <p15:guide id="8" pos="3783">
          <p15:clr>
            <a:srgbClr val="FBAE40"/>
          </p15:clr>
        </p15:guide>
        <p15:guide id="9" pos="3897">
          <p15:clr>
            <a:srgbClr val="FBAE40"/>
          </p15:clr>
        </p15:guide>
        <p15:guide id="10" orient="horz" pos="3741">
          <p15:clr>
            <a:srgbClr val="FBAE40"/>
          </p15:clr>
        </p15:guide>
        <p15:guide id="12" orient="horz" pos="786">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FD9A1697-4A4F-4D02-A31B-17F65E09F600}"/>
              </a:ext>
            </a:extLst>
          </p:cNvPr>
          <p:cNvGraphicFramePr>
            <a:graphicFrameLocks noChangeAspect="1"/>
          </p:cNvGraphicFramePr>
          <p:nvPr>
            <p:custDataLst>
              <p:tags r:id="rId1"/>
            </p:custDataLst>
            <p:extLst>
              <p:ext uri="{D42A27DB-BD31-4B8C-83A1-F6EECF244321}">
                <p14:modId xmlns:p14="http://schemas.microsoft.com/office/powerpoint/2010/main" val="37107170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9" name="Object 8" hidden="1">
                        <a:extLst>
                          <a:ext uri="{FF2B5EF4-FFF2-40B4-BE49-F238E27FC236}">
                            <a16:creationId xmlns:a16="http://schemas.microsoft.com/office/drawing/2014/main" id="{FD9A1697-4A4F-4D02-A31B-17F65E09F60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4326DCA2-1872-4334-AB48-F6ED42935B5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4400" b="0" i="0" baseline="0">
              <a:latin typeface="Verdana" panose="020B0604030504040204" pitchFamily="34" charset="0"/>
              <a:ea typeface="+mj-ea"/>
              <a:cs typeface="+mj-cs"/>
              <a:sym typeface="Museo Sans 100"/>
            </a:endParaRPr>
          </a:p>
        </p:txBody>
      </p:sp>
      <p:sp>
        <p:nvSpPr>
          <p:cNvPr id="2" name="Title 1">
            <a:extLst>
              <a:ext uri="{FF2B5EF4-FFF2-40B4-BE49-F238E27FC236}">
                <a16:creationId xmlns:a16="http://schemas.microsoft.com/office/drawing/2014/main" id="{88DC19BA-229D-452B-A482-D3AFD16EFC68}"/>
              </a:ext>
            </a:extLst>
          </p:cNvPr>
          <p:cNvSpPr>
            <a:spLocks noGrp="1"/>
          </p:cNvSpPr>
          <p:nvPr>
            <p:ph type="title" hasCustomPrompt="1"/>
          </p:nvPr>
        </p:nvSpPr>
        <p:spPr>
          <a:xfrm>
            <a:off x="179388" y="180974"/>
            <a:ext cx="5824536" cy="1652589"/>
          </a:xfrm>
        </p:spPr>
        <p:txBody>
          <a:bodyPr vert="horz" lIns="0" tIns="0" rIns="0" bIns="0" anchor="t">
            <a:noAutofit/>
          </a:bodyPr>
          <a:lstStyle>
            <a:lvl1pPr>
              <a:defRPr sz="4400" cap="none"/>
            </a:lvl1pPr>
          </a:lstStyle>
          <a:p>
            <a:r>
              <a:rPr lang="en-US" noProof="0"/>
              <a:t>Click to edit master title style</a:t>
            </a:r>
          </a:p>
        </p:txBody>
      </p:sp>
      <p:sp>
        <p:nvSpPr>
          <p:cNvPr id="4" name="Text Placeholder 3">
            <a:extLst>
              <a:ext uri="{FF2B5EF4-FFF2-40B4-BE49-F238E27FC236}">
                <a16:creationId xmlns:a16="http://schemas.microsoft.com/office/drawing/2014/main" id="{2021FE04-BB86-4EC5-AEC5-3FE8662175C6}"/>
              </a:ext>
            </a:extLst>
          </p:cNvPr>
          <p:cNvSpPr>
            <a:spLocks noGrp="1"/>
          </p:cNvSpPr>
          <p:nvPr>
            <p:ph type="body" sz="half" idx="2"/>
          </p:nvPr>
        </p:nvSpPr>
        <p:spPr>
          <a:xfrm>
            <a:off x="179389" y="2014538"/>
            <a:ext cx="5824536" cy="3924300"/>
          </a:xfrm>
        </p:spPr>
        <p:txBody>
          <a:bodyPr lIns="0" tIns="0" rIns="0" bIns="0">
            <a:noAutofit/>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noProof="0"/>
              <a:t>Click to edit Master text styles</a:t>
            </a:r>
          </a:p>
        </p:txBody>
      </p:sp>
      <p:sp>
        <p:nvSpPr>
          <p:cNvPr id="7" name="Slide Number Placeholder 6">
            <a:extLst>
              <a:ext uri="{FF2B5EF4-FFF2-40B4-BE49-F238E27FC236}">
                <a16:creationId xmlns:a16="http://schemas.microsoft.com/office/drawing/2014/main" id="{A71C7C56-963A-4163-B8A9-5FE4EDCA1FC1}"/>
              </a:ext>
            </a:extLst>
          </p:cNvPr>
          <p:cNvSpPr>
            <a:spLocks noGrp="1"/>
          </p:cNvSpPr>
          <p:nvPr>
            <p:ph type="sldNum" sz="quarter" idx="12"/>
          </p:nvPr>
        </p:nvSpPr>
        <p:spPr/>
        <p:txBody>
          <a:bodyPr lIns="0" tIns="0" rIns="0" bIns="0"/>
          <a:lstStyle/>
          <a:p>
            <a:fld id="{DDF71BC8-773F-4A54-968E-450E29C75AD4}" type="slidenum">
              <a:rPr lang="en-GB" smtClean="0"/>
              <a:pPr/>
              <a:t>‹#›</a:t>
            </a:fld>
            <a:endParaRPr lang="en-GB"/>
          </a:p>
        </p:txBody>
      </p:sp>
      <p:sp>
        <p:nvSpPr>
          <p:cNvPr id="11" name="Picture Placeholder 4">
            <a:extLst>
              <a:ext uri="{FF2B5EF4-FFF2-40B4-BE49-F238E27FC236}">
                <a16:creationId xmlns:a16="http://schemas.microsoft.com/office/drawing/2014/main" id="{DF70E342-8A51-49B4-A2A2-BED8E1A13493}"/>
              </a:ext>
            </a:extLst>
          </p:cNvPr>
          <p:cNvSpPr>
            <a:spLocks noGrp="1"/>
          </p:cNvSpPr>
          <p:nvPr>
            <p:ph type="pic" sz="quarter" idx="10" hasCustomPrompt="1"/>
          </p:nvPr>
        </p:nvSpPr>
        <p:spPr>
          <a:xfrm>
            <a:off x="6186489" y="178594"/>
            <a:ext cx="5824536" cy="5757863"/>
          </a:xfrm>
        </p:spPr>
        <p:txBody>
          <a:bodyPr lIns="0" tIns="0" rIns="0" bIns="0">
            <a:noAutofit/>
          </a:bodyPr>
          <a:lstStyle>
            <a:lvl1pPr>
              <a:defRPr/>
            </a:lvl1pPr>
          </a:lstStyle>
          <a:p>
            <a:r>
              <a:rPr lang="en-US" noProof="0"/>
              <a:t>Click to select placeholder - insert picture from the Templafy library</a:t>
            </a:r>
          </a:p>
        </p:txBody>
      </p:sp>
      <p:sp>
        <p:nvSpPr>
          <p:cNvPr id="10" name="Footer Placeholder 3">
            <a:extLst>
              <a:ext uri="{FF2B5EF4-FFF2-40B4-BE49-F238E27FC236}">
                <a16:creationId xmlns:a16="http://schemas.microsoft.com/office/drawing/2014/main" id="{91FD5321-C0A0-44C7-A6D0-2B190BAEC702}"/>
              </a:ext>
            </a:extLst>
          </p:cNvPr>
          <p:cNvSpPr>
            <a:spLocks noGrp="1"/>
          </p:cNvSpPr>
          <p:nvPr>
            <p:ph type="ftr" sz="quarter" idx="3"/>
          </p:nvPr>
        </p:nvSpPr>
        <p:spPr>
          <a:xfrm>
            <a:off x="1520890" y="6342890"/>
            <a:ext cx="9675845" cy="374690"/>
          </a:xfrm>
          <a:prstGeom prst="rect">
            <a:avLst/>
          </a:prstGeom>
        </p:spPr>
        <p:txBody>
          <a:bodyPr lIns="0" tIns="0" rIns="0" bIns="0" anchor="b"/>
          <a:lstStyle>
            <a:lvl1pPr>
              <a:defRPr sz="900">
                <a:latin typeface="Century Gothic" panose="020B0502020202020204" pitchFamily="34" charset="0"/>
              </a:defRPr>
            </a:lvl1pPr>
          </a:lstStyle>
          <a:p>
            <a:endParaRPr lang="en-GB"/>
          </a:p>
        </p:txBody>
      </p:sp>
    </p:spTree>
    <p:extLst>
      <p:ext uri="{BB962C8B-B14F-4D97-AF65-F5344CB8AC3E}">
        <p14:creationId xmlns:p14="http://schemas.microsoft.com/office/powerpoint/2010/main" val="3687860316"/>
      </p:ext>
    </p:extLst>
  </p:cSld>
  <p:clrMapOvr>
    <a:masterClrMapping/>
  </p:clrMapOvr>
  <p:hf hdr="0" dt="0"/>
  <p:extLst>
    <p:ext uri="{DCECCB84-F9BA-43D5-87BE-67443E8EF086}">
      <p15:sldGuideLst xmlns:p15="http://schemas.microsoft.com/office/powerpoint/2012/main">
        <p15:guide id="3" orient="horz" pos="114">
          <p15:clr>
            <a:srgbClr val="FBAE40"/>
          </p15:clr>
        </p15:guide>
        <p15:guide id="5" orient="horz" pos="1269">
          <p15:clr>
            <a:srgbClr val="FBAE40"/>
          </p15:clr>
        </p15:guide>
        <p15:guide id="6" orient="horz" pos="1155">
          <p15:clr>
            <a:srgbClr val="FBAE40"/>
          </p15:clr>
        </p15:guide>
        <p15:guide id="7" orient="horz" pos="3741">
          <p15:clr>
            <a:srgbClr val="FBAE40"/>
          </p15:clr>
        </p15:guide>
        <p15:guide id="8" pos="3783">
          <p15:clr>
            <a:srgbClr val="FBAE40"/>
          </p15:clr>
        </p15:guide>
        <p15:guide id="9" pos="3896">
          <p15:clr>
            <a:srgbClr val="FBAE40"/>
          </p15:clr>
        </p15:guide>
        <p15:guide id="11" orient="horz" pos="786">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Legal Disclaimer">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DBAFEAE-D2DF-4A4F-A49A-53C2FE24164E}"/>
              </a:ext>
            </a:extLst>
          </p:cNvPr>
          <p:cNvSpPr/>
          <p:nvPr/>
        </p:nvSpPr>
        <p:spPr>
          <a:xfrm>
            <a:off x="96717" y="6216161"/>
            <a:ext cx="1204546" cy="526752"/>
          </a:xfrm>
          <a:prstGeom prst="rect">
            <a:avLst/>
          </a:prstGeom>
          <a:solidFill>
            <a:schemeClr val="bg2">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a:ln>
                <a:noFill/>
              </a:ln>
              <a:solidFill>
                <a:schemeClr val="bg1"/>
              </a:solidFill>
            </a:endParaRPr>
          </a:p>
        </p:txBody>
      </p:sp>
      <p:pic>
        <p:nvPicPr>
          <p:cNvPr id="5" name="Picture 4" descr="A close up of a logo&#10;&#10;Description automatically generated">
            <a:extLst>
              <a:ext uri="{FF2B5EF4-FFF2-40B4-BE49-F238E27FC236}">
                <a16:creationId xmlns:a16="http://schemas.microsoft.com/office/drawing/2014/main" id="{1B8D8A47-AE53-4EF6-A051-CE11E8186DB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15086" y="3582673"/>
            <a:ext cx="1572354" cy="1366889"/>
          </a:xfrm>
          <a:prstGeom prst="rect">
            <a:avLst/>
          </a:prstGeom>
        </p:spPr>
      </p:pic>
      <p:sp>
        <p:nvSpPr>
          <p:cNvPr id="7" name="Rectangle 6">
            <a:extLst>
              <a:ext uri="{FF2B5EF4-FFF2-40B4-BE49-F238E27FC236}">
                <a16:creationId xmlns:a16="http://schemas.microsoft.com/office/drawing/2014/main" id="{9C218987-B6BF-4113-B719-56B4BD1B6C8E}"/>
              </a:ext>
            </a:extLst>
          </p:cNvPr>
          <p:cNvSpPr/>
          <p:nvPr/>
        </p:nvSpPr>
        <p:spPr>
          <a:xfrm>
            <a:off x="96717" y="6216161"/>
            <a:ext cx="1572354" cy="526752"/>
          </a:xfrm>
          <a:prstGeom prst="rect">
            <a:avLst/>
          </a:prstGeom>
          <a:solidFill>
            <a:schemeClr val="bg2">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a:ln>
                <a:noFill/>
              </a:ln>
              <a:solidFill>
                <a:schemeClr val="bg1"/>
              </a:solidFill>
            </a:endParaRPr>
          </a:p>
        </p:txBody>
      </p:sp>
      <p:sp>
        <p:nvSpPr>
          <p:cNvPr id="2" name="text" descr="{&quot;templafy&quot;:{&quot;id&quot;:&quot;73195096-35c0-413e-9fdc-dc643feb0d1e&quot;}}" title="UserProfile.LegalEntity.DisclaimerPowerPoint_{{Form.Audience.Audience}}">
            <a:extLst>
              <a:ext uri="{FF2B5EF4-FFF2-40B4-BE49-F238E27FC236}">
                <a16:creationId xmlns:a16="http://schemas.microsoft.com/office/drawing/2014/main" id="{839D58AD-3DE0-4964-9CCB-2C06ADB010AD}"/>
              </a:ext>
            </a:extLst>
          </p:cNvPr>
          <p:cNvSpPr/>
          <p:nvPr/>
        </p:nvSpPr>
        <p:spPr>
          <a:xfrm>
            <a:off x="539750" y="5891633"/>
            <a:ext cx="4968000" cy="3921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algn="l"/>
            <a:r>
              <a:rPr lang="en-US" sz="900" noProof="0">
                <a:solidFill>
                  <a:schemeClr val="tx1"/>
                </a:solidFill>
              </a:rPr>
              <a:t>The Energy Transitions Commission is hosted by SYSTEMIQ Ltd.</a:t>
            </a:r>
          </a:p>
          <a:p>
            <a:pPr algn="l"/>
            <a:endParaRPr lang="en-US" sz="900" noProof="0">
              <a:solidFill>
                <a:schemeClr val="tx1"/>
              </a:solidFill>
            </a:endParaRPr>
          </a:p>
          <a:p>
            <a:pPr algn="l"/>
            <a:r>
              <a:rPr lang="en-US" sz="900" noProof="0">
                <a:solidFill>
                  <a:schemeClr val="tx1"/>
                </a:solidFill>
              </a:rPr>
              <a:t>© 2020 SYSTEMIQ Ltd. All rights reserved.
This is an internal document which provides confidential advice and guidance to partners and staff of SYSTEMIQ Ltd. and its subsidiaries. It is not to be copied or made available to any other party without prior written approval.</a:t>
            </a:r>
          </a:p>
        </p:txBody>
      </p:sp>
    </p:spTree>
    <p:extLst>
      <p:ext uri="{BB962C8B-B14F-4D97-AF65-F5344CB8AC3E}">
        <p14:creationId xmlns:p14="http://schemas.microsoft.com/office/powerpoint/2010/main" val="3162882060"/>
      </p:ext>
    </p:extLst>
  </p:cSld>
  <p:clrMapOvr>
    <a:masterClrMapping/>
  </p:clrMapOvr>
  <p:hf hdr="0" dt="0"/>
  <p:extLst>
    <p:ext uri="{DCECCB84-F9BA-43D5-87BE-67443E8EF086}">
      <p15:sldGuideLst xmlns:p15="http://schemas.microsoft.com/office/powerpoint/2012/main">
        <p15:guide id="1" orient="horz" pos="366">
          <p15:clr>
            <a:srgbClr val="FBAE40"/>
          </p15:clr>
        </p15:guide>
        <p15:guide id="4" orient="horz" pos="3741">
          <p15:clr>
            <a:srgbClr val="FBAE40"/>
          </p15:clr>
        </p15:guide>
        <p15:guide id="5" orient="horz" pos="1155">
          <p15:clr>
            <a:srgbClr val="FBAE40"/>
          </p15:clr>
        </p15:guide>
        <p15:guide id="6" pos="3783">
          <p15:clr>
            <a:srgbClr val="FBAE40"/>
          </p15:clr>
        </p15:guide>
        <p15:guide id="7" pos="3896">
          <p15:clr>
            <a:srgbClr val="FBAE40"/>
          </p15:clr>
        </p15:guide>
        <p15:guide id="8" orient="horz" pos="1269">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_without_logo">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6D541D8-B4A5-48BD-92C0-ACCAE7D71056}"/>
              </a:ext>
            </a:extLst>
          </p:cNvPr>
          <p:cNvGraphicFramePr>
            <a:graphicFrameLocks noChangeAspect="1"/>
          </p:cNvGraphicFramePr>
          <p:nvPr>
            <p:custDataLst>
              <p:tags r:id="rId1"/>
            </p:custDataLst>
            <p:extLst>
              <p:ext uri="{D42A27DB-BD31-4B8C-83A1-F6EECF244321}">
                <p14:modId xmlns:p14="http://schemas.microsoft.com/office/powerpoint/2010/main" val="31965506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26" imgH="526" progId="TCLayout.ActiveDocument.1">
                  <p:embed/>
                </p:oleObj>
              </mc:Choice>
              <mc:Fallback>
                <p:oleObj name="think-cell Slide" r:id="rId4" imgW="526" imgH="526" progId="TCLayout.ActiveDocument.1">
                  <p:embed/>
                  <p:pic>
                    <p:nvPicPr>
                      <p:cNvPr id="7" name="Object 6" hidden="1">
                        <a:extLst>
                          <a:ext uri="{FF2B5EF4-FFF2-40B4-BE49-F238E27FC236}">
                            <a16:creationId xmlns:a16="http://schemas.microsoft.com/office/drawing/2014/main" id="{26D541D8-B4A5-48BD-92C0-ACCAE7D7105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EAD2561-9FF3-4C8F-B41A-88E05A00BB28}"/>
              </a:ext>
            </a:extLst>
          </p:cNvPr>
          <p:cNvSpPr>
            <a:spLocks noGrp="1"/>
          </p:cNvSpPr>
          <p:nvPr>
            <p:ph type="title"/>
          </p:nvPr>
        </p:nvSpPr>
        <p:spPr/>
        <p:txBody>
          <a:bodyPr vert="horz">
            <a:noAutofit/>
          </a:bodyPr>
          <a:lstStyle/>
          <a:p>
            <a:r>
              <a:rPr lang="en-US"/>
              <a:t>Click to edit Master title style</a:t>
            </a:r>
            <a:endParaRPr lang="en-GB"/>
          </a:p>
        </p:txBody>
      </p:sp>
      <p:sp>
        <p:nvSpPr>
          <p:cNvPr id="4" name="Slide Number Placeholder 3">
            <a:extLst>
              <a:ext uri="{FF2B5EF4-FFF2-40B4-BE49-F238E27FC236}">
                <a16:creationId xmlns:a16="http://schemas.microsoft.com/office/drawing/2014/main" id="{5303DA3F-89CD-4D41-9AF0-FDBCD3B3BB2E}"/>
              </a:ext>
            </a:extLst>
          </p:cNvPr>
          <p:cNvSpPr>
            <a:spLocks noGrp="1"/>
          </p:cNvSpPr>
          <p:nvPr>
            <p:ph type="sldNum" sz="quarter" idx="11"/>
          </p:nvPr>
        </p:nvSpPr>
        <p:spPr/>
        <p:txBody>
          <a:bodyPr/>
          <a:lstStyle/>
          <a:p>
            <a:fld id="{DDF71BC8-773F-4A54-968E-450E29C75AD4}" type="slidenum">
              <a:rPr lang="en-GB" smtClean="0"/>
              <a:pPr/>
              <a:t>‹#›</a:t>
            </a:fld>
            <a:endParaRPr lang="en-GB"/>
          </a:p>
        </p:txBody>
      </p:sp>
      <p:graphicFrame>
        <p:nvGraphicFramePr>
          <p:cNvPr id="8" name="Object 7" hidden="1">
            <a:extLst>
              <a:ext uri="{FF2B5EF4-FFF2-40B4-BE49-F238E27FC236}">
                <a16:creationId xmlns:a16="http://schemas.microsoft.com/office/drawing/2014/main" id="{1E9D6F4F-7526-41F1-93D3-A7F742659C60}"/>
              </a:ext>
            </a:extLst>
          </p:cNvPr>
          <p:cNvGraphicFramePr>
            <a:graphicFrameLocks noChangeAspect="1"/>
          </p:cNvGraphicFramePr>
          <p:nvPr>
            <p:custDataLst>
              <p:tags r:id="rId2"/>
            </p:custDataLst>
            <p:extLst>
              <p:ext uri="{D42A27DB-BD31-4B8C-83A1-F6EECF244321}">
                <p14:modId xmlns:p14="http://schemas.microsoft.com/office/powerpoint/2010/main" val="29712665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26" imgH="526" progId="TCLayout.ActiveDocument.1">
                  <p:embed/>
                </p:oleObj>
              </mc:Choice>
              <mc:Fallback>
                <p:oleObj name="think-cell Slide" r:id="rId6" imgW="526" imgH="526" progId="TCLayout.ActiveDocument.1">
                  <p:embed/>
                  <p:pic>
                    <p:nvPicPr>
                      <p:cNvPr id="8" name="Object 7" hidden="1">
                        <a:extLst>
                          <a:ext uri="{FF2B5EF4-FFF2-40B4-BE49-F238E27FC236}">
                            <a16:creationId xmlns:a16="http://schemas.microsoft.com/office/drawing/2014/main" id="{1E9D6F4F-7526-41F1-93D3-A7F742659C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Footer Placeholder 3">
            <a:extLst>
              <a:ext uri="{FF2B5EF4-FFF2-40B4-BE49-F238E27FC236}">
                <a16:creationId xmlns:a16="http://schemas.microsoft.com/office/drawing/2014/main" id="{144D420A-42E6-400B-ACBC-8E93B28958A4}"/>
              </a:ext>
            </a:extLst>
          </p:cNvPr>
          <p:cNvSpPr>
            <a:spLocks noGrp="1"/>
          </p:cNvSpPr>
          <p:nvPr>
            <p:ph type="ftr" sz="quarter" idx="13"/>
          </p:nvPr>
        </p:nvSpPr>
        <p:spPr>
          <a:xfrm>
            <a:off x="1520890" y="6342890"/>
            <a:ext cx="9675845" cy="374690"/>
          </a:xfrm>
        </p:spPr>
        <p:txBody>
          <a:bodyPr/>
          <a:lstStyle/>
          <a:p>
            <a:endParaRPr lang="en-GB"/>
          </a:p>
        </p:txBody>
      </p:sp>
    </p:spTree>
    <p:extLst>
      <p:ext uri="{BB962C8B-B14F-4D97-AF65-F5344CB8AC3E}">
        <p14:creationId xmlns:p14="http://schemas.microsoft.com/office/powerpoint/2010/main" val="3161599067"/>
      </p:ext>
    </p:extLst>
  </p:cSld>
  <p:clrMapOvr>
    <a:masterClrMapping/>
  </p:clrMapOvr>
  <p:hf hdr="0" dt="0"/>
</p:sldLayout>
</file>

<file path=ppt/slideLayouts/slideLayout30.xml><?xml version="1.0" encoding="utf-8"?>
<p:sldLayout xmlns:a="http://schemas.openxmlformats.org/drawingml/2006/main" xmlns:r="http://schemas.openxmlformats.org/officeDocument/2006/relationships" xmlns:p="http://schemas.openxmlformats.org/presentationml/2006/main">
  <p:cSld name="1_ActionTitl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5C200AD-18D5-486A-A4CB-E94C0B69B40B}"/>
              </a:ext>
            </a:extLst>
          </p:cNvPr>
          <p:cNvGraphicFramePr>
            <a:graphicFrameLocks noChangeAspect="1"/>
          </p:cNvGraphicFramePr>
          <p:nvPr>
            <p:custDataLst>
              <p:tags r:id="rId1"/>
            </p:custDataLst>
            <p:extLst>
              <p:ext uri="{D42A27DB-BD31-4B8C-83A1-F6EECF244321}">
                <p14:modId xmlns:p14="http://schemas.microsoft.com/office/powerpoint/2010/main" val="2387658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55C200AD-18D5-486A-A4CB-E94C0B69B40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2A69E91C-60CE-4280-A020-6C74B0B2171F}"/>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4400" b="0" i="0" baseline="0">
              <a:latin typeface="Century Gothic" panose="020B0502020202020204" pitchFamily="34" charset="0"/>
              <a:ea typeface="+mj-ea"/>
              <a:cs typeface="+mj-cs"/>
              <a:sym typeface="Century Gothic" panose="020B0502020202020204" pitchFamily="34" charset="0"/>
            </a:endParaRPr>
          </a:p>
        </p:txBody>
      </p:sp>
      <p:sp>
        <p:nvSpPr>
          <p:cNvPr id="2" name="Title 1">
            <a:extLst>
              <a:ext uri="{FF2B5EF4-FFF2-40B4-BE49-F238E27FC236}">
                <a16:creationId xmlns:a16="http://schemas.microsoft.com/office/drawing/2014/main" id="{41820E8D-4EE5-4F53-8446-F66BF7FA8047}"/>
              </a:ext>
            </a:extLst>
          </p:cNvPr>
          <p:cNvSpPr>
            <a:spLocks noGrp="1"/>
          </p:cNvSpPr>
          <p:nvPr>
            <p:ph type="title" hasCustomPrompt="1"/>
          </p:nvPr>
        </p:nvSpPr>
        <p:spPr/>
        <p:txBody>
          <a:bodyPr vert="horz" lIns="0" tIns="0" rIns="0" bIns="0"/>
          <a:lstStyle>
            <a:lvl1pPr>
              <a:defRPr cap="none"/>
            </a:lvl1pPr>
          </a:lstStyle>
          <a:p>
            <a:r>
              <a:rPr lang="en-US" noProof="0"/>
              <a:t>Click to edit master title style</a:t>
            </a:r>
          </a:p>
        </p:txBody>
      </p:sp>
      <p:sp>
        <p:nvSpPr>
          <p:cNvPr id="5" name="Slide Number Placeholder 4">
            <a:extLst>
              <a:ext uri="{FF2B5EF4-FFF2-40B4-BE49-F238E27FC236}">
                <a16:creationId xmlns:a16="http://schemas.microsoft.com/office/drawing/2014/main" id="{3E98EFC9-0015-445F-920E-4162760DF929}"/>
              </a:ext>
            </a:extLst>
          </p:cNvPr>
          <p:cNvSpPr>
            <a:spLocks noGrp="1"/>
          </p:cNvSpPr>
          <p:nvPr>
            <p:ph type="sldNum" sz="quarter" idx="12"/>
          </p:nvPr>
        </p:nvSpPr>
        <p:spPr/>
        <p:txBody>
          <a:bodyPr lIns="0" tIns="0" rIns="0" bIns="0"/>
          <a:lstStyle/>
          <a:p>
            <a:fld id="{DDF71BC8-773F-4A54-968E-450E29C75AD4}" type="slidenum">
              <a:rPr lang="en-GB" smtClean="0"/>
              <a:pPr/>
              <a:t>‹#›</a:t>
            </a:fld>
            <a:endParaRPr lang="en-GB"/>
          </a:p>
        </p:txBody>
      </p:sp>
      <p:sp>
        <p:nvSpPr>
          <p:cNvPr id="10" name="Text Placeholder 9">
            <a:extLst>
              <a:ext uri="{FF2B5EF4-FFF2-40B4-BE49-F238E27FC236}">
                <a16:creationId xmlns:a16="http://schemas.microsoft.com/office/drawing/2014/main" id="{03957C2D-A49F-4DB6-BF75-79C374D34A24}"/>
              </a:ext>
            </a:extLst>
          </p:cNvPr>
          <p:cNvSpPr>
            <a:spLocks noGrp="1"/>
          </p:cNvSpPr>
          <p:nvPr>
            <p:ph type="body" sz="quarter" idx="13" hasCustomPrompt="1"/>
          </p:nvPr>
        </p:nvSpPr>
        <p:spPr>
          <a:xfrm>
            <a:off x="179388" y="887413"/>
            <a:ext cx="11831637" cy="374650"/>
          </a:xfrm>
        </p:spPr>
        <p:txBody>
          <a:bodyPr anchor="ctr">
            <a:normAutofit/>
          </a:bodyPr>
          <a:lstStyle>
            <a:lvl1pPr marL="0" indent="0">
              <a:buNone/>
              <a:defRPr sz="1400">
                <a:solidFill>
                  <a:schemeClr val="tx1">
                    <a:lumMod val="50000"/>
                    <a:lumOff val="50000"/>
                  </a:schemeClr>
                </a:solidFill>
              </a:defRPr>
            </a:lvl1pPr>
          </a:lstStyle>
          <a:p>
            <a:pPr lvl="0"/>
            <a:r>
              <a:rPr lang="de-DE"/>
              <a:t>Action title</a:t>
            </a:r>
            <a:endParaRPr lang="en-US"/>
          </a:p>
        </p:txBody>
      </p:sp>
      <p:sp>
        <p:nvSpPr>
          <p:cNvPr id="8" name="Footer Placeholder 3">
            <a:extLst>
              <a:ext uri="{FF2B5EF4-FFF2-40B4-BE49-F238E27FC236}">
                <a16:creationId xmlns:a16="http://schemas.microsoft.com/office/drawing/2014/main" id="{3681FE0A-99F2-4EF7-AABA-8D97B43E557A}"/>
              </a:ext>
            </a:extLst>
          </p:cNvPr>
          <p:cNvSpPr>
            <a:spLocks noGrp="1"/>
          </p:cNvSpPr>
          <p:nvPr>
            <p:ph type="ftr" sz="quarter" idx="3"/>
          </p:nvPr>
        </p:nvSpPr>
        <p:spPr>
          <a:xfrm>
            <a:off x="1520890" y="6342890"/>
            <a:ext cx="9675845" cy="374690"/>
          </a:xfrm>
          <a:prstGeom prst="rect">
            <a:avLst/>
          </a:prstGeom>
        </p:spPr>
        <p:txBody>
          <a:bodyPr lIns="0" tIns="0" rIns="0" bIns="0" anchor="b"/>
          <a:lstStyle>
            <a:lvl1pPr>
              <a:defRPr sz="900">
                <a:latin typeface="Century Gothic" panose="020B0502020202020204" pitchFamily="34" charset="0"/>
              </a:defRPr>
            </a:lvl1pPr>
          </a:lstStyle>
          <a:p>
            <a:endParaRPr lang="en-GB"/>
          </a:p>
        </p:txBody>
      </p:sp>
    </p:spTree>
    <p:extLst>
      <p:ext uri="{BB962C8B-B14F-4D97-AF65-F5344CB8AC3E}">
        <p14:creationId xmlns:p14="http://schemas.microsoft.com/office/powerpoint/2010/main" val="3355464420"/>
      </p:ext>
    </p:extLst>
  </p:cSld>
  <p:clrMapOvr>
    <a:masterClrMapping/>
  </p:clrMapOvr>
  <p:hf hdr="0" dt="0"/>
  <p:extLst>
    <p:ext uri="{DCECCB84-F9BA-43D5-87BE-67443E8EF086}">
      <p15:sldGuideLst xmlns:p15="http://schemas.microsoft.com/office/powerpoint/2012/main">
        <p15:guide id="1" orient="horz" pos="114">
          <p15:clr>
            <a:srgbClr val="FBAE40"/>
          </p15:clr>
        </p15:guide>
        <p15:guide id="2" orient="horz" pos="786">
          <p15:clr>
            <a:srgbClr val="FBAE40"/>
          </p15:clr>
        </p15:guide>
        <p15:guide id="3" orient="horz" pos="1155">
          <p15:clr>
            <a:srgbClr val="FBAE40"/>
          </p15:clr>
        </p15:guide>
        <p15:guide id="4" orient="horz" pos="1269">
          <p15:clr>
            <a:srgbClr val="FBAE40"/>
          </p15:clr>
        </p15:guide>
        <p15:guide id="5" pos="3783">
          <p15:clr>
            <a:srgbClr val="FBAE40"/>
          </p15:clr>
        </p15:guide>
        <p15:guide id="6" pos="3897">
          <p15:clr>
            <a:srgbClr val="FBAE40"/>
          </p15:clr>
        </p15:guide>
        <p15:guide id="7" orient="horz" pos="374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cSld name="1_ActionTitle_lin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5C200AD-18D5-486A-A4CB-E94C0B69B40B}"/>
              </a:ext>
            </a:extLst>
          </p:cNvPr>
          <p:cNvGraphicFramePr>
            <a:graphicFrameLocks noChangeAspect="1"/>
          </p:cNvGraphicFramePr>
          <p:nvPr>
            <p:custDataLst>
              <p:tags r:id="rId1"/>
            </p:custDataLst>
            <p:extLst>
              <p:ext uri="{D42A27DB-BD31-4B8C-83A1-F6EECF244321}">
                <p14:modId xmlns:p14="http://schemas.microsoft.com/office/powerpoint/2010/main" val="31245223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55C200AD-18D5-486A-A4CB-E94C0B69B40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2A69E91C-60CE-4280-A020-6C74B0B2171F}"/>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4400" b="0" i="0" baseline="0">
              <a:latin typeface="Century Gothic" panose="020B0502020202020204" pitchFamily="34" charset="0"/>
              <a:ea typeface="+mj-ea"/>
              <a:cs typeface="+mj-cs"/>
              <a:sym typeface="Century Gothic" panose="020B0502020202020204" pitchFamily="34" charset="0"/>
            </a:endParaRPr>
          </a:p>
        </p:txBody>
      </p:sp>
      <p:sp>
        <p:nvSpPr>
          <p:cNvPr id="2" name="Title 1">
            <a:extLst>
              <a:ext uri="{FF2B5EF4-FFF2-40B4-BE49-F238E27FC236}">
                <a16:creationId xmlns:a16="http://schemas.microsoft.com/office/drawing/2014/main" id="{41820E8D-4EE5-4F53-8446-F66BF7FA8047}"/>
              </a:ext>
            </a:extLst>
          </p:cNvPr>
          <p:cNvSpPr>
            <a:spLocks noGrp="1"/>
          </p:cNvSpPr>
          <p:nvPr>
            <p:ph type="title" hasCustomPrompt="1"/>
          </p:nvPr>
        </p:nvSpPr>
        <p:spPr/>
        <p:txBody>
          <a:bodyPr vert="horz" lIns="0" tIns="0" rIns="0" bIns="0"/>
          <a:lstStyle>
            <a:lvl1pPr>
              <a:defRPr cap="none"/>
            </a:lvl1pPr>
          </a:lstStyle>
          <a:p>
            <a:r>
              <a:rPr lang="en-US" noProof="0"/>
              <a:t>Click to edit master title style</a:t>
            </a:r>
          </a:p>
        </p:txBody>
      </p:sp>
      <p:sp>
        <p:nvSpPr>
          <p:cNvPr id="5" name="Slide Number Placeholder 4">
            <a:extLst>
              <a:ext uri="{FF2B5EF4-FFF2-40B4-BE49-F238E27FC236}">
                <a16:creationId xmlns:a16="http://schemas.microsoft.com/office/drawing/2014/main" id="{3E98EFC9-0015-445F-920E-4162760DF929}"/>
              </a:ext>
            </a:extLst>
          </p:cNvPr>
          <p:cNvSpPr>
            <a:spLocks noGrp="1"/>
          </p:cNvSpPr>
          <p:nvPr>
            <p:ph type="sldNum" sz="quarter" idx="12"/>
          </p:nvPr>
        </p:nvSpPr>
        <p:spPr/>
        <p:txBody>
          <a:bodyPr lIns="0" tIns="0" rIns="0" bIns="0"/>
          <a:lstStyle/>
          <a:p>
            <a:fld id="{DDF71BC8-773F-4A54-968E-450E29C75AD4}" type="slidenum">
              <a:rPr lang="en-GB" smtClean="0"/>
              <a:pPr/>
              <a:t>‹#›</a:t>
            </a:fld>
            <a:endParaRPr lang="en-GB"/>
          </a:p>
        </p:txBody>
      </p:sp>
      <p:sp>
        <p:nvSpPr>
          <p:cNvPr id="10" name="Text Placeholder 9">
            <a:extLst>
              <a:ext uri="{FF2B5EF4-FFF2-40B4-BE49-F238E27FC236}">
                <a16:creationId xmlns:a16="http://schemas.microsoft.com/office/drawing/2014/main" id="{03957C2D-A49F-4DB6-BF75-79C374D34A24}"/>
              </a:ext>
            </a:extLst>
          </p:cNvPr>
          <p:cNvSpPr>
            <a:spLocks noGrp="1"/>
          </p:cNvSpPr>
          <p:nvPr>
            <p:ph type="body" sz="quarter" idx="13" hasCustomPrompt="1"/>
          </p:nvPr>
        </p:nvSpPr>
        <p:spPr>
          <a:xfrm>
            <a:off x="179389" y="1030346"/>
            <a:ext cx="11831637" cy="374650"/>
          </a:xfrm>
        </p:spPr>
        <p:txBody>
          <a:bodyPr anchor="ctr">
            <a:normAutofit/>
          </a:bodyPr>
          <a:lstStyle>
            <a:lvl1pPr marL="0" indent="0">
              <a:buNone/>
              <a:defRPr sz="1400">
                <a:solidFill>
                  <a:schemeClr val="tx1">
                    <a:lumMod val="50000"/>
                    <a:lumOff val="50000"/>
                  </a:schemeClr>
                </a:solidFill>
              </a:defRPr>
            </a:lvl1pPr>
          </a:lstStyle>
          <a:p>
            <a:pPr lvl="0"/>
            <a:r>
              <a:rPr lang="de-DE"/>
              <a:t>Action title</a:t>
            </a:r>
            <a:endParaRPr lang="en-US"/>
          </a:p>
        </p:txBody>
      </p:sp>
      <p:cxnSp>
        <p:nvCxnSpPr>
          <p:cNvPr id="8" name="Straight Connector 7">
            <a:extLst>
              <a:ext uri="{FF2B5EF4-FFF2-40B4-BE49-F238E27FC236}">
                <a16:creationId xmlns:a16="http://schemas.microsoft.com/office/drawing/2014/main" id="{EE47034B-D2F8-4408-9356-EA89719BDD6C}"/>
              </a:ext>
            </a:extLst>
          </p:cNvPr>
          <p:cNvCxnSpPr/>
          <p:nvPr/>
        </p:nvCxnSpPr>
        <p:spPr>
          <a:xfrm>
            <a:off x="179387" y="959224"/>
            <a:ext cx="11831639" cy="0"/>
          </a:xfrm>
          <a:prstGeom prst="line">
            <a:avLst/>
          </a:prstGeom>
          <a:ln w="19050" cap="flat" cmpd="sng" algn="ctr">
            <a:solidFill>
              <a:schemeClr val="tx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C1FCDAE2-21A7-4EA4-8D95-0A207A2FC5DA}"/>
              </a:ext>
            </a:extLst>
          </p:cNvPr>
          <p:cNvCxnSpPr/>
          <p:nvPr/>
        </p:nvCxnSpPr>
        <p:spPr>
          <a:xfrm>
            <a:off x="179387" y="959224"/>
            <a:ext cx="11831639" cy="0"/>
          </a:xfrm>
          <a:prstGeom prst="line">
            <a:avLst/>
          </a:prstGeom>
          <a:ln w="19050" cap="flat" cmpd="sng" algn="ctr">
            <a:solidFill>
              <a:schemeClr val="tx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 name="Footer Placeholder 3">
            <a:extLst>
              <a:ext uri="{FF2B5EF4-FFF2-40B4-BE49-F238E27FC236}">
                <a16:creationId xmlns:a16="http://schemas.microsoft.com/office/drawing/2014/main" id="{B24AB55F-20D8-4EAF-8EC9-7E1018294F26}"/>
              </a:ext>
            </a:extLst>
          </p:cNvPr>
          <p:cNvSpPr>
            <a:spLocks noGrp="1"/>
          </p:cNvSpPr>
          <p:nvPr>
            <p:ph type="ftr" sz="quarter" idx="3"/>
          </p:nvPr>
        </p:nvSpPr>
        <p:spPr>
          <a:xfrm>
            <a:off x="1520890" y="6342890"/>
            <a:ext cx="9675845" cy="374690"/>
          </a:xfrm>
          <a:prstGeom prst="rect">
            <a:avLst/>
          </a:prstGeom>
        </p:spPr>
        <p:txBody>
          <a:bodyPr lIns="0" tIns="0" rIns="0" bIns="0" anchor="b"/>
          <a:lstStyle>
            <a:lvl1pPr>
              <a:defRPr sz="900">
                <a:latin typeface="Century Gothic" panose="020B0502020202020204" pitchFamily="34" charset="0"/>
              </a:defRPr>
            </a:lvl1pPr>
          </a:lstStyle>
          <a:p>
            <a:endParaRPr lang="en-GB"/>
          </a:p>
        </p:txBody>
      </p:sp>
    </p:spTree>
    <p:extLst>
      <p:ext uri="{BB962C8B-B14F-4D97-AF65-F5344CB8AC3E}">
        <p14:creationId xmlns:p14="http://schemas.microsoft.com/office/powerpoint/2010/main" val="467690333"/>
      </p:ext>
    </p:extLst>
  </p:cSld>
  <p:clrMapOvr>
    <a:masterClrMapping/>
  </p:clrMapOvr>
  <p:hf hdr="0" dt="0"/>
  <p:extLst>
    <p:ext uri="{DCECCB84-F9BA-43D5-87BE-67443E8EF086}">
      <p15:sldGuideLst xmlns:p15="http://schemas.microsoft.com/office/powerpoint/2012/main">
        <p15:guide id="1" orient="horz" pos="114">
          <p15:clr>
            <a:srgbClr val="FBAE40"/>
          </p15:clr>
        </p15:guide>
        <p15:guide id="2" orient="horz" pos="786">
          <p15:clr>
            <a:srgbClr val="FBAE40"/>
          </p15:clr>
        </p15:guide>
        <p15:guide id="3" orient="horz" pos="1155">
          <p15:clr>
            <a:srgbClr val="FBAE40"/>
          </p15:clr>
        </p15:guide>
        <p15:guide id="4" orient="horz" pos="1269">
          <p15:clr>
            <a:srgbClr val="FBAE40"/>
          </p15:clr>
        </p15:guide>
        <p15:guide id="5" pos="3783">
          <p15:clr>
            <a:srgbClr val="FBAE40"/>
          </p15:clr>
        </p15:guide>
        <p15:guide id="6" pos="3897">
          <p15:clr>
            <a:srgbClr val="FBAE40"/>
          </p15:clr>
        </p15:guide>
        <p15:guide id="7" orient="horz" pos="3741">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D. Title Only">
  <p:cSld name="D. Title Only">
    <p:spTree>
      <p:nvGrpSpPr>
        <p:cNvPr id="1" name="Shape 527"/>
        <p:cNvGrpSpPr/>
        <p:nvPr/>
      </p:nvGrpSpPr>
      <p:grpSpPr>
        <a:xfrm>
          <a:off x="0" y="0"/>
          <a:ext cx="0" cy="0"/>
          <a:chOff x="0" y="0"/>
          <a:chExt cx="0" cy="0"/>
        </a:xfrm>
      </p:grpSpPr>
      <p:sp>
        <p:nvSpPr>
          <p:cNvPr id="528" name="Google Shape;528;g12312b28955_3_19"/>
          <p:cNvSpPr txBox="1">
            <a:spLocks noGrp="1"/>
          </p:cNvSpPr>
          <p:nvPr>
            <p:ph type="dt" idx="10"/>
          </p:nvPr>
        </p:nvSpPr>
        <p:spPr>
          <a:xfrm>
            <a:off x="9677400" y="6405036"/>
            <a:ext cx="1482051" cy="153888"/>
          </a:xfrm>
          <a:prstGeom prst="rect">
            <a:avLst/>
          </a:prstGeom>
          <a:noFill/>
          <a:ln>
            <a:noFill/>
          </a:ln>
        </p:spPr>
        <p:txBody>
          <a:bodyPr spcFirstLastPara="1" wrap="square" lIns="0" tIns="0" rIns="0" bIns="0" anchor="b" anchorCtr="0">
            <a:spAutoFit/>
          </a:bodyPr>
          <a:lstStyle>
            <a:lvl1pPr lvl="0" algn="r">
              <a:lnSpc>
                <a:spcPct val="100000"/>
              </a:lnSpc>
              <a:spcBef>
                <a:spcPts val="0"/>
              </a:spcBef>
              <a:spcAft>
                <a:spcPts val="0"/>
              </a:spcAft>
              <a:buSzPts val="1400"/>
              <a:buNone/>
              <a:defRPr>
                <a:solidFill>
                  <a:srgbClr val="7F7F7F"/>
                </a:solidFill>
                <a:latin typeface="Trebuchet MS"/>
                <a:ea typeface="Trebuchet MS"/>
                <a:cs typeface="Trebuchet MS"/>
                <a:sym typeface="Trebuchet MS"/>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29" name="Google Shape;529;g12312b28955_3_19"/>
          <p:cNvSpPr txBox="1">
            <a:spLocks noGrp="1"/>
          </p:cNvSpPr>
          <p:nvPr>
            <p:ph type="title"/>
          </p:nvPr>
        </p:nvSpPr>
        <p:spPr>
          <a:xfrm>
            <a:off x="630000" y="622800"/>
            <a:ext cx="10933350" cy="332399"/>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2400"/>
              <a:buFont typeface="Trebuchet MS"/>
              <a:buNone/>
              <a:defRPr>
                <a:latin typeface="Trebuchet MS"/>
                <a:ea typeface="Trebuchet MS"/>
                <a:cs typeface="Trebuchet MS"/>
                <a:sym typeface="Trebuchet MS"/>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Click to edit Master title style</a:t>
            </a:r>
            <a:endParaRPr/>
          </a:p>
        </p:txBody>
      </p:sp>
      <p:sp>
        <p:nvSpPr>
          <p:cNvPr id="530" name="Google Shape;530;g12312b28955_3_19"/>
          <p:cNvSpPr txBox="1">
            <a:spLocks noGrp="1"/>
          </p:cNvSpPr>
          <p:nvPr>
            <p:ph type="sldNum" idx="12"/>
          </p:nvPr>
        </p:nvSpPr>
        <p:spPr>
          <a:xfrm>
            <a:off x="11409045" y="6333134"/>
            <a:ext cx="731700" cy="5250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Trebuchet MS"/>
                <a:ea typeface="Trebuchet MS"/>
                <a:cs typeface="Trebuchet MS"/>
                <a:sym typeface="Trebuchet MS"/>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Trebuchet MS"/>
                <a:ea typeface="Trebuchet MS"/>
                <a:cs typeface="Trebuchet MS"/>
                <a:sym typeface="Trebuchet MS"/>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Trebuchet MS"/>
                <a:ea typeface="Trebuchet MS"/>
                <a:cs typeface="Trebuchet MS"/>
                <a:sym typeface="Trebuchet MS"/>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Trebuchet MS"/>
                <a:ea typeface="Trebuchet MS"/>
                <a:cs typeface="Trebuchet MS"/>
                <a:sym typeface="Trebuchet MS"/>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Trebuchet MS"/>
                <a:ea typeface="Trebuchet MS"/>
                <a:cs typeface="Trebuchet MS"/>
                <a:sym typeface="Trebuchet MS"/>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Trebuchet MS"/>
                <a:ea typeface="Trebuchet MS"/>
                <a:cs typeface="Trebuchet MS"/>
                <a:sym typeface="Trebuchet MS"/>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Trebuchet MS"/>
                <a:ea typeface="Trebuchet MS"/>
                <a:cs typeface="Trebuchet MS"/>
                <a:sym typeface="Trebuchet MS"/>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Trebuchet MS"/>
                <a:ea typeface="Trebuchet MS"/>
                <a:cs typeface="Trebuchet MS"/>
                <a:sym typeface="Trebuchet MS"/>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Trebuchet MS"/>
                <a:ea typeface="Trebuchet MS"/>
                <a:cs typeface="Trebuchet MS"/>
                <a:sym typeface="Trebuchet MS"/>
              </a:defRPr>
            </a:lvl9pPr>
          </a:lstStyle>
          <a:p>
            <a:fld id="{DDF71BC8-773F-4A54-968E-450E29C75AD4}" type="slidenum">
              <a:rPr lang="en-GB" smtClean="0"/>
              <a:pPr/>
              <a:t>‹#›</a:t>
            </a:fld>
            <a:endParaRPr lang="en-GB"/>
          </a:p>
        </p:txBody>
      </p:sp>
    </p:spTree>
    <p:extLst>
      <p:ext uri="{BB962C8B-B14F-4D97-AF65-F5344CB8AC3E}">
        <p14:creationId xmlns:p14="http://schemas.microsoft.com/office/powerpoint/2010/main" val="390096146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dt="0"/>
  <p:extLst>
    <p:ext uri="{DCECCB84-F9BA-43D5-87BE-67443E8EF086}">
      <p15:sldGuideLst xmlns:p15="http://schemas.microsoft.com/office/powerpoint/2012/main">
        <p15:guide id="1" orient="horz" pos="432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cSld name="1_Comparison">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188AF8EE-35AC-49E3-9930-1BDCACEFD4B1}"/>
              </a:ext>
            </a:extLst>
          </p:cNvPr>
          <p:cNvGraphicFramePr>
            <a:graphicFrameLocks noChangeAspect="1"/>
          </p:cNvGraphicFramePr>
          <p:nvPr>
            <p:custDataLst>
              <p:tags r:id="rId1"/>
            </p:custDataLst>
            <p:extLst>
              <p:ext uri="{D42A27DB-BD31-4B8C-83A1-F6EECF244321}">
                <p14:modId xmlns:p14="http://schemas.microsoft.com/office/powerpoint/2010/main" val="14770162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11" name="Object 10" hidden="1">
                        <a:extLst>
                          <a:ext uri="{FF2B5EF4-FFF2-40B4-BE49-F238E27FC236}">
                            <a16:creationId xmlns:a16="http://schemas.microsoft.com/office/drawing/2014/main" id="{188AF8EE-35AC-49E3-9930-1BDCACEFD4B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8B4B1AF4-DDE1-4321-AD46-F0E1D9240B1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4400" b="0" i="0" baseline="0">
              <a:latin typeface="Museo Sans 100"/>
              <a:ea typeface="+mj-ea"/>
              <a:cs typeface="+mj-cs"/>
              <a:sym typeface="Museo Sans 100"/>
            </a:endParaRPr>
          </a:p>
        </p:txBody>
      </p:sp>
      <p:sp>
        <p:nvSpPr>
          <p:cNvPr id="3" name="Text Placeholder 2">
            <a:extLst>
              <a:ext uri="{FF2B5EF4-FFF2-40B4-BE49-F238E27FC236}">
                <a16:creationId xmlns:a16="http://schemas.microsoft.com/office/drawing/2014/main" id="{9E03F3A1-CCD7-4F8F-9CB5-0C0C93A2BAED}"/>
              </a:ext>
            </a:extLst>
          </p:cNvPr>
          <p:cNvSpPr>
            <a:spLocks noGrp="1"/>
          </p:cNvSpPr>
          <p:nvPr>
            <p:ph type="body" idx="1"/>
          </p:nvPr>
        </p:nvSpPr>
        <p:spPr>
          <a:xfrm>
            <a:off x="179388" y="1247776"/>
            <a:ext cx="5824537" cy="587975"/>
          </a:xfrm>
        </p:spPr>
        <p:txBody>
          <a:bodyPr lIns="0" tIns="0" rIns="0" bIns="0" anchor="b"/>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4" name="Content Placeholder 3">
            <a:extLst>
              <a:ext uri="{FF2B5EF4-FFF2-40B4-BE49-F238E27FC236}">
                <a16:creationId xmlns:a16="http://schemas.microsoft.com/office/drawing/2014/main" id="{6F7156F0-9E20-4DB3-A7D9-421A0EEF76D6}"/>
              </a:ext>
            </a:extLst>
          </p:cNvPr>
          <p:cNvSpPr>
            <a:spLocks noGrp="1"/>
          </p:cNvSpPr>
          <p:nvPr>
            <p:ph sz="half" idx="2"/>
          </p:nvPr>
        </p:nvSpPr>
        <p:spPr>
          <a:xfrm>
            <a:off x="179388" y="2014538"/>
            <a:ext cx="5824537" cy="3924299"/>
          </a:xfrm>
        </p:spPr>
        <p:txBody>
          <a:bodyPr lIns="0" tIns="0" rIns="0" bIns="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4">
            <a:extLst>
              <a:ext uri="{FF2B5EF4-FFF2-40B4-BE49-F238E27FC236}">
                <a16:creationId xmlns:a16="http://schemas.microsoft.com/office/drawing/2014/main" id="{6FCA77FD-9ACC-49B7-B506-B3E7BD7EDC92}"/>
              </a:ext>
            </a:extLst>
          </p:cNvPr>
          <p:cNvSpPr>
            <a:spLocks noGrp="1"/>
          </p:cNvSpPr>
          <p:nvPr>
            <p:ph type="body" sz="quarter" idx="3"/>
          </p:nvPr>
        </p:nvSpPr>
        <p:spPr>
          <a:xfrm>
            <a:off x="6186488" y="1247778"/>
            <a:ext cx="5824538" cy="587974"/>
          </a:xfrm>
        </p:spPr>
        <p:txBody>
          <a:bodyPr lIns="0" tIns="0" rIns="0" bIns="0" anchor="b"/>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6" name="Content Placeholder 5">
            <a:extLst>
              <a:ext uri="{FF2B5EF4-FFF2-40B4-BE49-F238E27FC236}">
                <a16:creationId xmlns:a16="http://schemas.microsoft.com/office/drawing/2014/main" id="{B2AB2582-7062-4BC6-9D19-F0253BC1B6A2}"/>
              </a:ext>
            </a:extLst>
          </p:cNvPr>
          <p:cNvSpPr>
            <a:spLocks noGrp="1"/>
          </p:cNvSpPr>
          <p:nvPr>
            <p:ph sz="quarter" idx="4"/>
          </p:nvPr>
        </p:nvSpPr>
        <p:spPr>
          <a:xfrm>
            <a:off x="6186488" y="2014538"/>
            <a:ext cx="5824537" cy="3924299"/>
          </a:xfrm>
        </p:spPr>
        <p:txBody>
          <a:bodyPr lIns="0" tIns="0" rIns="0" bIns="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Footer Placeholder 7">
            <a:extLst>
              <a:ext uri="{FF2B5EF4-FFF2-40B4-BE49-F238E27FC236}">
                <a16:creationId xmlns:a16="http://schemas.microsoft.com/office/drawing/2014/main" id="{ADD1A065-0196-4A19-BA11-27E97201D271}"/>
              </a:ext>
            </a:extLst>
          </p:cNvPr>
          <p:cNvSpPr>
            <a:spLocks noGrp="1"/>
          </p:cNvSpPr>
          <p:nvPr>
            <p:ph type="ftr" sz="quarter" idx="11"/>
          </p:nvPr>
        </p:nvSpPr>
        <p:spPr/>
        <p:txBody>
          <a:bodyPr lIns="0" tIns="0" rIns="0" bIns="0"/>
          <a:lstStyle/>
          <a:p>
            <a:endParaRPr lang="en-GB"/>
          </a:p>
        </p:txBody>
      </p:sp>
      <p:sp>
        <p:nvSpPr>
          <p:cNvPr id="9" name="Slide Number Placeholder 8">
            <a:extLst>
              <a:ext uri="{FF2B5EF4-FFF2-40B4-BE49-F238E27FC236}">
                <a16:creationId xmlns:a16="http://schemas.microsoft.com/office/drawing/2014/main" id="{B599CBCB-3A71-49DF-A2FE-693C98D8DFA8}"/>
              </a:ext>
            </a:extLst>
          </p:cNvPr>
          <p:cNvSpPr>
            <a:spLocks noGrp="1"/>
          </p:cNvSpPr>
          <p:nvPr>
            <p:ph type="sldNum" sz="quarter" idx="12"/>
          </p:nvPr>
        </p:nvSpPr>
        <p:spPr/>
        <p:txBody>
          <a:bodyPr lIns="0" tIns="0" rIns="0" bIns="0"/>
          <a:lstStyle/>
          <a:p>
            <a:fld id="{DDF71BC8-773F-4A54-968E-450E29C75AD4}" type="slidenum">
              <a:rPr lang="en-GB" smtClean="0"/>
              <a:pPr/>
              <a:t>‹#›</a:t>
            </a:fld>
            <a:endParaRPr lang="en-GB"/>
          </a:p>
        </p:txBody>
      </p:sp>
      <p:sp>
        <p:nvSpPr>
          <p:cNvPr id="12" name="Title 1">
            <a:extLst>
              <a:ext uri="{FF2B5EF4-FFF2-40B4-BE49-F238E27FC236}">
                <a16:creationId xmlns:a16="http://schemas.microsoft.com/office/drawing/2014/main" id="{167CD425-3196-4337-88AA-2CB208963CA6}"/>
              </a:ext>
            </a:extLst>
          </p:cNvPr>
          <p:cNvSpPr>
            <a:spLocks noGrp="1"/>
          </p:cNvSpPr>
          <p:nvPr>
            <p:ph type="title" hasCustomPrompt="1"/>
          </p:nvPr>
        </p:nvSpPr>
        <p:spPr>
          <a:xfrm>
            <a:off x="179388" y="179388"/>
            <a:ext cx="11831637" cy="709612"/>
          </a:xfrm>
        </p:spPr>
        <p:txBody>
          <a:bodyPr lIns="0" tIns="0" rIns="0" bIns="0"/>
          <a:lstStyle>
            <a:lvl1pPr>
              <a:defRPr cap="none"/>
            </a:lvl1pPr>
          </a:lstStyle>
          <a:p>
            <a:r>
              <a:rPr lang="en-US" noProof="0"/>
              <a:t>Click to edit master title style</a:t>
            </a:r>
          </a:p>
        </p:txBody>
      </p:sp>
    </p:spTree>
    <p:extLst>
      <p:ext uri="{BB962C8B-B14F-4D97-AF65-F5344CB8AC3E}">
        <p14:creationId xmlns:p14="http://schemas.microsoft.com/office/powerpoint/2010/main" val="2839088323"/>
      </p:ext>
    </p:extLst>
  </p:cSld>
  <p:clrMapOvr>
    <a:masterClrMapping/>
  </p:clrMapOvr>
  <p:hf hdr="0" dt="0"/>
  <p:extLst>
    <p:ext uri="{DCECCB84-F9BA-43D5-87BE-67443E8EF086}">
      <p15:sldGuideLst xmlns:p15="http://schemas.microsoft.com/office/powerpoint/2012/main">
        <p15:guide id="2" orient="horz" pos="786">
          <p15:clr>
            <a:srgbClr val="FBAE40"/>
          </p15:clr>
        </p15:guide>
        <p15:guide id="3" orient="horz" pos="113">
          <p15:clr>
            <a:srgbClr val="FBAE40"/>
          </p15:clr>
        </p15:guide>
        <p15:guide id="5" pos="3783">
          <p15:clr>
            <a:srgbClr val="FBAE40"/>
          </p15:clr>
        </p15:guide>
        <p15:guide id="6" pos="3897">
          <p15:clr>
            <a:srgbClr val="FBAE40"/>
          </p15:clr>
        </p15:guide>
        <p15:guide id="9" orient="horz" pos="1269">
          <p15:clr>
            <a:srgbClr val="FBAE40"/>
          </p15:clr>
        </p15:guide>
        <p15:guide id="10" orient="horz" pos="3741">
          <p15:clr>
            <a:srgbClr val="FBAE40"/>
          </p15:clr>
        </p15:guide>
        <p15:guide id="11" orient="horz" pos="1155">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p:custDataLst>
              <p:tags r:id="rId1"/>
            </p:custDataLst>
            <p:extLst>
              <p:ext uri="{D42A27DB-BD31-4B8C-83A1-F6EECF244321}">
                <p14:modId xmlns:p14="http://schemas.microsoft.com/office/powerpoint/2010/main" val="7604048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6" y="982728"/>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b="0" baseline="0" dirty="0"/>
            </a:lvl1pPr>
          </a:lstStyle>
          <a:p>
            <a:pPr lvl="0">
              <a:buNone/>
            </a:pPr>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p:custDataLst>
              <p:tags r:id="rId5"/>
            </p:custDataLst>
          </p:nvPr>
        </p:nvSpPr>
        <p:spPr>
          <a:xfrm>
            <a:off x="554734" y="6501669"/>
            <a:ext cx="96012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cs typeface="+mn-cs"/>
              </a:defRPr>
            </a:lvl1pPr>
          </a:lstStyle>
          <a:p>
            <a:pPr lvl="0">
              <a:buNone/>
            </a:pPr>
            <a:r>
              <a:rPr lang="en-US"/>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7"/>
            </p:custDataLst>
          </p:nvPr>
        </p:nvSpPr>
        <p:spPr>
          <a:xfrm>
            <a:off x="554736" y="556932"/>
            <a:ext cx="11082528" cy="384721"/>
          </a:xfrm>
          <a:prstGeom prst="rect">
            <a:avLst/>
          </a:prstGeom>
        </p:spPr>
        <p:txBody>
          <a:bodyPr vert="horz" wrap="square" lIns="0" tIns="0" rIns="0" bIns="0" rtlCol="0" anchor="b" anchorCtr="0">
            <a:spAutoFit/>
          </a:bodyPr>
          <a:lstStyle>
            <a:lvl1pPr>
              <a:defRPr lang="en-US" dirty="0"/>
            </a:lvl1pPr>
          </a:lstStyle>
          <a:p>
            <a:pPr lvl="0"/>
            <a:r>
              <a:rPr lang="en-US"/>
              <a:t>Click to edit Master title style</a:t>
            </a:r>
          </a:p>
        </p:txBody>
      </p:sp>
    </p:spTree>
    <p:extLst>
      <p:ext uri="{BB962C8B-B14F-4D97-AF65-F5344CB8AC3E}">
        <p14:creationId xmlns:p14="http://schemas.microsoft.com/office/powerpoint/2010/main" val="1827242801"/>
      </p:ext>
    </p:extLst>
  </p:cSld>
  <p:clrMapOvr>
    <a:masterClrMapping/>
  </p:clrMapOvr>
  <p:hf hdr="0" dt="0"/>
</p:sldLayout>
</file>

<file path=ppt/slideLayouts/slideLayout35.xml><?xml version="1.0" encoding="utf-8"?>
<p:sldLayout xmlns:a="http://schemas.openxmlformats.org/drawingml/2006/main" xmlns:r="http://schemas.openxmlformats.org/officeDocument/2006/relationships" xmlns:p="http://schemas.openxmlformats.org/presentationml/2006/main">
  <p:cSld name="2_Title, Sub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37446B0-FAC0-8D4E-A7A9-B700E664D33F}"/>
              </a:ext>
            </a:extLst>
          </p:cNvPr>
          <p:cNvSpPr>
            <a:spLocks noGrp="1"/>
          </p:cNvSpPr>
          <p:nvPr>
            <p:ph idx="1" hasCustomPrompt="1"/>
          </p:nvPr>
        </p:nvSpPr>
        <p:spPr>
          <a:xfrm>
            <a:off x="343128" y="1492369"/>
            <a:ext cx="11505744" cy="4684593"/>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8">
            <a:extLst>
              <a:ext uri="{FF2B5EF4-FFF2-40B4-BE49-F238E27FC236}">
                <a16:creationId xmlns:a16="http://schemas.microsoft.com/office/drawing/2014/main" id="{83BE5C55-354B-4877-A07B-FC28C75B3AC1}"/>
              </a:ext>
            </a:extLst>
          </p:cNvPr>
          <p:cNvSpPr>
            <a:spLocks noGrp="1"/>
          </p:cNvSpPr>
          <p:nvPr>
            <p:ph type="body" sz="quarter" idx="13" hasCustomPrompt="1"/>
          </p:nvPr>
        </p:nvSpPr>
        <p:spPr>
          <a:xfrm>
            <a:off x="343126" y="929618"/>
            <a:ext cx="11505745" cy="390215"/>
          </a:xfrm>
        </p:spPr>
        <p:txBody>
          <a:bodyPr>
            <a:noAutofit/>
          </a:bodyPr>
          <a:lstStyle>
            <a:lvl1pPr marL="0" indent="0" algn="ctr">
              <a:buNone/>
              <a:defRPr sz="1600">
                <a:solidFill>
                  <a:schemeClr val="tx1"/>
                </a:solidFill>
              </a:defRPr>
            </a:lvl1pPr>
          </a:lstStyle>
          <a:p>
            <a:pPr lvl="0"/>
            <a:r>
              <a:rPr lang="en-US"/>
              <a:t>Subtitle text goes here</a:t>
            </a:r>
          </a:p>
        </p:txBody>
      </p:sp>
      <p:sp>
        <p:nvSpPr>
          <p:cNvPr id="10" name="Title Placeholder 1">
            <a:extLst>
              <a:ext uri="{FF2B5EF4-FFF2-40B4-BE49-F238E27FC236}">
                <a16:creationId xmlns:a16="http://schemas.microsoft.com/office/drawing/2014/main" id="{CBB3F3F8-2CDC-4FCB-A85F-6AE84FE2CF82}"/>
              </a:ext>
            </a:extLst>
          </p:cNvPr>
          <p:cNvSpPr>
            <a:spLocks noGrp="1"/>
          </p:cNvSpPr>
          <p:nvPr>
            <p:ph type="title" hasCustomPrompt="1"/>
          </p:nvPr>
        </p:nvSpPr>
        <p:spPr>
          <a:xfrm>
            <a:off x="343127" y="389335"/>
            <a:ext cx="11505745" cy="540283"/>
          </a:xfrm>
          <a:prstGeom prst="rect">
            <a:avLst/>
          </a:prstGeom>
        </p:spPr>
        <p:txBody>
          <a:bodyPr vert="horz" lIns="91440" tIns="45720" rIns="91440" bIns="45720" rtlCol="0" anchor="t">
            <a:noAutofit/>
          </a:bodyPr>
          <a:lstStyle/>
          <a:p>
            <a:r>
              <a:rPr lang="en-US"/>
              <a:t>CLICK TO EDIT MASTER TITLE STYLE</a:t>
            </a:r>
          </a:p>
        </p:txBody>
      </p:sp>
      <p:sp>
        <p:nvSpPr>
          <p:cNvPr id="8" name="Slide Number Placeholder 6">
            <a:extLst>
              <a:ext uri="{FF2B5EF4-FFF2-40B4-BE49-F238E27FC236}">
                <a16:creationId xmlns:a16="http://schemas.microsoft.com/office/drawing/2014/main" id="{D7B5CF24-1B1A-43B3-8366-B2894126F8B5}"/>
              </a:ext>
            </a:extLst>
          </p:cNvPr>
          <p:cNvSpPr>
            <a:spLocks noGrp="1"/>
          </p:cNvSpPr>
          <p:nvPr>
            <p:ph type="sldNum" sz="quarter" idx="4"/>
          </p:nvPr>
        </p:nvSpPr>
        <p:spPr>
          <a:xfrm>
            <a:off x="9105674" y="6356350"/>
            <a:ext cx="2743200" cy="365125"/>
          </a:xfrm>
          <a:prstGeom prst="rect">
            <a:avLst/>
          </a:prstGeom>
        </p:spPr>
        <p:txBody>
          <a:bodyPr vert="horz" lIns="91440" tIns="45720" rIns="91440" bIns="45720" rtlCol="0" anchor="ctr"/>
          <a:lstStyle>
            <a:lvl1pPr algn="r">
              <a:defRPr sz="1050">
                <a:solidFill>
                  <a:schemeClr val="accent3"/>
                </a:solidFill>
              </a:defRPr>
            </a:lvl1pPr>
          </a:lstStyle>
          <a:p>
            <a:fld id="{DDF71BC8-773F-4A54-968E-450E29C75AD4}" type="slidenum">
              <a:rPr lang="en-GB" smtClean="0"/>
              <a:pPr/>
              <a:t>‹#›</a:t>
            </a:fld>
            <a:endParaRPr lang="en-GB"/>
          </a:p>
        </p:txBody>
      </p:sp>
    </p:spTree>
    <p:extLst>
      <p:ext uri="{BB962C8B-B14F-4D97-AF65-F5344CB8AC3E}">
        <p14:creationId xmlns:p14="http://schemas.microsoft.com/office/powerpoint/2010/main" val="4264490369"/>
      </p:ext>
    </p:extLst>
  </p:cSld>
  <p:clrMapOvr>
    <a:masterClrMapping/>
  </p:clrMapOvr>
  <p:hf hdr="0" dt="0"/>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lide_On Slide Titl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1781A4-F0E8-92C0-D61B-A2C0A6136002}"/>
              </a:ext>
            </a:extLst>
          </p:cNvPr>
          <p:cNvSpPr>
            <a:spLocks noGrp="1"/>
          </p:cNvSpPr>
          <p:nvPr>
            <p:ph type="ctrTitle"/>
          </p:nvPr>
        </p:nvSpPr>
        <p:spPr>
          <a:xfrm>
            <a:off x="890430" y="1208854"/>
            <a:ext cx="8140581" cy="2387600"/>
          </a:xfrm>
        </p:spPr>
        <p:txBody>
          <a:bodyPr anchor="t">
            <a:normAutofit/>
          </a:bodyPr>
          <a:lstStyle>
            <a:lvl1pPr algn="l">
              <a:defRPr sz="6000">
                <a:solidFill>
                  <a:schemeClr val="bg1"/>
                </a:solidFill>
              </a:defRPr>
            </a:lvl1pPr>
          </a:lstStyle>
          <a:p>
            <a:r>
              <a:rPr lang="en-US"/>
              <a:t>Click to edit Master title style</a:t>
            </a:r>
            <a:endParaRPr lang="en-GB"/>
          </a:p>
        </p:txBody>
      </p:sp>
      <p:sp>
        <p:nvSpPr>
          <p:cNvPr id="4" name="Rectangle 3">
            <a:extLst>
              <a:ext uri="{FF2B5EF4-FFF2-40B4-BE49-F238E27FC236}">
                <a16:creationId xmlns:a16="http://schemas.microsoft.com/office/drawing/2014/main" id="{AC121084-1B93-C153-F4DE-2C384011BA5D}"/>
              </a:ext>
            </a:extLst>
          </p:cNvPr>
          <p:cNvSpPr/>
          <p:nvPr userDrawn="1"/>
        </p:nvSpPr>
        <p:spPr>
          <a:xfrm>
            <a:off x="890430" y="510885"/>
            <a:ext cx="1312012" cy="45719"/>
          </a:xfrm>
          <a:prstGeom prst="rect">
            <a:avLst/>
          </a:prstGeom>
          <a:solidFill>
            <a:schemeClr val="accent2">
              <a:lumMod val="100000"/>
            </a:schemeClr>
          </a:solidFill>
          <a:ln w="12700" cap="flat" cmpd="sng" algn="ctr">
            <a:solidFill>
              <a:schemeClr val="accent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6" name="Text Placeholder 5">
            <a:extLst>
              <a:ext uri="{FF2B5EF4-FFF2-40B4-BE49-F238E27FC236}">
                <a16:creationId xmlns:a16="http://schemas.microsoft.com/office/drawing/2014/main" id="{0E6E6667-58FF-4166-F3FB-8005127F4ECF}"/>
              </a:ext>
            </a:extLst>
          </p:cNvPr>
          <p:cNvSpPr>
            <a:spLocks noGrp="1"/>
          </p:cNvSpPr>
          <p:nvPr>
            <p:ph type="body" sz="quarter" idx="10" hasCustomPrompt="1"/>
          </p:nvPr>
        </p:nvSpPr>
        <p:spPr>
          <a:xfrm>
            <a:off x="890431" y="3972973"/>
            <a:ext cx="8140580" cy="914400"/>
          </a:xfrm>
        </p:spPr>
        <p:txBody>
          <a:bodyPr>
            <a:noAutofit/>
          </a:bodyPr>
          <a:lstStyle>
            <a:lvl1pPr marL="0" indent="0">
              <a:buNone/>
              <a:defRPr sz="2000">
                <a:solidFill>
                  <a:schemeClr val="bg1"/>
                </a:solidFill>
              </a:defRPr>
            </a:lvl1pPr>
            <a:lvl2pPr marL="274320" indent="0">
              <a:buNone/>
              <a:defRPr sz="2000">
                <a:solidFill>
                  <a:schemeClr val="bg1"/>
                </a:solidFill>
              </a:defRPr>
            </a:lvl2pPr>
            <a:lvl3pPr marL="411480" indent="0">
              <a:buNone/>
              <a:defRPr sz="2000">
                <a:solidFill>
                  <a:schemeClr val="bg1"/>
                </a:solidFill>
              </a:defRPr>
            </a:lvl3pPr>
            <a:lvl4pPr marL="548640" indent="0">
              <a:buNone/>
              <a:defRPr sz="2000">
                <a:solidFill>
                  <a:schemeClr val="bg1"/>
                </a:solidFill>
              </a:defRPr>
            </a:lvl4pPr>
            <a:lvl5pPr marL="731520" indent="0">
              <a:buNone/>
              <a:defRPr sz="2000">
                <a:solidFill>
                  <a:schemeClr val="bg1"/>
                </a:solidFill>
              </a:defRPr>
            </a:lvl5pPr>
          </a:lstStyle>
          <a:p>
            <a:pPr lvl="0"/>
            <a:r>
              <a:rPr lang="en-US"/>
              <a:t>Click to edit Master subtitle style</a:t>
            </a:r>
          </a:p>
        </p:txBody>
      </p:sp>
      <p:pic>
        <p:nvPicPr>
          <p:cNvPr id="8" name="Picture 7" descr="A close up of a logo&#10;&#10;Description automatically generated">
            <a:extLst>
              <a:ext uri="{FF2B5EF4-FFF2-40B4-BE49-F238E27FC236}">
                <a16:creationId xmlns:a16="http://schemas.microsoft.com/office/drawing/2014/main" id="{E834E8CC-34CC-FF28-6ADE-FF00C5BC4BF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21654" r="7536" b="21822"/>
          <a:stretch/>
        </p:blipFill>
        <p:spPr>
          <a:xfrm>
            <a:off x="10695878" y="6305447"/>
            <a:ext cx="1384998" cy="409678"/>
          </a:xfrm>
          <a:prstGeom prst="rect">
            <a:avLst/>
          </a:prstGeom>
        </p:spPr>
      </p:pic>
    </p:spTree>
    <p:extLst>
      <p:ext uri="{BB962C8B-B14F-4D97-AF65-F5344CB8AC3E}">
        <p14:creationId xmlns:p14="http://schemas.microsoft.com/office/powerpoint/2010/main" val="4014412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itle Slide (Pictur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9986D543-29D3-C7ED-26F4-3E66206F4312}"/>
              </a:ext>
            </a:extLst>
          </p:cNvPr>
          <p:cNvSpPr>
            <a:spLocks noGrp="1"/>
          </p:cNvSpPr>
          <p:nvPr>
            <p:ph type="pic" sz="quarter" idx="10"/>
          </p:nvPr>
        </p:nvSpPr>
        <p:spPr>
          <a:xfrm>
            <a:off x="0" y="0"/>
            <a:ext cx="12192000" cy="6858000"/>
          </a:xfrm>
        </p:spPr>
        <p:txBody>
          <a:bodyPr anchor="ctr"/>
          <a:lstStyle>
            <a:lvl1pPr marL="0" indent="0" algn="ctr">
              <a:buNone/>
              <a:defRPr/>
            </a:lvl1p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CLICK TO SELECT PLACEHOLDER - INSERT PICTURE FROM THE TEMPLAFY LIBRARY</a:t>
            </a:r>
          </a:p>
        </p:txBody>
      </p:sp>
      <p:sp>
        <p:nvSpPr>
          <p:cNvPr id="2" name="Title 1">
            <a:extLst>
              <a:ext uri="{FF2B5EF4-FFF2-40B4-BE49-F238E27FC236}">
                <a16:creationId xmlns:a16="http://schemas.microsoft.com/office/drawing/2014/main" id="{1C1781A4-F0E8-92C0-D61B-A2C0A6136002}"/>
              </a:ext>
            </a:extLst>
          </p:cNvPr>
          <p:cNvSpPr>
            <a:spLocks noGrp="1"/>
          </p:cNvSpPr>
          <p:nvPr>
            <p:ph type="ctrTitle"/>
          </p:nvPr>
        </p:nvSpPr>
        <p:spPr>
          <a:xfrm>
            <a:off x="885669" y="1689099"/>
            <a:ext cx="6766560" cy="2387600"/>
          </a:xfrm>
        </p:spPr>
        <p:txBody>
          <a:bodyPr anchor="t">
            <a:noAutofit/>
          </a:bodyPr>
          <a:lstStyle>
            <a:lvl1pPr algn="l">
              <a:defRPr sz="6000">
                <a:solidFill>
                  <a:schemeClr val="bg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F06310A5-31F4-F6C5-B868-BDFCDD622F9D}"/>
              </a:ext>
            </a:extLst>
          </p:cNvPr>
          <p:cNvSpPr>
            <a:spLocks noGrp="1"/>
          </p:cNvSpPr>
          <p:nvPr>
            <p:ph type="subTitle" idx="1"/>
          </p:nvPr>
        </p:nvSpPr>
        <p:spPr>
          <a:xfrm>
            <a:off x="885669" y="1069975"/>
            <a:ext cx="6766560" cy="347472"/>
          </a:xfrm>
        </p:spPr>
        <p:txBody>
          <a:bodyPr anchor="b">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71095964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itle Slide (Picture) On Slide Titl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9986D543-29D3-C7ED-26F4-3E66206F4312}"/>
              </a:ext>
            </a:extLst>
          </p:cNvPr>
          <p:cNvSpPr>
            <a:spLocks noGrp="1"/>
          </p:cNvSpPr>
          <p:nvPr>
            <p:ph type="pic" sz="quarter" idx="10"/>
          </p:nvPr>
        </p:nvSpPr>
        <p:spPr>
          <a:xfrm>
            <a:off x="0" y="0"/>
            <a:ext cx="12192000" cy="6858000"/>
          </a:xfrm>
        </p:spPr>
        <p:txBody>
          <a:bodyPr anchor="ctr"/>
          <a:lstStyle>
            <a:lvl1pPr marL="0" indent="0" algn="ctr">
              <a:buNone/>
              <a:defRPr/>
            </a:lvl1p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CLICK TO SELECT PLACEHOLDER - INSERT PICTURE FROM THE TEMPLAFY LIBRARY</a:t>
            </a:r>
          </a:p>
        </p:txBody>
      </p:sp>
      <p:sp>
        <p:nvSpPr>
          <p:cNvPr id="3" name="Subtitle 2">
            <a:extLst>
              <a:ext uri="{FF2B5EF4-FFF2-40B4-BE49-F238E27FC236}">
                <a16:creationId xmlns:a16="http://schemas.microsoft.com/office/drawing/2014/main" id="{F06310A5-31F4-F6C5-B868-BDFCDD622F9D}"/>
              </a:ext>
            </a:extLst>
          </p:cNvPr>
          <p:cNvSpPr>
            <a:spLocks noGrp="1"/>
          </p:cNvSpPr>
          <p:nvPr>
            <p:ph type="subTitle" idx="1"/>
          </p:nvPr>
        </p:nvSpPr>
        <p:spPr>
          <a:xfrm>
            <a:off x="885669" y="1069975"/>
            <a:ext cx="6766560" cy="347472"/>
          </a:xfrm>
        </p:spPr>
        <p:txBody>
          <a:bodyPr anchor="b">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168429941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1781A4-F0E8-92C0-D61B-A2C0A6136002}"/>
              </a:ext>
            </a:extLst>
          </p:cNvPr>
          <p:cNvSpPr>
            <a:spLocks noGrp="1"/>
          </p:cNvSpPr>
          <p:nvPr>
            <p:ph type="ctrTitle"/>
          </p:nvPr>
        </p:nvSpPr>
        <p:spPr>
          <a:xfrm>
            <a:off x="885669" y="1689099"/>
            <a:ext cx="6766560" cy="2387600"/>
          </a:xfrm>
        </p:spPr>
        <p:txBody>
          <a:bodyPr anchor="t">
            <a:noAutofit/>
          </a:bodyPr>
          <a:lstStyle>
            <a:lvl1pPr algn="l">
              <a:defRPr sz="6000">
                <a:solidFill>
                  <a:schemeClr val="tx2"/>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F06310A5-31F4-F6C5-B868-BDFCDD622F9D}"/>
              </a:ext>
            </a:extLst>
          </p:cNvPr>
          <p:cNvSpPr>
            <a:spLocks noGrp="1"/>
          </p:cNvSpPr>
          <p:nvPr>
            <p:ph type="subTitle" idx="1"/>
          </p:nvPr>
        </p:nvSpPr>
        <p:spPr>
          <a:xfrm>
            <a:off x="885669" y="1069975"/>
            <a:ext cx="6766560" cy="347472"/>
          </a:xfrm>
        </p:spPr>
        <p:txBody>
          <a:bodyPr anchor="b">
            <a:normAutofit/>
          </a:bodyPr>
          <a:lstStyle>
            <a:lvl1pPr marL="0" indent="0" algn="l">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6" name="Rectangle 5">
            <a:extLst>
              <a:ext uri="{FF2B5EF4-FFF2-40B4-BE49-F238E27FC236}">
                <a16:creationId xmlns:a16="http://schemas.microsoft.com/office/drawing/2014/main" id="{42798214-B7F0-12C7-6225-4ED36684A252}"/>
              </a:ext>
            </a:extLst>
          </p:cNvPr>
          <p:cNvSpPr/>
          <p:nvPr userDrawn="1"/>
        </p:nvSpPr>
        <p:spPr>
          <a:xfrm>
            <a:off x="890430" y="510885"/>
            <a:ext cx="1312012" cy="45719"/>
          </a:xfrm>
          <a:prstGeom prst="rect">
            <a:avLst/>
          </a:prstGeom>
          <a:solidFill>
            <a:schemeClr val="accent2">
              <a:lumMod val="100000"/>
            </a:schemeClr>
          </a:solidFill>
          <a:ln w="12700" cap="flat" cmpd="sng" algn="ctr">
            <a:solidFill>
              <a:schemeClr val="accent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9" name="Slide Number Placeholder 10">
            <a:extLst>
              <a:ext uri="{FF2B5EF4-FFF2-40B4-BE49-F238E27FC236}">
                <a16:creationId xmlns:a16="http://schemas.microsoft.com/office/drawing/2014/main" id="{FA450C41-5A0D-354F-FB25-A8DFE0D2B2D8}"/>
              </a:ext>
            </a:extLst>
          </p:cNvPr>
          <p:cNvSpPr>
            <a:spLocks noGrp="1"/>
          </p:cNvSpPr>
          <p:nvPr>
            <p:ph type="sldNum" sz="quarter" idx="4"/>
          </p:nvPr>
        </p:nvSpPr>
        <p:spPr>
          <a:xfrm>
            <a:off x="179386" y="6318250"/>
            <a:ext cx="366714" cy="365125"/>
          </a:xfrm>
          <a:prstGeom prst="rect">
            <a:avLst/>
          </a:prstGeom>
        </p:spPr>
        <p:txBody>
          <a:bodyPr vert="horz" lIns="0" tIns="0" rIns="0" bIns="0" rtlCol="0" anchor="b"/>
          <a:lstStyle>
            <a:lvl1pPr algn="l">
              <a:defRPr sz="900">
                <a:solidFill>
                  <a:schemeClr val="bg1">
                    <a:lumMod val="50000"/>
                  </a:schemeClr>
                </a:solidFill>
              </a:defRPr>
            </a:lvl1pPr>
          </a:lstStyle>
          <a:p>
            <a:fld id="{DDF71BC8-773F-4A54-968E-450E29C75AD4}" type="slidenum">
              <a:rPr lang="en-GB" smtClean="0"/>
              <a:pPr/>
              <a:t>‹#›</a:t>
            </a:fld>
            <a:endParaRPr lang="en-GB"/>
          </a:p>
        </p:txBody>
      </p:sp>
      <p:sp>
        <p:nvSpPr>
          <p:cNvPr id="10" name="Footer Placeholder 9">
            <a:extLst>
              <a:ext uri="{FF2B5EF4-FFF2-40B4-BE49-F238E27FC236}">
                <a16:creationId xmlns:a16="http://schemas.microsoft.com/office/drawing/2014/main" id="{B3FED4B5-44A0-8CAA-136C-A20D622AD07A}"/>
              </a:ext>
            </a:extLst>
          </p:cNvPr>
          <p:cNvSpPr>
            <a:spLocks noGrp="1"/>
          </p:cNvSpPr>
          <p:nvPr>
            <p:ph type="ftr" sz="quarter" idx="10"/>
          </p:nvPr>
        </p:nvSpPr>
        <p:spPr/>
        <p:txBody>
          <a:bodyPr/>
          <a:lstStyle>
            <a:lvl1pPr>
              <a:defRPr sz="900">
                <a:solidFill>
                  <a:schemeClr val="bg1">
                    <a:lumMod val="50000"/>
                  </a:schemeClr>
                </a:solidFill>
              </a:defRPr>
            </a:lvl1pPr>
          </a:lstStyle>
          <a:p>
            <a:endParaRPr lang="en-GB"/>
          </a:p>
        </p:txBody>
      </p:sp>
    </p:spTree>
    <p:extLst>
      <p:ext uri="{BB962C8B-B14F-4D97-AF65-F5344CB8AC3E}">
        <p14:creationId xmlns:p14="http://schemas.microsoft.com/office/powerpoint/2010/main" val="87007991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EDA45B5-5911-4386-81CD-CD96E11547C6}"/>
              </a:ext>
            </a:extLst>
          </p:cNvPr>
          <p:cNvGraphicFramePr>
            <a:graphicFrameLocks noChangeAspect="1"/>
          </p:cNvGraphicFramePr>
          <p:nvPr>
            <p:custDataLst>
              <p:tags r:id="rId1"/>
            </p:custDataLst>
            <p:extLst>
              <p:ext uri="{D42A27DB-BD31-4B8C-83A1-F6EECF244321}">
                <p14:modId xmlns:p14="http://schemas.microsoft.com/office/powerpoint/2010/main" val="5476774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8" name="Object 7" hidden="1">
                        <a:extLst>
                          <a:ext uri="{FF2B5EF4-FFF2-40B4-BE49-F238E27FC236}">
                            <a16:creationId xmlns:a16="http://schemas.microsoft.com/office/drawing/2014/main" id="{0EDA45B5-5911-4386-81CD-CD96E11547C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A31FE4A4-5895-4435-8CFD-72D5594F0E33}"/>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4400" b="0" i="0" baseline="0">
              <a:latin typeface="Verdana" panose="020B0604030504040204" pitchFamily="34" charset="0"/>
              <a:ea typeface="+mj-ea"/>
              <a:cs typeface="+mj-cs"/>
              <a:sym typeface="Museo Sans 100"/>
            </a:endParaRPr>
          </a:p>
        </p:txBody>
      </p:sp>
      <p:sp>
        <p:nvSpPr>
          <p:cNvPr id="3" name="Content Placeholder 2">
            <a:extLst>
              <a:ext uri="{FF2B5EF4-FFF2-40B4-BE49-F238E27FC236}">
                <a16:creationId xmlns:a16="http://schemas.microsoft.com/office/drawing/2014/main" id="{3EF08657-4C6B-414C-8E67-76B6E91427A6}"/>
              </a:ext>
            </a:extLst>
          </p:cNvPr>
          <p:cNvSpPr>
            <a:spLocks noGrp="1"/>
          </p:cNvSpPr>
          <p:nvPr>
            <p:ph idx="1"/>
          </p:nvPr>
        </p:nvSpPr>
        <p:spPr>
          <a:xfrm>
            <a:off x="382384" y="2267339"/>
            <a:ext cx="11438313" cy="3671497"/>
          </a:xfrm>
        </p:spPr>
        <p:txBody>
          <a:bodyPr lIns="72000" tIns="72000" rIns="72000" bIns="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Slide Number Placeholder 5">
            <a:extLst>
              <a:ext uri="{FF2B5EF4-FFF2-40B4-BE49-F238E27FC236}">
                <a16:creationId xmlns:a16="http://schemas.microsoft.com/office/drawing/2014/main" id="{E6F7DE21-2FF0-4DAB-B87A-6AEB184B3024}"/>
              </a:ext>
            </a:extLst>
          </p:cNvPr>
          <p:cNvSpPr>
            <a:spLocks noGrp="1"/>
          </p:cNvSpPr>
          <p:nvPr>
            <p:ph type="sldNum" sz="quarter" idx="12"/>
          </p:nvPr>
        </p:nvSpPr>
        <p:spPr/>
        <p:txBody>
          <a:bodyPr lIns="0" tIns="0" rIns="0" bIns="0"/>
          <a:lstStyle/>
          <a:p>
            <a:fld id="{DDF71BC8-773F-4A54-968E-450E29C75AD4}" type="slidenum">
              <a:rPr lang="en-GB" smtClean="0"/>
              <a:pPr/>
              <a:t>‹#›</a:t>
            </a:fld>
            <a:endParaRPr lang="en-GB"/>
          </a:p>
        </p:txBody>
      </p:sp>
      <p:cxnSp>
        <p:nvCxnSpPr>
          <p:cNvPr id="10" name="Straight Connector 9">
            <a:extLst>
              <a:ext uri="{FF2B5EF4-FFF2-40B4-BE49-F238E27FC236}">
                <a16:creationId xmlns:a16="http://schemas.microsoft.com/office/drawing/2014/main" id="{4E243F5E-8A96-4415-A63C-DE79FA080002}"/>
              </a:ext>
            </a:extLst>
          </p:cNvPr>
          <p:cNvCxnSpPr>
            <a:cxnSpLocks/>
          </p:cNvCxnSpPr>
          <p:nvPr/>
        </p:nvCxnSpPr>
        <p:spPr>
          <a:xfrm>
            <a:off x="382384" y="2050239"/>
            <a:ext cx="11438313" cy="0"/>
          </a:xfrm>
          <a:prstGeom prst="line">
            <a:avLst/>
          </a:prstGeom>
          <a:ln w="12700" cap="flat" cmpd="sng" algn="ctr">
            <a:solidFill>
              <a:schemeClr val="tx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 name="Footer Placeholder 3">
            <a:extLst>
              <a:ext uri="{FF2B5EF4-FFF2-40B4-BE49-F238E27FC236}">
                <a16:creationId xmlns:a16="http://schemas.microsoft.com/office/drawing/2014/main" id="{63D956E4-8C81-475D-AA2E-DABCBC5C6D2F}"/>
              </a:ext>
            </a:extLst>
          </p:cNvPr>
          <p:cNvSpPr>
            <a:spLocks noGrp="1"/>
          </p:cNvSpPr>
          <p:nvPr>
            <p:ph type="ftr" sz="quarter" idx="13"/>
          </p:nvPr>
        </p:nvSpPr>
        <p:spPr>
          <a:xfrm>
            <a:off x="1520890" y="6342890"/>
            <a:ext cx="9675845" cy="374690"/>
          </a:xfrm>
        </p:spPr>
        <p:txBody>
          <a:bodyPr/>
          <a:lstStyle/>
          <a:p>
            <a:endParaRPr lang="en-GB"/>
          </a:p>
        </p:txBody>
      </p:sp>
      <p:sp>
        <p:nvSpPr>
          <p:cNvPr id="12" name="Title 1">
            <a:extLst>
              <a:ext uri="{FF2B5EF4-FFF2-40B4-BE49-F238E27FC236}">
                <a16:creationId xmlns:a16="http://schemas.microsoft.com/office/drawing/2014/main" id="{3C303821-D798-4C23-BE9B-79AE89635880}"/>
              </a:ext>
            </a:extLst>
          </p:cNvPr>
          <p:cNvSpPr>
            <a:spLocks noGrp="1"/>
          </p:cNvSpPr>
          <p:nvPr>
            <p:ph type="title"/>
          </p:nvPr>
        </p:nvSpPr>
        <p:spPr>
          <a:xfrm>
            <a:off x="382384" y="179388"/>
            <a:ext cx="11438313" cy="708715"/>
          </a:xfrm>
        </p:spPr>
        <p:txBody>
          <a:bodyPr vert="horz">
            <a:noAutofit/>
          </a:bodyPr>
          <a:lstStyle/>
          <a:p>
            <a:r>
              <a:rPr lang="en-US"/>
              <a:t>Click to edit Master title style</a:t>
            </a:r>
            <a:endParaRPr lang="en-GB"/>
          </a:p>
        </p:txBody>
      </p:sp>
      <p:sp>
        <p:nvSpPr>
          <p:cNvPr id="19" name="Text Placeholder 18">
            <a:extLst>
              <a:ext uri="{FF2B5EF4-FFF2-40B4-BE49-F238E27FC236}">
                <a16:creationId xmlns:a16="http://schemas.microsoft.com/office/drawing/2014/main" id="{8EE6BF96-7976-424A-B837-25D6A742C0C6}"/>
              </a:ext>
            </a:extLst>
          </p:cNvPr>
          <p:cNvSpPr>
            <a:spLocks noGrp="1"/>
          </p:cNvSpPr>
          <p:nvPr>
            <p:ph type="body" sz="quarter" idx="14" hasCustomPrompt="1"/>
          </p:nvPr>
        </p:nvSpPr>
        <p:spPr>
          <a:xfrm>
            <a:off x="382588" y="1471903"/>
            <a:ext cx="11437937" cy="433387"/>
          </a:xfrm>
        </p:spPr>
        <p:txBody>
          <a:bodyPr anchor="b"/>
          <a:lstStyle>
            <a:lvl1pPr marL="0" indent="0">
              <a:buNone/>
              <a:defRPr>
                <a:solidFill>
                  <a:schemeClr val="tx1"/>
                </a:solidFill>
              </a:defRPr>
            </a:lvl1pPr>
          </a:lstStyle>
          <a:p>
            <a:pPr lvl="0"/>
            <a:r>
              <a:rPr lang="en-US"/>
              <a:t>Click to edit Master title style</a:t>
            </a:r>
            <a:endParaRPr lang="ru-RU"/>
          </a:p>
        </p:txBody>
      </p:sp>
    </p:spTree>
    <p:extLst>
      <p:ext uri="{BB962C8B-B14F-4D97-AF65-F5344CB8AC3E}">
        <p14:creationId xmlns:p14="http://schemas.microsoft.com/office/powerpoint/2010/main" val="2777547024"/>
      </p:ext>
    </p:extLst>
  </p:cSld>
  <p:clrMapOvr>
    <a:masterClrMapping/>
  </p:clrMapOvr>
  <p:hf hdr="0" dt="0"/>
  <p:extLst>
    <p:ext uri="{DCECCB84-F9BA-43D5-87BE-67443E8EF086}">
      <p15:sldGuideLst xmlns:p15="http://schemas.microsoft.com/office/powerpoint/2012/main">
        <p15:guide id="1" orient="horz" pos="113">
          <p15:clr>
            <a:srgbClr val="FBAE40"/>
          </p15:clr>
        </p15:guide>
        <p15:guide id="2" orient="horz" pos="786">
          <p15:clr>
            <a:srgbClr val="FBAE40"/>
          </p15:clr>
        </p15:guide>
        <p15:guide id="3" orient="horz" pos="3741">
          <p15:clr>
            <a:srgbClr val="FBAE40"/>
          </p15:clr>
        </p15:guide>
        <p15:guide id="4" orient="horz" pos="1272">
          <p15:clr>
            <a:srgbClr val="FBAE40"/>
          </p15:clr>
        </p15:guide>
        <p15:guide id="5" orient="horz" pos="1158">
          <p15:clr>
            <a:srgbClr val="FBAE40"/>
          </p15:clr>
        </p15:guide>
        <p15:guide id="6" pos="3784">
          <p15:clr>
            <a:srgbClr val="FBAE40"/>
          </p15:clr>
        </p15:guide>
        <p15:guide id="7" pos="3896">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Section Header (Blue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E238BFA-C4BB-D76C-0C2B-FAF3D5F1FF4E}"/>
              </a:ext>
            </a:extLst>
          </p:cNvPr>
          <p:cNvSpPr/>
          <p:nvPr userDrawn="1"/>
        </p:nvSpPr>
        <p:spPr>
          <a:xfrm>
            <a:off x="539749" y="540000"/>
            <a:ext cx="11109600" cy="5398838"/>
          </a:xfrm>
          <a:prstGeom prst="rect">
            <a:avLst/>
          </a:prstGeom>
          <a:solidFill>
            <a:schemeClr val="tx2">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r"/>
            <a:endParaRPr lang="en-GB" sz="3600" b="1" noProof="0">
              <a:solidFill>
                <a:schemeClr val="tx2"/>
              </a:solidFill>
            </a:endParaRPr>
          </a:p>
        </p:txBody>
      </p:sp>
      <p:sp>
        <p:nvSpPr>
          <p:cNvPr id="2" name="Title 1">
            <a:extLst>
              <a:ext uri="{FF2B5EF4-FFF2-40B4-BE49-F238E27FC236}">
                <a16:creationId xmlns:a16="http://schemas.microsoft.com/office/drawing/2014/main" id="{1C1781A4-F0E8-92C0-D61B-A2C0A6136002}"/>
              </a:ext>
            </a:extLst>
          </p:cNvPr>
          <p:cNvSpPr>
            <a:spLocks noGrp="1"/>
          </p:cNvSpPr>
          <p:nvPr>
            <p:ph type="ctrTitle"/>
          </p:nvPr>
        </p:nvSpPr>
        <p:spPr>
          <a:xfrm>
            <a:off x="885669" y="1689099"/>
            <a:ext cx="6766560" cy="2387600"/>
          </a:xfrm>
        </p:spPr>
        <p:txBody>
          <a:bodyPr anchor="t">
            <a:noAutofit/>
          </a:bodyPr>
          <a:lstStyle>
            <a:lvl1pPr algn="l">
              <a:defRPr sz="6000">
                <a:solidFill>
                  <a:schemeClr val="bg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F06310A5-31F4-F6C5-B868-BDFCDD622F9D}"/>
              </a:ext>
            </a:extLst>
          </p:cNvPr>
          <p:cNvSpPr>
            <a:spLocks noGrp="1"/>
          </p:cNvSpPr>
          <p:nvPr>
            <p:ph type="subTitle" idx="1"/>
          </p:nvPr>
        </p:nvSpPr>
        <p:spPr>
          <a:xfrm>
            <a:off x="885669" y="1069975"/>
            <a:ext cx="6766560" cy="347472"/>
          </a:xfrm>
        </p:spPr>
        <p:txBody>
          <a:bodyPr anchor="b">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9" name="Slide Number Placeholder 10">
            <a:extLst>
              <a:ext uri="{FF2B5EF4-FFF2-40B4-BE49-F238E27FC236}">
                <a16:creationId xmlns:a16="http://schemas.microsoft.com/office/drawing/2014/main" id="{FA450C41-5A0D-354F-FB25-A8DFE0D2B2D8}"/>
              </a:ext>
            </a:extLst>
          </p:cNvPr>
          <p:cNvSpPr>
            <a:spLocks noGrp="1"/>
          </p:cNvSpPr>
          <p:nvPr>
            <p:ph type="sldNum" sz="quarter" idx="4"/>
          </p:nvPr>
        </p:nvSpPr>
        <p:spPr>
          <a:xfrm>
            <a:off x="179386" y="6318250"/>
            <a:ext cx="366714" cy="365125"/>
          </a:xfrm>
          <a:prstGeom prst="rect">
            <a:avLst/>
          </a:prstGeom>
        </p:spPr>
        <p:txBody>
          <a:bodyPr vert="horz" lIns="0" tIns="0" rIns="0" bIns="0" rtlCol="0" anchor="b"/>
          <a:lstStyle>
            <a:lvl1pPr algn="l">
              <a:defRPr sz="900">
                <a:solidFill>
                  <a:schemeClr val="bg1">
                    <a:lumMod val="50000"/>
                  </a:schemeClr>
                </a:solidFill>
              </a:defRPr>
            </a:lvl1pPr>
          </a:lstStyle>
          <a:p>
            <a:fld id="{DDF71BC8-773F-4A54-968E-450E29C75AD4}" type="slidenum">
              <a:rPr lang="en-GB" smtClean="0"/>
              <a:pPr/>
              <a:t>‹#›</a:t>
            </a:fld>
            <a:endParaRPr lang="en-GB"/>
          </a:p>
        </p:txBody>
      </p:sp>
      <p:sp>
        <p:nvSpPr>
          <p:cNvPr id="10" name="Footer Placeholder 9">
            <a:extLst>
              <a:ext uri="{FF2B5EF4-FFF2-40B4-BE49-F238E27FC236}">
                <a16:creationId xmlns:a16="http://schemas.microsoft.com/office/drawing/2014/main" id="{B3FED4B5-44A0-8CAA-136C-A20D622AD07A}"/>
              </a:ext>
            </a:extLst>
          </p:cNvPr>
          <p:cNvSpPr>
            <a:spLocks noGrp="1"/>
          </p:cNvSpPr>
          <p:nvPr>
            <p:ph type="ftr" sz="quarter" idx="10"/>
          </p:nvPr>
        </p:nvSpPr>
        <p:spPr/>
        <p:txBody>
          <a:bodyPr/>
          <a:lstStyle>
            <a:lvl1pPr>
              <a:defRPr sz="900">
                <a:solidFill>
                  <a:schemeClr val="bg1">
                    <a:lumMod val="50000"/>
                  </a:schemeClr>
                </a:solidFill>
              </a:defRPr>
            </a:lvl1pPr>
          </a:lstStyle>
          <a:p>
            <a:endParaRPr lang="en-GB"/>
          </a:p>
        </p:txBody>
      </p:sp>
    </p:spTree>
    <p:extLst>
      <p:ext uri="{BB962C8B-B14F-4D97-AF65-F5344CB8AC3E}">
        <p14:creationId xmlns:p14="http://schemas.microsoft.com/office/powerpoint/2010/main" val="201987691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Section Header (Blue 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E238BFA-C4BB-D76C-0C2B-FAF3D5F1FF4E}"/>
              </a:ext>
            </a:extLst>
          </p:cNvPr>
          <p:cNvSpPr/>
          <p:nvPr userDrawn="1"/>
        </p:nvSpPr>
        <p:spPr>
          <a:xfrm>
            <a:off x="539749" y="540000"/>
            <a:ext cx="11109600" cy="53988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r"/>
            <a:endParaRPr lang="en-GB" sz="3600" b="1" noProof="0">
              <a:solidFill>
                <a:schemeClr val="tx2"/>
              </a:solidFill>
            </a:endParaRPr>
          </a:p>
        </p:txBody>
      </p:sp>
      <p:sp>
        <p:nvSpPr>
          <p:cNvPr id="2" name="Title 1">
            <a:extLst>
              <a:ext uri="{FF2B5EF4-FFF2-40B4-BE49-F238E27FC236}">
                <a16:creationId xmlns:a16="http://schemas.microsoft.com/office/drawing/2014/main" id="{1C1781A4-F0E8-92C0-D61B-A2C0A6136002}"/>
              </a:ext>
            </a:extLst>
          </p:cNvPr>
          <p:cNvSpPr>
            <a:spLocks noGrp="1"/>
          </p:cNvSpPr>
          <p:nvPr>
            <p:ph type="ctrTitle"/>
          </p:nvPr>
        </p:nvSpPr>
        <p:spPr>
          <a:xfrm>
            <a:off x="885669" y="1689099"/>
            <a:ext cx="6766560" cy="2387600"/>
          </a:xfrm>
        </p:spPr>
        <p:txBody>
          <a:bodyPr anchor="t">
            <a:noAutofit/>
          </a:bodyPr>
          <a:lstStyle>
            <a:lvl1pPr algn="l">
              <a:defRPr sz="6000">
                <a:solidFill>
                  <a:schemeClr val="bg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F06310A5-31F4-F6C5-B868-BDFCDD622F9D}"/>
              </a:ext>
            </a:extLst>
          </p:cNvPr>
          <p:cNvSpPr>
            <a:spLocks noGrp="1"/>
          </p:cNvSpPr>
          <p:nvPr>
            <p:ph type="subTitle" idx="1"/>
          </p:nvPr>
        </p:nvSpPr>
        <p:spPr>
          <a:xfrm>
            <a:off x="885669" y="1069975"/>
            <a:ext cx="6766560" cy="347472"/>
          </a:xfrm>
        </p:spPr>
        <p:txBody>
          <a:bodyPr anchor="b">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9" name="Slide Number Placeholder 10">
            <a:extLst>
              <a:ext uri="{FF2B5EF4-FFF2-40B4-BE49-F238E27FC236}">
                <a16:creationId xmlns:a16="http://schemas.microsoft.com/office/drawing/2014/main" id="{FA450C41-5A0D-354F-FB25-A8DFE0D2B2D8}"/>
              </a:ext>
            </a:extLst>
          </p:cNvPr>
          <p:cNvSpPr>
            <a:spLocks noGrp="1"/>
          </p:cNvSpPr>
          <p:nvPr>
            <p:ph type="sldNum" sz="quarter" idx="4"/>
          </p:nvPr>
        </p:nvSpPr>
        <p:spPr>
          <a:xfrm>
            <a:off x="179386" y="6318250"/>
            <a:ext cx="366714" cy="365125"/>
          </a:xfrm>
          <a:prstGeom prst="rect">
            <a:avLst/>
          </a:prstGeom>
        </p:spPr>
        <p:txBody>
          <a:bodyPr vert="horz" lIns="0" tIns="0" rIns="0" bIns="0" rtlCol="0" anchor="b"/>
          <a:lstStyle>
            <a:lvl1pPr algn="l">
              <a:defRPr sz="900">
                <a:solidFill>
                  <a:schemeClr val="bg1">
                    <a:lumMod val="50000"/>
                  </a:schemeClr>
                </a:solidFill>
              </a:defRPr>
            </a:lvl1pPr>
          </a:lstStyle>
          <a:p>
            <a:fld id="{DDF71BC8-773F-4A54-968E-450E29C75AD4}" type="slidenum">
              <a:rPr lang="en-GB" smtClean="0"/>
              <a:pPr/>
              <a:t>‹#›</a:t>
            </a:fld>
            <a:endParaRPr lang="en-GB"/>
          </a:p>
        </p:txBody>
      </p:sp>
      <p:sp>
        <p:nvSpPr>
          <p:cNvPr id="10" name="Footer Placeholder 9">
            <a:extLst>
              <a:ext uri="{FF2B5EF4-FFF2-40B4-BE49-F238E27FC236}">
                <a16:creationId xmlns:a16="http://schemas.microsoft.com/office/drawing/2014/main" id="{B3FED4B5-44A0-8CAA-136C-A20D622AD07A}"/>
              </a:ext>
            </a:extLst>
          </p:cNvPr>
          <p:cNvSpPr>
            <a:spLocks noGrp="1"/>
          </p:cNvSpPr>
          <p:nvPr>
            <p:ph type="ftr" sz="quarter" idx="10"/>
          </p:nvPr>
        </p:nvSpPr>
        <p:spPr/>
        <p:txBody>
          <a:bodyPr/>
          <a:lstStyle>
            <a:lvl1pPr>
              <a:defRPr sz="900">
                <a:solidFill>
                  <a:schemeClr val="bg1">
                    <a:lumMod val="50000"/>
                  </a:schemeClr>
                </a:solidFill>
              </a:defRPr>
            </a:lvl1pPr>
          </a:lstStyle>
          <a:p>
            <a:endParaRPr lang="en-GB"/>
          </a:p>
        </p:txBody>
      </p:sp>
    </p:spTree>
    <p:extLst>
      <p:ext uri="{BB962C8B-B14F-4D97-AF65-F5344CB8AC3E}">
        <p14:creationId xmlns:p14="http://schemas.microsoft.com/office/powerpoint/2010/main" val="35190718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Section Header (Gree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E238BFA-C4BB-D76C-0C2B-FAF3D5F1FF4E}"/>
              </a:ext>
            </a:extLst>
          </p:cNvPr>
          <p:cNvSpPr/>
          <p:nvPr userDrawn="1"/>
        </p:nvSpPr>
        <p:spPr>
          <a:xfrm>
            <a:off x="539749" y="540000"/>
            <a:ext cx="11109600" cy="539883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r"/>
            <a:endParaRPr lang="en-GB" sz="3600" b="1" noProof="0">
              <a:solidFill>
                <a:schemeClr val="tx2"/>
              </a:solidFill>
            </a:endParaRPr>
          </a:p>
        </p:txBody>
      </p:sp>
      <p:sp>
        <p:nvSpPr>
          <p:cNvPr id="2" name="Title 1">
            <a:extLst>
              <a:ext uri="{FF2B5EF4-FFF2-40B4-BE49-F238E27FC236}">
                <a16:creationId xmlns:a16="http://schemas.microsoft.com/office/drawing/2014/main" id="{1C1781A4-F0E8-92C0-D61B-A2C0A6136002}"/>
              </a:ext>
            </a:extLst>
          </p:cNvPr>
          <p:cNvSpPr>
            <a:spLocks noGrp="1"/>
          </p:cNvSpPr>
          <p:nvPr>
            <p:ph type="ctrTitle"/>
          </p:nvPr>
        </p:nvSpPr>
        <p:spPr>
          <a:xfrm>
            <a:off x="885669" y="1689099"/>
            <a:ext cx="6766560" cy="2387600"/>
          </a:xfrm>
        </p:spPr>
        <p:txBody>
          <a:bodyPr anchor="t">
            <a:noAutofit/>
          </a:bodyPr>
          <a:lstStyle>
            <a:lvl1pPr algn="l">
              <a:defRPr sz="6000">
                <a:solidFill>
                  <a:schemeClr val="bg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F06310A5-31F4-F6C5-B868-BDFCDD622F9D}"/>
              </a:ext>
            </a:extLst>
          </p:cNvPr>
          <p:cNvSpPr>
            <a:spLocks noGrp="1"/>
          </p:cNvSpPr>
          <p:nvPr>
            <p:ph type="subTitle" idx="1"/>
          </p:nvPr>
        </p:nvSpPr>
        <p:spPr>
          <a:xfrm>
            <a:off x="885669" y="1069975"/>
            <a:ext cx="6766560" cy="347472"/>
          </a:xfrm>
        </p:spPr>
        <p:txBody>
          <a:bodyPr anchor="b">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9" name="Slide Number Placeholder 10">
            <a:extLst>
              <a:ext uri="{FF2B5EF4-FFF2-40B4-BE49-F238E27FC236}">
                <a16:creationId xmlns:a16="http://schemas.microsoft.com/office/drawing/2014/main" id="{FA450C41-5A0D-354F-FB25-A8DFE0D2B2D8}"/>
              </a:ext>
            </a:extLst>
          </p:cNvPr>
          <p:cNvSpPr>
            <a:spLocks noGrp="1"/>
          </p:cNvSpPr>
          <p:nvPr>
            <p:ph type="sldNum" sz="quarter" idx="4"/>
          </p:nvPr>
        </p:nvSpPr>
        <p:spPr>
          <a:xfrm>
            <a:off x="179386" y="6318250"/>
            <a:ext cx="366714" cy="365125"/>
          </a:xfrm>
          <a:prstGeom prst="rect">
            <a:avLst/>
          </a:prstGeom>
        </p:spPr>
        <p:txBody>
          <a:bodyPr vert="horz" lIns="0" tIns="0" rIns="0" bIns="0" rtlCol="0" anchor="b"/>
          <a:lstStyle>
            <a:lvl1pPr algn="l">
              <a:defRPr sz="900">
                <a:solidFill>
                  <a:schemeClr val="bg1">
                    <a:lumMod val="50000"/>
                  </a:schemeClr>
                </a:solidFill>
              </a:defRPr>
            </a:lvl1pPr>
          </a:lstStyle>
          <a:p>
            <a:fld id="{DDF71BC8-773F-4A54-968E-450E29C75AD4}" type="slidenum">
              <a:rPr lang="en-GB" smtClean="0"/>
              <a:pPr/>
              <a:t>‹#›</a:t>
            </a:fld>
            <a:endParaRPr lang="en-GB"/>
          </a:p>
        </p:txBody>
      </p:sp>
      <p:sp>
        <p:nvSpPr>
          <p:cNvPr id="10" name="Footer Placeholder 9">
            <a:extLst>
              <a:ext uri="{FF2B5EF4-FFF2-40B4-BE49-F238E27FC236}">
                <a16:creationId xmlns:a16="http://schemas.microsoft.com/office/drawing/2014/main" id="{B3FED4B5-44A0-8CAA-136C-A20D622AD07A}"/>
              </a:ext>
            </a:extLst>
          </p:cNvPr>
          <p:cNvSpPr>
            <a:spLocks noGrp="1"/>
          </p:cNvSpPr>
          <p:nvPr>
            <p:ph type="ftr" sz="quarter" idx="10"/>
          </p:nvPr>
        </p:nvSpPr>
        <p:spPr/>
        <p:txBody>
          <a:bodyPr/>
          <a:lstStyle>
            <a:lvl1pPr>
              <a:defRPr sz="900">
                <a:solidFill>
                  <a:schemeClr val="bg1">
                    <a:lumMod val="50000"/>
                  </a:schemeClr>
                </a:solidFill>
              </a:defRPr>
            </a:lvl1pPr>
          </a:lstStyle>
          <a:p>
            <a:endParaRPr lang="en-GB"/>
          </a:p>
        </p:txBody>
      </p:sp>
    </p:spTree>
    <p:extLst>
      <p:ext uri="{BB962C8B-B14F-4D97-AF65-F5344CB8AC3E}">
        <p14:creationId xmlns:p14="http://schemas.microsoft.com/office/powerpoint/2010/main" val="332881552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ection Header (Yellow)">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E238BFA-C4BB-D76C-0C2B-FAF3D5F1FF4E}"/>
              </a:ext>
            </a:extLst>
          </p:cNvPr>
          <p:cNvSpPr/>
          <p:nvPr userDrawn="1"/>
        </p:nvSpPr>
        <p:spPr>
          <a:xfrm>
            <a:off x="539749" y="540000"/>
            <a:ext cx="11109600" cy="53988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r"/>
            <a:endParaRPr lang="en-GB" sz="3600" b="1" noProof="0">
              <a:solidFill>
                <a:schemeClr val="tx2"/>
              </a:solidFill>
            </a:endParaRPr>
          </a:p>
        </p:txBody>
      </p:sp>
      <p:sp>
        <p:nvSpPr>
          <p:cNvPr id="2" name="Title 1">
            <a:extLst>
              <a:ext uri="{FF2B5EF4-FFF2-40B4-BE49-F238E27FC236}">
                <a16:creationId xmlns:a16="http://schemas.microsoft.com/office/drawing/2014/main" id="{1C1781A4-F0E8-92C0-D61B-A2C0A6136002}"/>
              </a:ext>
            </a:extLst>
          </p:cNvPr>
          <p:cNvSpPr>
            <a:spLocks noGrp="1"/>
          </p:cNvSpPr>
          <p:nvPr>
            <p:ph type="ctrTitle"/>
          </p:nvPr>
        </p:nvSpPr>
        <p:spPr>
          <a:xfrm>
            <a:off x="885669" y="1689099"/>
            <a:ext cx="6766560" cy="2387600"/>
          </a:xfrm>
        </p:spPr>
        <p:txBody>
          <a:bodyPr anchor="t">
            <a:noAutofit/>
          </a:bodyPr>
          <a:lstStyle>
            <a:lvl1pPr algn="l">
              <a:defRPr sz="6000">
                <a:solidFill>
                  <a:schemeClr val="tx2"/>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F06310A5-31F4-F6C5-B868-BDFCDD622F9D}"/>
              </a:ext>
            </a:extLst>
          </p:cNvPr>
          <p:cNvSpPr>
            <a:spLocks noGrp="1"/>
          </p:cNvSpPr>
          <p:nvPr>
            <p:ph type="subTitle" idx="1"/>
          </p:nvPr>
        </p:nvSpPr>
        <p:spPr>
          <a:xfrm>
            <a:off x="885669" y="1069975"/>
            <a:ext cx="6766560" cy="347472"/>
          </a:xfrm>
        </p:spPr>
        <p:txBody>
          <a:bodyPr anchor="b">
            <a:normAutofit/>
          </a:bodyPr>
          <a:lstStyle>
            <a:lvl1pPr marL="0" indent="0" algn="l">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9" name="Slide Number Placeholder 10">
            <a:extLst>
              <a:ext uri="{FF2B5EF4-FFF2-40B4-BE49-F238E27FC236}">
                <a16:creationId xmlns:a16="http://schemas.microsoft.com/office/drawing/2014/main" id="{FA450C41-5A0D-354F-FB25-A8DFE0D2B2D8}"/>
              </a:ext>
            </a:extLst>
          </p:cNvPr>
          <p:cNvSpPr>
            <a:spLocks noGrp="1"/>
          </p:cNvSpPr>
          <p:nvPr>
            <p:ph type="sldNum" sz="quarter" idx="4"/>
          </p:nvPr>
        </p:nvSpPr>
        <p:spPr>
          <a:xfrm>
            <a:off x="179386" y="6318250"/>
            <a:ext cx="366714" cy="365125"/>
          </a:xfrm>
          <a:prstGeom prst="rect">
            <a:avLst/>
          </a:prstGeom>
        </p:spPr>
        <p:txBody>
          <a:bodyPr vert="horz" lIns="0" tIns="0" rIns="0" bIns="0" rtlCol="0" anchor="b"/>
          <a:lstStyle>
            <a:lvl1pPr algn="l">
              <a:defRPr sz="900">
                <a:solidFill>
                  <a:schemeClr val="bg1">
                    <a:lumMod val="50000"/>
                  </a:schemeClr>
                </a:solidFill>
              </a:defRPr>
            </a:lvl1pPr>
          </a:lstStyle>
          <a:p>
            <a:fld id="{DDF71BC8-773F-4A54-968E-450E29C75AD4}" type="slidenum">
              <a:rPr lang="en-GB" smtClean="0"/>
              <a:pPr/>
              <a:t>‹#›</a:t>
            </a:fld>
            <a:endParaRPr lang="en-GB"/>
          </a:p>
        </p:txBody>
      </p:sp>
      <p:sp>
        <p:nvSpPr>
          <p:cNvPr id="10" name="Footer Placeholder 9">
            <a:extLst>
              <a:ext uri="{FF2B5EF4-FFF2-40B4-BE49-F238E27FC236}">
                <a16:creationId xmlns:a16="http://schemas.microsoft.com/office/drawing/2014/main" id="{B3FED4B5-44A0-8CAA-136C-A20D622AD07A}"/>
              </a:ext>
            </a:extLst>
          </p:cNvPr>
          <p:cNvSpPr>
            <a:spLocks noGrp="1"/>
          </p:cNvSpPr>
          <p:nvPr>
            <p:ph type="ftr" sz="quarter" idx="10"/>
          </p:nvPr>
        </p:nvSpPr>
        <p:spPr/>
        <p:txBody>
          <a:bodyPr/>
          <a:lstStyle>
            <a:lvl1pPr>
              <a:defRPr sz="900">
                <a:solidFill>
                  <a:schemeClr val="bg1">
                    <a:lumMod val="50000"/>
                  </a:schemeClr>
                </a:solidFill>
              </a:defRPr>
            </a:lvl1pPr>
          </a:lstStyle>
          <a:p>
            <a:endParaRPr lang="en-GB"/>
          </a:p>
        </p:txBody>
      </p:sp>
    </p:spTree>
    <p:extLst>
      <p:ext uri="{BB962C8B-B14F-4D97-AF65-F5344CB8AC3E}">
        <p14:creationId xmlns:p14="http://schemas.microsoft.com/office/powerpoint/2010/main" val="24106376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682278-B19C-CE8F-0F1E-C607319BD299}"/>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14788831-AC84-CDA4-A2C0-FF94D9DED83D}"/>
              </a:ext>
            </a:extLst>
          </p:cNvPr>
          <p:cNvSpPr>
            <a:spLocks noGrp="1"/>
          </p:cNvSpPr>
          <p:nvPr>
            <p:ph idx="1"/>
          </p:nvPr>
        </p:nvSpPr>
        <p:spPr>
          <a:xfrm>
            <a:off x="179386" y="1320800"/>
            <a:ext cx="11833228" cy="43799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1BD1A543-5EA8-8303-5ADD-A618A726B6EB}"/>
              </a:ext>
            </a:extLst>
          </p:cNvPr>
          <p:cNvSpPr>
            <a:spLocks noGrp="1"/>
          </p:cNvSpPr>
          <p:nvPr>
            <p:ph type="ftr" sz="quarter" idx="11"/>
          </p:nvPr>
        </p:nvSpPr>
        <p:spPr>
          <a:xfrm>
            <a:off x="642796" y="6318250"/>
            <a:ext cx="9464040" cy="365125"/>
          </a:xfrm>
        </p:spPr>
        <p:txBody>
          <a:bodyPr/>
          <a:lstStyle>
            <a:lvl1pPr>
              <a:defRPr sz="900">
                <a:solidFill>
                  <a:schemeClr val="bg1">
                    <a:lumMod val="50000"/>
                  </a:schemeClr>
                </a:solidFill>
              </a:defRPr>
            </a:lvl1pPr>
          </a:lstStyle>
          <a:p>
            <a:endParaRPr lang="en-GB"/>
          </a:p>
        </p:txBody>
      </p:sp>
      <p:sp>
        <p:nvSpPr>
          <p:cNvPr id="7" name="Slide Number Placeholder 10">
            <a:extLst>
              <a:ext uri="{FF2B5EF4-FFF2-40B4-BE49-F238E27FC236}">
                <a16:creationId xmlns:a16="http://schemas.microsoft.com/office/drawing/2014/main" id="{19C5502E-2047-75A1-4B54-0F988427FB9B}"/>
              </a:ext>
            </a:extLst>
          </p:cNvPr>
          <p:cNvSpPr>
            <a:spLocks noGrp="1"/>
          </p:cNvSpPr>
          <p:nvPr>
            <p:ph type="sldNum" sz="quarter" idx="4"/>
          </p:nvPr>
        </p:nvSpPr>
        <p:spPr>
          <a:xfrm>
            <a:off x="179386" y="6318250"/>
            <a:ext cx="366714" cy="365125"/>
          </a:xfrm>
          <a:prstGeom prst="rect">
            <a:avLst/>
          </a:prstGeom>
        </p:spPr>
        <p:txBody>
          <a:bodyPr vert="horz" lIns="0" tIns="0" rIns="0" bIns="0" rtlCol="0" anchor="b"/>
          <a:lstStyle>
            <a:lvl1pPr algn="l">
              <a:defRPr sz="900">
                <a:solidFill>
                  <a:schemeClr val="bg1">
                    <a:lumMod val="50000"/>
                  </a:schemeClr>
                </a:solidFill>
              </a:defRPr>
            </a:lvl1pPr>
          </a:lstStyle>
          <a:p>
            <a:fld id="{DDF71BC8-773F-4A54-968E-450E29C75AD4}" type="slidenum">
              <a:rPr lang="en-GB" smtClean="0"/>
              <a:pPr/>
              <a:t>‹#›</a:t>
            </a:fld>
            <a:endParaRPr lang="en-GB"/>
          </a:p>
        </p:txBody>
      </p:sp>
      <p:sp>
        <p:nvSpPr>
          <p:cNvPr id="9" name="Text Placeholder 8">
            <a:extLst>
              <a:ext uri="{FF2B5EF4-FFF2-40B4-BE49-F238E27FC236}">
                <a16:creationId xmlns:a16="http://schemas.microsoft.com/office/drawing/2014/main" id="{7E8069EB-A80A-FBDB-8EED-94482BDCC19F}"/>
              </a:ext>
            </a:extLst>
          </p:cNvPr>
          <p:cNvSpPr>
            <a:spLocks noGrp="1"/>
          </p:cNvSpPr>
          <p:nvPr>
            <p:ph type="body" sz="quarter" idx="12" hasCustomPrompt="1"/>
          </p:nvPr>
        </p:nvSpPr>
        <p:spPr>
          <a:xfrm>
            <a:off x="642796" y="5884092"/>
            <a:ext cx="9464040" cy="365760"/>
          </a:xfrm>
        </p:spPr>
        <p:txBody>
          <a:bodyPr anchor="b">
            <a:normAutofit/>
          </a:bodyPr>
          <a:lstStyle>
            <a:lvl1pPr marL="0" indent="0" algn="l">
              <a:buNone/>
              <a:defRPr sz="900">
                <a:solidFill>
                  <a:schemeClr val="bg1">
                    <a:lumMod val="50000"/>
                  </a:schemeClr>
                </a:solidFill>
              </a:defRPr>
            </a:lvl1pPr>
          </a:lstStyle>
          <a:p>
            <a:pPr lvl="0"/>
            <a:r>
              <a:rPr lang="en-US"/>
              <a:t>Source </a:t>
            </a:r>
          </a:p>
        </p:txBody>
      </p:sp>
    </p:spTree>
    <p:extLst>
      <p:ext uri="{BB962C8B-B14F-4D97-AF65-F5344CB8AC3E}">
        <p14:creationId xmlns:p14="http://schemas.microsoft.com/office/powerpoint/2010/main" val="230378114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Content with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682278-B19C-CE8F-0F1E-C607319BD299}"/>
              </a:ext>
            </a:extLst>
          </p:cNvPr>
          <p:cNvSpPr>
            <a:spLocks noGrp="1"/>
          </p:cNvSpPr>
          <p:nvPr>
            <p:ph type="title"/>
          </p:nvPr>
        </p:nvSpPr>
        <p:spPr>
          <a:xfrm>
            <a:off x="179386" y="179388"/>
            <a:ext cx="11833228" cy="640080"/>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14788831-AC84-CDA4-A2C0-FF94D9DED83D}"/>
              </a:ext>
            </a:extLst>
          </p:cNvPr>
          <p:cNvSpPr>
            <a:spLocks noGrp="1"/>
          </p:cNvSpPr>
          <p:nvPr>
            <p:ph idx="1"/>
          </p:nvPr>
        </p:nvSpPr>
        <p:spPr>
          <a:xfrm>
            <a:off x="179386" y="1320800"/>
            <a:ext cx="11833228" cy="43799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1BD1A543-5EA8-8303-5ADD-A618A726B6EB}"/>
              </a:ext>
            </a:extLst>
          </p:cNvPr>
          <p:cNvSpPr>
            <a:spLocks noGrp="1"/>
          </p:cNvSpPr>
          <p:nvPr>
            <p:ph type="ftr" sz="quarter" idx="11"/>
          </p:nvPr>
        </p:nvSpPr>
        <p:spPr>
          <a:xfrm>
            <a:off x="642796" y="6318250"/>
            <a:ext cx="9464040" cy="365125"/>
          </a:xfrm>
        </p:spPr>
        <p:txBody>
          <a:bodyPr/>
          <a:lstStyle>
            <a:lvl1pPr>
              <a:defRPr sz="900">
                <a:solidFill>
                  <a:schemeClr val="bg1">
                    <a:lumMod val="50000"/>
                  </a:schemeClr>
                </a:solidFill>
              </a:defRPr>
            </a:lvl1pPr>
          </a:lstStyle>
          <a:p>
            <a:endParaRPr lang="en-GB"/>
          </a:p>
        </p:txBody>
      </p:sp>
      <p:sp>
        <p:nvSpPr>
          <p:cNvPr id="7" name="Slide Number Placeholder 10">
            <a:extLst>
              <a:ext uri="{FF2B5EF4-FFF2-40B4-BE49-F238E27FC236}">
                <a16:creationId xmlns:a16="http://schemas.microsoft.com/office/drawing/2014/main" id="{19C5502E-2047-75A1-4B54-0F988427FB9B}"/>
              </a:ext>
            </a:extLst>
          </p:cNvPr>
          <p:cNvSpPr>
            <a:spLocks noGrp="1"/>
          </p:cNvSpPr>
          <p:nvPr>
            <p:ph type="sldNum" sz="quarter" idx="4"/>
          </p:nvPr>
        </p:nvSpPr>
        <p:spPr>
          <a:xfrm>
            <a:off x="179386" y="6318250"/>
            <a:ext cx="366714" cy="365125"/>
          </a:xfrm>
          <a:prstGeom prst="rect">
            <a:avLst/>
          </a:prstGeom>
        </p:spPr>
        <p:txBody>
          <a:bodyPr vert="horz" lIns="0" tIns="0" rIns="0" bIns="0" rtlCol="0" anchor="b"/>
          <a:lstStyle>
            <a:lvl1pPr algn="l">
              <a:defRPr sz="900">
                <a:solidFill>
                  <a:schemeClr val="bg1">
                    <a:lumMod val="50000"/>
                  </a:schemeClr>
                </a:solidFill>
              </a:defRPr>
            </a:lvl1pPr>
          </a:lstStyle>
          <a:p>
            <a:fld id="{DDF71BC8-773F-4A54-968E-450E29C75AD4}" type="slidenum">
              <a:rPr lang="en-GB" smtClean="0"/>
              <a:pPr/>
              <a:t>‹#›</a:t>
            </a:fld>
            <a:endParaRPr lang="en-GB"/>
          </a:p>
        </p:txBody>
      </p:sp>
      <p:sp>
        <p:nvSpPr>
          <p:cNvPr id="9" name="Text Placeholder 8">
            <a:extLst>
              <a:ext uri="{FF2B5EF4-FFF2-40B4-BE49-F238E27FC236}">
                <a16:creationId xmlns:a16="http://schemas.microsoft.com/office/drawing/2014/main" id="{7E8069EB-A80A-FBDB-8EED-94482BDCC19F}"/>
              </a:ext>
            </a:extLst>
          </p:cNvPr>
          <p:cNvSpPr>
            <a:spLocks noGrp="1"/>
          </p:cNvSpPr>
          <p:nvPr>
            <p:ph type="body" sz="quarter" idx="12" hasCustomPrompt="1"/>
          </p:nvPr>
        </p:nvSpPr>
        <p:spPr>
          <a:xfrm>
            <a:off x="642796" y="5884092"/>
            <a:ext cx="9464040" cy="365760"/>
          </a:xfrm>
        </p:spPr>
        <p:txBody>
          <a:bodyPr anchor="b">
            <a:normAutofit/>
          </a:bodyPr>
          <a:lstStyle>
            <a:lvl1pPr marL="0" indent="0" algn="l">
              <a:buNone/>
              <a:defRPr sz="900">
                <a:solidFill>
                  <a:schemeClr val="bg1">
                    <a:lumMod val="50000"/>
                  </a:schemeClr>
                </a:solidFill>
              </a:defRPr>
            </a:lvl1pPr>
          </a:lstStyle>
          <a:p>
            <a:pPr lvl="0"/>
            <a:r>
              <a:rPr lang="en-US"/>
              <a:t>Source </a:t>
            </a:r>
          </a:p>
        </p:txBody>
      </p:sp>
      <p:sp>
        <p:nvSpPr>
          <p:cNvPr id="8" name="Text Placeholder 7">
            <a:extLst>
              <a:ext uri="{FF2B5EF4-FFF2-40B4-BE49-F238E27FC236}">
                <a16:creationId xmlns:a16="http://schemas.microsoft.com/office/drawing/2014/main" id="{9E8BCAC4-3C43-F2C0-B838-17CF75BCC469}"/>
              </a:ext>
            </a:extLst>
          </p:cNvPr>
          <p:cNvSpPr>
            <a:spLocks noGrp="1"/>
          </p:cNvSpPr>
          <p:nvPr>
            <p:ph type="body" sz="quarter" idx="13" hasCustomPrompt="1"/>
          </p:nvPr>
        </p:nvSpPr>
        <p:spPr>
          <a:xfrm>
            <a:off x="179386" y="880946"/>
            <a:ext cx="11832336" cy="301752"/>
          </a:xfrm>
        </p:spPr>
        <p:txBody>
          <a:bodyPr>
            <a:normAutofit/>
          </a:bodyPr>
          <a:lstStyle>
            <a:lvl1pPr marL="0" indent="0">
              <a:buNone/>
              <a:defRPr sz="1600">
                <a:solidFill>
                  <a:schemeClr val="tx2"/>
                </a:solidFill>
              </a:defRPr>
            </a:lvl1pPr>
          </a:lstStyle>
          <a:p>
            <a:pPr lvl="0"/>
            <a:r>
              <a:rPr lang="en-US"/>
              <a:t>Add subtitle here</a:t>
            </a:r>
          </a:p>
        </p:txBody>
      </p:sp>
    </p:spTree>
    <p:extLst>
      <p:ext uri="{BB962C8B-B14F-4D97-AF65-F5344CB8AC3E}">
        <p14:creationId xmlns:p14="http://schemas.microsoft.com/office/powerpoint/2010/main" val="114996526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AB6F0B-30AE-5DEA-F5BA-BBF13162343F}"/>
              </a:ext>
            </a:extLst>
          </p:cNvPr>
          <p:cNvSpPr>
            <a:spLocks noGrp="1"/>
          </p:cNvSpPr>
          <p:nvPr>
            <p:ph type="title"/>
          </p:nvPr>
        </p:nvSpPr>
        <p:spPr/>
        <p:txBody>
          <a:bodyPr/>
          <a:lstStyle/>
          <a:p>
            <a:r>
              <a:rPr lang="en-US"/>
              <a:t>Click to edit Master title style</a:t>
            </a:r>
            <a:endParaRPr lang="en-GB"/>
          </a:p>
        </p:txBody>
      </p:sp>
      <p:sp>
        <p:nvSpPr>
          <p:cNvPr id="4" name="Footer Placeholder 3">
            <a:extLst>
              <a:ext uri="{FF2B5EF4-FFF2-40B4-BE49-F238E27FC236}">
                <a16:creationId xmlns:a16="http://schemas.microsoft.com/office/drawing/2014/main" id="{8C7B060E-659D-8070-B56C-97EDC1E2A3B6}"/>
              </a:ext>
            </a:extLst>
          </p:cNvPr>
          <p:cNvSpPr>
            <a:spLocks noGrp="1"/>
          </p:cNvSpPr>
          <p:nvPr>
            <p:ph type="ftr" sz="quarter" idx="11"/>
          </p:nvPr>
        </p:nvSpPr>
        <p:spPr/>
        <p:txBody>
          <a:bodyPr/>
          <a:lstStyle>
            <a:lvl1pPr>
              <a:defRPr sz="900">
                <a:solidFill>
                  <a:schemeClr val="bg1">
                    <a:lumMod val="50000"/>
                  </a:schemeClr>
                </a:solidFill>
              </a:defRPr>
            </a:lvl1pPr>
          </a:lstStyle>
          <a:p>
            <a:endParaRPr lang="en-GB"/>
          </a:p>
        </p:txBody>
      </p:sp>
      <p:sp>
        <p:nvSpPr>
          <p:cNvPr id="6" name="Slide Number Placeholder 10">
            <a:extLst>
              <a:ext uri="{FF2B5EF4-FFF2-40B4-BE49-F238E27FC236}">
                <a16:creationId xmlns:a16="http://schemas.microsoft.com/office/drawing/2014/main" id="{42F4AEDC-AC07-E1A2-C226-F672D6010B48}"/>
              </a:ext>
            </a:extLst>
          </p:cNvPr>
          <p:cNvSpPr>
            <a:spLocks noGrp="1"/>
          </p:cNvSpPr>
          <p:nvPr>
            <p:ph type="sldNum" sz="quarter" idx="4"/>
          </p:nvPr>
        </p:nvSpPr>
        <p:spPr>
          <a:xfrm>
            <a:off x="179386" y="6318250"/>
            <a:ext cx="366714" cy="365125"/>
          </a:xfrm>
          <a:prstGeom prst="rect">
            <a:avLst/>
          </a:prstGeom>
        </p:spPr>
        <p:txBody>
          <a:bodyPr vert="horz" lIns="0" tIns="0" rIns="0" bIns="0" rtlCol="0" anchor="b"/>
          <a:lstStyle>
            <a:lvl1pPr algn="l">
              <a:defRPr sz="900">
                <a:solidFill>
                  <a:schemeClr val="bg1">
                    <a:lumMod val="50000"/>
                  </a:schemeClr>
                </a:solidFill>
              </a:defRPr>
            </a:lvl1pPr>
          </a:lstStyle>
          <a:p>
            <a:fld id="{DDF71BC8-773F-4A54-968E-450E29C75AD4}" type="slidenum">
              <a:rPr lang="en-GB" smtClean="0"/>
              <a:pPr/>
              <a:t>‹#›</a:t>
            </a:fld>
            <a:endParaRPr lang="en-GB"/>
          </a:p>
        </p:txBody>
      </p:sp>
      <p:sp>
        <p:nvSpPr>
          <p:cNvPr id="7" name="Text Placeholder 8">
            <a:extLst>
              <a:ext uri="{FF2B5EF4-FFF2-40B4-BE49-F238E27FC236}">
                <a16:creationId xmlns:a16="http://schemas.microsoft.com/office/drawing/2014/main" id="{DC930D61-A9C3-2BCF-EF8F-0C1149B6308B}"/>
              </a:ext>
            </a:extLst>
          </p:cNvPr>
          <p:cNvSpPr>
            <a:spLocks noGrp="1"/>
          </p:cNvSpPr>
          <p:nvPr>
            <p:ph type="body" sz="quarter" idx="12" hasCustomPrompt="1"/>
          </p:nvPr>
        </p:nvSpPr>
        <p:spPr>
          <a:xfrm>
            <a:off x="642796" y="5884092"/>
            <a:ext cx="9464040" cy="365760"/>
          </a:xfrm>
        </p:spPr>
        <p:txBody>
          <a:bodyPr anchor="b">
            <a:normAutofit/>
          </a:bodyPr>
          <a:lstStyle>
            <a:lvl1pPr marL="0" indent="0" algn="l">
              <a:buNone/>
              <a:defRPr sz="900">
                <a:solidFill>
                  <a:schemeClr val="bg1">
                    <a:lumMod val="50000"/>
                  </a:schemeClr>
                </a:solidFill>
              </a:defRPr>
            </a:lvl1pPr>
          </a:lstStyle>
          <a:p>
            <a:pPr lvl="0"/>
            <a:r>
              <a:rPr lang="en-US"/>
              <a:t>Source </a:t>
            </a:r>
          </a:p>
        </p:txBody>
      </p:sp>
    </p:spTree>
    <p:extLst>
      <p:ext uri="{BB962C8B-B14F-4D97-AF65-F5344CB8AC3E}">
        <p14:creationId xmlns:p14="http://schemas.microsoft.com/office/powerpoint/2010/main" val="302731307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Only with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682278-B19C-CE8F-0F1E-C607319BD299}"/>
              </a:ext>
            </a:extLst>
          </p:cNvPr>
          <p:cNvSpPr>
            <a:spLocks noGrp="1"/>
          </p:cNvSpPr>
          <p:nvPr>
            <p:ph type="title"/>
          </p:nvPr>
        </p:nvSpPr>
        <p:spPr>
          <a:xfrm>
            <a:off x="179386" y="179388"/>
            <a:ext cx="11833228" cy="640080"/>
          </a:xfrm>
        </p:spPr>
        <p:txBody>
          <a:bodyPr/>
          <a:lstStyle/>
          <a:p>
            <a:r>
              <a:rPr lang="en-US"/>
              <a:t>Click to edit Master title style</a:t>
            </a:r>
            <a:endParaRPr lang="en-GB"/>
          </a:p>
        </p:txBody>
      </p:sp>
      <p:sp>
        <p:nvSpPr>
          <p:cNvPr id="5" name="Footer Placeholder 4">
            <a:extLst>
              <a:ext uri="{FF2B5EF4-FFF2-40B4-BE49-F238E27FC236}">
                <a16:creationId xmlns:a16="http://schemas.microsoft.com/office/drawing/2014/main" id="{1BD1A543-5EA8-8303-5ADD-A618A726B6EB}"/>
              </a:ext>
            </a:extLst>
          </p:cNvPr>
          <p:cNvSpPr>
            <a:spLocks noGrp="1"/>
          </p:cNvSpPr>
          <p:nvPr>
            <p:ph type="ftr" sz="quarter" idx="11"/>
          </p:nvPr>
        </p:nvSpPr>
        <p:spPr>
          <a:xfrm>
            <a:off x="642796" y="6318250"/>
            <a:ext cx="9464040" cy="365125"/>
          </a:xfrm>
        </p:spPr>
        <p:txBody>
          <a:bodyPr/>
          <a:lstStyle>
            <a:lvl1pPr>
              <a:defRPr sz="900">
                <a:solidFill>
                  <a:schemeClr val="bg1">
                    <a:lumMod val="50000"/>
                  </a:schemeClr>
                </a:solidFill>
              </a:defRPr>
            </a:lvl1pPr>
          </a:lstStyle>
          <a:p>
            <a:endParaRPr lang="en-GB"/>
          </a:p>
        </p:txBody>
      </p:sp>
      <p:sp>
        <p:nvSpPr>
          <p:cNvPr id="7" name="Slide Number Placeholder 10">
            <a:extLst>
              <a:ext uri="{FF2B5EF4-FFF2-40B4-BE49-F238E27FC236}">
                <a16:creationId xmlns:a16="http://schemas.microsoft.com/office/drawing/2014/main" id="{19C5502E-2047-75A1-4B54-0F988427FB9B}"/>
              </a:ext>
            </a:extLst>
          </p:cNvPr>
          <p:cNvSpPr>
            <a:spLocks noGrp="1"/>
          </p:cNvSpPr>
          <p:nvPr>
            <p:ph type="sldNum" sz="quarter" idx="4"/>
          </p:nvPr>
        </p:nvSpPr>
        <p:spPr>
          <a:xfrm>
            <a:off x="179386" y="6318250"/>
            <a:ext cx="366714" cy="365125"/>
          </a:xfrm>
          <a:prstGeom prst="rect">
            <a:avLst/>
          </a:prstGeom>
        </p:spPr>
        <p:txBody>
          <a:bodyPr vert="horz" lIns="0" tIns="0" rIns="0" bIns="0" rtlCol="0" anchor="b"/>
          <a:lstStyle>
            <a:lvl1pPr algn="l">
              <a:defRPr sz="900">
                <a:solidFill>
                  <a:schemeClr val="bg1">
                    <a:lumMod val="50000"/>
                  </a:schemeClr>
                </a:solidFill>
              </a:defRPr>
            </a:lvl1pPr>
          </a:lstStyle>
          <a:p>
            <a:fld id="{DDF71BC8-773F-4A54-968E-450E29C75AD4}" type="slidenum">
              <a:rPr lang="en-GB" smtClean="0"/>
              <a:pPr/>
              <a:t>‹#›</a:t>
            </a:fld>
            <a:endParaRPr lang="en-GB"/>
          </a:p>
        </p:txBody>
      </p:sp>
      <p:sp>
        <p:nvSpPr>
          <p:cNvPr id="9" name="Text Placeholder 8">
            <a:extLst>
              <a:ext uri="{FF2B5EF4-FFF2-40B4-BE49-F238E27FC236}">
                <a16:creationId xmlns:a16="http://schemas.microsoft.com/office/drawing/2014/main" id="{7E8069EB-A80A-FBDB-8EED-94482BDCC19F}"/>
              </a:ext>
            </a:extLst>
          </p:cNvPr>
          <p:cNvSpPr>
            <a:spLocks noGrp="1"/>
          </p:cNvSpPr>
          <p:nvPr>
            <p:ph type="body" sz="quarter" idx="12" hasCustomPrompt="1"/>
          </p:nvPr>
        </p:nvSpPr>
        <p:spPr>
          <a:xfrm>
            <a:off x="642796" y="5884092"/>
            <a:ext cx="9464040" cy="365760"/>
          </a:xfrm>
        </p:spPr>
        <p:txBody>
          <a:bodyPr anchor="b">
            <a:normAutofit/>
          </a:bodyPr>
          <a:lstStyle>
            <a:lvl1pPr marL="0" indent="0" algn="l">
              <a:buNone/>
              <a:defRPr sz="900">
                <a:solidFill>
                  <a:schemeClr val="bg1">
                    <a:lumMod val="50000"/>
                  </a:schemeClr>
                </a:solidFill>
              </a:defRPr>
            </a:lvl1pPr>
          </a:lstStyle>
          <a:p>
            <a:pPr lvl="0"/>
            <a:r>
              <a:rPr lang="en-US"/>
              <a:t>Source </a:t>
            </a:r>
          </a:p>
        </p:txBody>
      </p:sp>
      <p:sp>
        <p:nvSpPr>
          <p:cNvPr id="8" name="Text Placeholder 7">
            <a:extLst>
              <a:ext uri="{FF2B5EF4-FFF2-40B4-BE49-F238E27FC236}">
                <a16:creationId xmlns:a16="http://schemas.microsoft.com/office/drawing/2014/main" id="{9E8BCAC4-3C43-F2C0-B838-17CF75BCC469}"/>
              </a:ext>
            </a:extLst>
          </p:cNvPr>
          <p:cNvSpPr>
            <a:spLocks noGrp="1"/>
          </p:cNvSpPr>
          <p:nvPr>
            <p:ph type="body" sz="quarter" idx="13" hasCustomPrompt="1"/>
          </p:nvPr>
        </p:nvSpPr>
        <p:spPr>
          <a:xfrm>
            <a:off x="179386" y="880946"/>
            <a:ext cx="11832336" cy="301752"/>
          </a:xfrm>
        </p:spPr>
        <p:txBody>
          <a:bodyPr>
            <a:normAutofit/>
          </a:bodyPr>
          <a:lstStyle>
            <a:lvl1pPr marL="0" indent="0">
              <a:buNone/>
              <a:defRPr sz="1600">
                <a:solidFill>
                  <a:schemeClr val="tx2"/>
                </a:solidFill>
              </a:defRPr>
            </a:lvl1pPr>
          </a:lstStyle>
          <a:p>
            <a:pPr lvl="0"/>
            <a:r>
              <a:rPr lang="en-US"/>
              <a:t>Add subtitle here</a:t>
            </a:r>
          </a:p>
        </p:txBody>
      </p:sp>
    </p:spTree>
    <p:extLst>
      <p:ext uri="{BB962C8B-B14F-4D97-AF65-F5344CB8AC3E}">
        <p14:creationId xmlns:p14="http://schemas.microsoft.com/office/powerpoint/2010/main" val="213861397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FD1732F-D529-B665-D527-E7EA5A8E207F}"/>
              </a:ext>
            </a:extLst>
          </p:cNvPr>
          <p:cNvGraphicFramePr>
            <a:graphicFrameLocks noChangeAspect="1"/>
          </p:cNvGraphicFramePr>
          <p:nvPr userDrawn="1">
            <p:custDataLst>
              <p:tags r:id="rId1"/>
            </p:custDataLst>
            <p:extLst>
              <p:ext uri="{D42A27DB-BD31-4B8C-83A1-F6EECF244321}">
                <p14:modId xmlns:p14="http://schemas.microsoft.com/office/powerpoint/2010/main" val="30039128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Object 3" hidden="1">
                        <a:extLst>
                          <a:ext uri="{FF2B5EF4-FFF2-40B4-BE49-F238E27FC236}">
                            <a16:creationId xmlns:a16="http://schemas.microsoft.com/office/drawing/2014/main" id="{CFD1732F-D529-B665-D527-E7EA5A8E207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Chart Placeholder 6">
            <a:extLst>
              <a:ext uri="{FF2B5EF4-FFF2-40B4-BE49-F238E27FC236}">
                <a16:creationId xmlns:a16="http://schemas.microsoft.com/office/drawing/2014/main" id="{2E923E0E-949B-145E-D874-7C67CCC76398}"/>
              </a:ext>
            </a:extLst>
          </p:cNvPr>
          <p:cNvSpPr>
            <a:spLocks noGrp="1"/>
          </p:cNvSpPr>
          <p:nvPr>
            <p:ph type="chart" sz="quarter" idx="15"/>
          </p:nvPr>
        </p:nvSpPr>
        <p:spPr>
          <a:xfrm>
            <a:off x="179388" y="2277841"/>
            <a:ext cx="11831638" cy="3422935"/>
          </a:xfrm>
        </p:spPr>
        <p:txBody>
          <a:bodyPr anchor="ctr"/>
          <a:lstStyle>
            <a:lvl1pPr marL="0" indent="0" algn="ctr">
              <a:buNone/>
              <a:defRPr>
                <a:latin typeface="+mn-lt"/>
              </a:defRPr>
            </a:lvl1pPr>
          </a:lstStyle>
          <a:p>
            <a:r>
              <a:rPr lang="en-US"/>
              <a:t>Click icon to add chart</a:t>
            </a:r>
          </a:p>
        </p:txBody>
      </p:sp>
      <p:sp>
        <p:nvSpPr>
          <p:cNvPr id="12" name="Text Placeholder 11">
            <a:extLst>
              <a:ext uri="{FF2B5EF4-FFF2-40B4-BE49-F238E27FC236}">
                <a16:creationId xmlns:a16="http://schemas.microsoft.com/office/drawing/2014/main" id="{B9D8AC9A-FBF2-3F13-4558-33413AB80C8F}"/>
              </a:ext>
            </a:extLst>
          </p:cNvPr>
          <p:cNvSpPr>
            <a:spLocks noGrp="1"/>
          </p:cNvSpPr>
          <p:nvPr>
            <p:ph type="body" sz="quarter" idx="16" hasCustomPrompt="1"/>
          </p:nvPr>
        </p:nvSpPr>
        <p:spPr>
          <a:xfrm>
            <a:off x="179386" y="1339912"/>
            <a:ext cx="11832336" cy="303369"/>
          </a:xfrm>
        </p:spPr>
        <p:txBody>
          <a:bodyPr anchor="b">
            <a:normAutofit/>
          </a:bodyPr>
          <a:lstStyle>
            <a:lvl1pPr marL="0" indent="0">
              <a:lnSpc>
                <a:spcPct val="100000"/>
              </a:lnSpc>
              <a:spcBef>
                <a:spcPts val="0"/>
              </a:spcBef>
              <a:buNone/>
              <a:defRPr sz="1200" b="1">
                <a:solidFill>
                  <a:schemeClr val="tx1"/>
                </a:solidFill>
                <a:latin typeface="+mn-lt"/>
                <a:sym typeface="Source Sans Pro" panose="020B0503030403020204" pitchFamily="34" charset="0"/>
              </a:defRPr>
            </a:lvl1pPr>
            <a:lvl2pPr marL="180000" indent="0">
              <a:buNone/>
              <a:defRPr/>
            </a:lvl2pPr>
            <a:lvl3pPr marL="360000" indent="0">
              <a:buNone/>
              <a:defRPr/>
            </a:lvl3pPr>
            <a:lvl4pPr marL="540000" indent="0">
              <a:buNone/>
              <a:defRPr/>
            </a:lvl4pPr>
            <a:lvl5pPr marL="720000" indent="0">
              <a:buNone/>
              <a:defRPr/>
            </a:lvl5pPr>
          </a:lstStyle>
          <a:p>
            <a:pPr lvl="0"/>
            <a:r>
              <a:rPr lang="en-US"/>
              <a:t>Chart Header</a:t>
            </a:r>
          </a:p>
        </p:txBody>
      </p:sp>
      <p:cxnSp>
        <p:nvCxnSpPr>
          <p:cNvPr id="14" name="Straight Connector 13">
            <a:extLst>
              <a:ext uri="{FF2B5EF4-FFF2-40B4-BE49-F238E27FC236}">
                <a16:creationId xmlns:a16="http://schemas.microsoft.com/office/drawing/2014/main" id="{9ED6DA57-F044-E4E9-B09C-CBC65D706C40}"/>
              </a:ext>
            </a:extLst>
          </p:cNvPr>
          <p:cNvCxnSpPr>
            <a:cxnSpLocks/>
          </p:cNvCxnSpPr>
          <p:nvPr userDrawn="1"/>
        </p:nvCxnSpPr>
        <p:spPr>
          <a:xfrm>
            <a:off x="179386" y="1688546"/>
            <a:ext cx="11832336"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6" name="Text Placeholder 11">
            <a:extLst>
              <a:ext uri="{FF2B5EF4-FFF2-40B4-BE49-F238E27FC236}">
                <a16:creationId xmlns:a16="http://schemas.microsoft.com/office/drawing/2014/main" id="{92F5E6C1-4525-B790-87D5-2A7FE6228523}"/>
              </a:ext>
            </a:extLst>
          </p:cNvPr>
          <p:cNvSpPr>
            <a:spLocks noGrp="1"/>
          </p:cNvSpPr>
          <p:nvPr>
            <p:ph type="body" sz="quarter" idx="17" hasCustomPrompt="1"/>
          </p:nvPr>
        </p:nvSpPr>
        <p:spPr>
          <a:xfrm>
            <a:off x="179386" y="1801639"/>
            <a:ext cx="11832336" cy="369332"/>
          </a:xfrm>
        </p:spPr>
        <p:txBody>
          <a:bodyPr anchor="t">
            <a:noAutofit/>
          </a:bodyPr>
          <a:lstStyle>
            <a:lvl1pPr marL="0" indent="0">
              <a:lnSpc>
                <a:spcPct val="100000"/>
              </a:lnSpc>
              <a:spcBef>
                <a:spcPts val="0"/>
              </a:spcBef>
              <a:buNone/>
              <a:defRPr sz="1200" b="0">
                <a:solidFill>
                  <a:schemeClr val="tx1"/>
                </a:solidFill>
                <a:latin typeface="+mn-lt"/>
                <a:sym typeface="Source Sans Pro" panose="020B0503030403020204" pitchFamily="34" charset="0"/>
              </a:defRPr>
            </a:lvl1pPr>
            <a:lvl2pPr marL="180000" indent="0">
              <a:buNone/>
              <a:defRPr/>
            </a:lvl2pPr>
            <a:lvl3pPr marL="360000" indent="0">
              <a:buNone/>
              <a:defRPr/>
            </a:lvl3pPr>
            <a:lvl4pPr marL="540000" indent="0">
              <a:buNone/>
              <a:defRPr/>
            </a:lvl4pPr>
            <a:lvl5pPr marL="720000" indent="0">
              <a:buNone/>
              <a:defRPr/>
            </a:lvl5pPr>
          </a:lstStyle>
          <a:p>
            <a:pPr lvl="0"/>
            <a:r>
              <a:rPr lang="en-US"/>
              <a:t>Axis titles: left aligned; same font size as axis labels; specifies precisely the data shown on chart; unit, year shown in parentheses on separate line if axis title is long (e.g., $M, 2020)</a:t>
            </a:r>
          </a:p>
        </p:txBody>
      </p:sp>
      <p:sp>
        <p:nvSpPr>
          <p:cNvPr id="15" name="Text Placeholder 12">
            <a:extLst>
              <a:ext uri="{FF2B5EF4-FFF2-40B4-BE49-F238E27FC236}">
                <a16:creationId xmlns:a16="http://schemas.microsoft.com/office/drawing/2014/main" id="{20A47F62-FC74-40DE-B177-DEA68AA0A02A}"/>
              </a:ext>
            </a:extLst>
          </p:cNvPr>
          <p:cNvSpPr>
            <a:spLocks noGrp="1"/>
          </p:cNvSpPr>
          <p:nvPr>
            <p:ph type="body" sz="quarter" idx="14" hasCustomPrompt="1"/>
          </p:nvPr>
        </p:nvSpPr>
        <p:spPr>
          <a:xfrm>
            <a:off x="179387" y="880946"/>
            <a:ext cx="11831638" cy="303369"/>
          </a:xfrm>
        </p:spPr>
        <p:txBody>
          <a:bodyPr>
            <a:normAutofit/>
          </a:bodyPr>
          <a:lstStyle>
            <a:lvl1pPr marL="0" indent="0">
              <a:spcBef>
                <a:spcPts val="0"/>
              </a:spcBef>
              <a:buFont typeface="Arial" panose="020B0604020202020204" pitchFamily="34" charset="0"/>
              <a:buNone/>
              <a:defRPr sz="1600">
                <a:solidFill>
                  <a:schemeClr val="tx2"/>
                </a:solidFill>
                <a:latin typeface="+mn-lt"/>
                <a:sym typeface="Source Sans Pro" panose="020B0503030403020204" pitchFamily="34" charset="0"/>
              </a:defRPr>
            </a:lvl1pPr>
            <a:lvl2pPr marL="180000" indent="0">
              <a:buFont typeface="Arial" panose="020B0604020202020204" pitchFamily="34" charset="0"/>
              <a:buNone/>
              <a:defRPr/>
            </a:lvl2pPr>
            <a:lvl3pPr marL="360000" indent="0">
              <a:buFont typeface="Arial" panose="020B0604020202020204" pitchFamily="34" charset="0"/>
              <a:buNone/>
              <a:defRPr/>
            </a:lvl3pPr>
            <a:lvl4pPr marL="540000" indent="0">
              <a:buFont typeface="Arial" panose="020B0604020202020204" pitchFamily="34" charset="0"/>
              <a:buNone/>
              <a:defRPr/>
            </a:lvl4pPr>
            <a:lvl5pPr marL="720000" indent="0">
              <a:buFont typeface="Arial" panose="020B0604020202020204" pitchFamily="34" charset="0"/>
              <a:buNone/>
              <a:defRPr/>
            </a:lvl5pPr>
          </a:lstStyle>
          <a:p>
            <a:pPr lvl="0"/>
            <a:r>
              <a:rPr lang="en-US"/>
              <a:t>Add subtitle here</a:t>
            </a:r>
          </a:p>
        </p:txBody>
      </p:sp>
      <p:sp>
        <p:nvSpPr>
          <p:cNvPr id="5" name="Title 4">
            <a:extLst>
              <a:ext uri="{FF2B5EF4-FFF2-40B4-BE49-F238E27FC236}">
                <a16:creationId xmlns:a16="http://schemas.microsoft.com/office/drawing/2014/main" id="{4F2BE3C1-31C0-1E13-2469-94820B6DF839}"/>
              </a:ext>
            </a:extLst>
          </p:cNvPr>
          <p:cNvSpPr>
            <a:spLocks noGrp="1"/>
          </p:cNvSpPr>
          <p:nvPr>
            <p:ph type="title"/>
          </p:nvPr>
        </p:nvSpPr>
        <p:spPr/>
        <p:txBody>
          <a:bodyPr/>
          <a:lstStyle/>
          <a:p>
            <a:r>
              <a:rPr lang="en-US"/>
              <a:t>Click to edit Master title style</a:t>
            </a:r>
            <a:endParaRPr lang="en-GB"/>
          </a:p>
        </p:txBody>
      </p:sp>
      <p:sp>
        <p:nvSpPr>
          <p:cNvPr id="9" name="Footer Placeholder 8">
            <a:extLst>
              <a:ext uri="{FF2B5EF4-FFF2-40B4-BE49-F238E27FC236}">
                <a16:creationId xmlns:a16="http://schemas.microsoft.com/office/drawing/2014/main" id="{B2010E47-5549-2AA6-42EB-009A7BB5FFAC}"/>
              </a:ext>
            </a:extLst>
          </p:cNvPr>
          <p:cNvSpPr>
            <a:spLocks noGrp="1"/>
          </p:cNvSpPr>
          <p:nvPr>
            <p:ph type="ftr" sz="quarter" idx="18"/>
          </p:nvPr>
        </p:nvSpPr>
        <p:spPr/>
        <p:txBody>
          <a:bodyPr/>
          <a:lstStyle>
            <a:lvl1pPr>
              <a:defRPr sz="900"/>
            </a:lvl1pPr>
          </a:lstStyle>
          <a:p>
            <a:endParaRPr lang="en-GB"/>
          </a:p>
        </p:txBody>
      </p:sp>
      <p:sp>
        <p:nvSpPr>
          <p:cNvPr id="10" name="Slide Number Placeholder 9">
            <a:extLst>
              <a:ext uri="{FF2B5EF4-FFF2-40B4-BE49-F238E27FC236}">
                <a16:creationId xmlns:a16="http://schemas.microsoft.com/office/drawing/2014/main" id="{D5573A97-6FAA-445D-8CA4-66EF27D8B790}"/>
              </a:ext>
            </a:extLst>
          </p:cNvPr>
          <p:cNvSpPr>
            <a:spLocks noGrp="1"/>
          </p:cNvSpPr>
          <p:nvPr>
            <p:ph type="sldNum" sz="quarter" idx="19"/>
          </p:nvPr>
        </p:nvSpPr>
        <p:spPr/>
        <p:txBody>
          <a:bodyPr/>
          <a:lstStyle>
            <a:lvl1pPr>
              <a:defRPr sz="900"/>
            </a:lvl1pPr>
          </a:lstStyle>
          <a:p>
            <a:fld id="{DDF71BC8-773F-4A54-968E-450E29C75AD4}" type="slidenum">
              <a:rPr lang="en-GB" smtClean="0"/>
              <a:pPr/>
              <a:t>‹#›</a:t>
            </a:fld>
            <a:endParaRPr lang="en-GB"/>
          </a:p>
        </p:txBody>
      </p:sp>
      <p:sp>
        <p:nvSpPr>
          <p:cNvPr id="11" name="Text Placeholder 8">
            <a:extLst>
              <a:ext uri="{FF2B5EF4-FFF2-40B4-BE49-F238E27FC236}">
                <a16:creationId xmlns:a16="http://schemas.microsoft.com/office/drawing/2014/main" id="{F39BD915-247A-4362-28F3-0FC61338A8AB}"/>
              </a:ext>
            </a:extLst>
          </p:cNvPr>
          <p:cNvSpPr>
            <a:spLocks noGrp="1"/>
          </p:cNvSpPr>
          <p:nvPr>
            <p:ph type="body" sz="quarter" idx="12" hasCustomPrompt="1"/>
          </p:nvPr>
        </p:nvSpPr>
        <p:spPr>
          <a:xfrm>
            <a:off x="642796" y="5884092"/>
            <a:ext cx="9464040" cy="365760"/>
          </a:xfrm>
        </p:spPr>
        <p:txBody>
          <a:bodyPr anchor="b">
            <a:normAutofit/>
          </a:bodyPr>
          <a:lstStyle>
            <a:lvl1pPr marL="0" indent="0" algn="l">
              <a:buNone/>
              <a:defRPr sz="900">
                <a:solidFill>
                  <a:schemeClr val="bg1">
                    <a:lumMod val="50000"/>
                  </a:schemeClr>
                </a:solidFill>
              </a:defRPr>
            </a:lvl1pPr>
          </a:lstStyle>
          <a:p>
            <a:pPr lvl="0"/>
            <a:r>
              <a:rPr lang="en-US"/>
              <a:t>Source </a:t>
            </a:r>
          </a:p>
        </p:txBody>
      </p:sp>
    </p:spTree>
    <p:extLst>
      <p:ext uri="{BB962C8B-B14F-4D97-AF65-F5344CB8AC3E}">
        <p14:creationId xmlns:p14="http://schemas.microsoft.com/office/powerpoint/2010/main" val="52971843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hart Layout with no Header">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70FCC00E-F3E1-DB7E-ADA8-2640A4A1B766}"/>
              </a:ext>
            </a:extLst>
          </p:cNvPr>
          <p:cNvGraphicFramePr>
            <a:graphicFrameLocks noChangeAspect="1"/>
          </p:cNvGraphicFramePr>
          <p:nvPr userDrawn="1">
            <p:custDataLst>
              <p:tags r:id="rId1"/>
            </p:custDataLst>
            <p:extLst>
              <p:ext uri="{D42A27DB-BD31-4B8C-83A1-F6EECF244321}">
                <p14:modId xmlns:p14="http://schemas.microsoft.com/office/powerpoint/2010/main" val="579437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8" imgH="377" progId="TCLayout.ActiveDocument.1">
                  <p:embed/>
                </p:oleObj>
              </mc:Choice>
              <mc:Fallback>
                <p:oleObj name="think-cell Slide" r:id="rId3" imgW="378" imgH="377" progId="TCLayout.ActiveDocument.1">
                  <p:embed/>
                  <p:pic>
                    <p:nvPicPr>
                      <p:cNvPr id="15" name="Object 14" hidden="1">
                        <a:extLst>
                          <a:ext uri="{FF2B5EF4-FFF2-40B4-BE49-F238E27FC236}">
                            <a16:creationId xmlns:a16="http://schemas.microsoft.com/office/drawing/2014/main" id="{70FCC00E-F3E1-DB7E-ADA8-2640A4A1B76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Chart Placeholder 6">
            <a:extLst>
              <a:ext uri="{FF2B5EF4-FFF2-40B4-BE49-F238E27FC236}">
                <a16:creationId xmlns:a16="http://schemas.microsoft.com/office/drawing/2014/main" id="{2E923E0E-949B-145E-D874-7C67CCC76398}"/>
              </a:ext>
            </a:extLst>
          </p:cNvPr>
          <p:cNvSpPr>
            <a:spLocks noGrp="1"/>
          </p:cNvSpPr>
          <p:nvPr>
            <p:ph type="chart" sz="quarter" idx="15"/>
          </p:nvPr>
        </p:nvSpPr>
        <p:spPr>
          <a:xfrm>
            <a:off x="179388" y="1830601"/>
            <a:ext cx="11831638" cy="3870175"/>
          </a:xfrm>
        </p:spPr>
        <p:txBody>
          <a:bodyPr anchor="ctr"/>
          <a:lstStyle>
            <a:lvl1pPr marL="0" indent="0" algn="ctr">
              <a:buNone/>
              <a:defRPr>
                <a:latin typeface="+mn-lt"/>
              </a:defRPr>
            </a:lvl1pPr>
          </a:lstStyle>
          <a:p>
            <a:r>
              <a:rPr lang="en-US"/>
              <a:t>Click icon to add chart</a:t>
            </a:r>
          </a:p>
        </p:txBody>
      </p:sp>
      <p:sp>
        <p:nvSpPr>
          <p:cNvPr id="2" name="Title 1">
            <a:extLst>
              <a:ext uri="{FF2B5EF4-FFF2-40B4-BE49-F238E27FC236}">
                <a16:creationId xmlns:a16="http://schemas.microsoft.com/office/drawing/2014/main" id="{31D7B314-D945-1DE7-1A24-F019781FE5DA}"/>
              </a:ext>
            </a:extLst>
          </p:cNvPr>
          <p:cNvSpPr>
            <a:spLocks noGrp="1"/>
          </p:cNvSpPr>
          <p:nvPr>
            <p:ph type="title"/>
          </p:nvPr>
        </p:nvSpPr>
        <p:spPr/>
        <p:txBody>
          <a:bodyPr vert="horz"/>
          <a:lstStyle>
            <a:lvl1pPr>
              <a:defRPr>
                <a:latin typeface="+mj-lt"/>
                <a:sym typeface="Source Sans Pro" panose="020B0503030403020204" pitchFamily="34" charset="0"/>
              </a:defRPr>
            </a:lvl1pPr>
          </a:lstStyle>
          <a:p>
            <a:r>
              <a:rPr lang="en-US"/>
              <a:t>Click to edit Master title style</a:t>
            </a:r>
          </a:p>
        </p:txBody>
      </p:sp>
      <p:sp>
        <p:nvSpPr>
          <p:cNvPr id="12" name="Text Placeholder 12">
            <a:extLst>
              <a:ext uri="{FF2B5EF4-FFF2-40B4-BE49-F238E27FC236}">
                <a16:creationId xmlns:a16="http://schemas.microsoft.com/office/drawing/2014/main" id="{0652D6C5-3959-8F15-F50B-CCFC7F32B141}"/>
              </a:ext>
            </a:extLst>
          </p:cNvPr>
          <p:cNvSpPr>
            <a:spLocks noGrp="1"/>
          </p:cNvSpPr>
          <p:nvPr>
            <p:ph type="body" sz="quarter" idx="14" hasCustomPrompt="1"/>
          </p:nvPr>
        </p:nvSpPr>
        <p:spPr>
          <a:xfrm>
            <a:off x="179387" y="880946"/>
            <a:ext cx="11831638" cy="303369"/>
          </a:xfrm>
        </p:spPr>
        <p:txBody>
          <a:bodyPr>
            <a:normAutofit/>
          </a:bodyPr>
          <a:lstStyle>
            <a:lvl1pPr marL="0" indent="0">
              <a:spcBef>
                <a:spcPts val="0"/>
              </a:spcBef>
              <a:buFont typeface="Arial" panose="020B0604020202020204" pitchFamily="34" charset="0"/>
              <a:buNone/>
              <a:defRPr sz="1600">
                <a:solidFill>
                  <a:schemeClr val="tx2"/>
                </a:solidFill>
                <a:latin typeface="+mn-lt"/>
                <a:sym typeface="Source Sans Pro" panose="020B0503030403020204" pitchFamily="34" charset="0"/>
              </a:defRPr>
            </a:lvl1pPr>
            <a:lvl2pPr marL="180000" indent="0">
              <a:buFont typeface="Arial" panose="020B0604020202020204" pitchFamily="34" charset="0"/>
              <a:buNone/>
              <a:defRPr/>
            </a:lvl2pPr>
            <a:lvl3pPr marL="360000" indent="0">
              <a:buFont typeface="Arial" panose="020B0604020202020204" pitchFamily="34" charset="0"/>
              <a:buNone/>
              <a:defRPr/>
            </a:lvl3pPr>
            <a:lvl4pPr marL="540000" indent="0">
              <a:buFont typeface="Arial" panose="020B0604020202020204" pitchFamily="34" charset="0"/>
              <a:buNone/>
              <a:defRPr/>
            </a:lvl4pPr>
            <a:lvl5pPr marL="720000" indent="0">
              <a:buFont typeface="Arial" panose="020B0604020202020204" pitchFamily="34" charset="0"/>
              <a:buNone/>
              <a:defRPr/>
            </a:lvl5pPr>
          </a:lstStyle>
          <a:p>
            <a:pPr lvl="0"/>
            <a:r>
              <a:rPr lang="en-US"/>
              <a:t>Add subtitle here</a:t>
            </a:r>
          </a:p>
        </p:txBody>
      </p:sp>
      <p:sp>
        <p:nvSpPr>
          <p:cNvPr id="13" name="Text Placeholder 11">
            <a:extLst>
              <a:ext uri="{FF2B5EF4-FFF2-40B4-BE49-F238E27FC236}">
                <a16:creationId xmlns:a16="http://schemas.microsoft.com/office/drawing/2014/main" id="{AB3606BA-72E4-1DF7-EB81-AB3B9ACA8EFE}"/>
              </a:ext>
            </a:extLst>
          </p:cNvPr>
          <p:cNvSpPr>
            <a:spLocks noGrp="1"/>
          </p:cNvSpPr>
          <p:nvPr>
            <p:ph type="body" sz="quarter" idx="17" hasCustomPrompt="1"/>
          </p:nvPr>
        </p:nvSpPr>
        <p:spPr>
          <a:xfrm>
            <a:off x="179386" y="1339911"/>
            <a:ext cx="11832336" cy="365760"/>
          </a:xfrm>
        </p:spPr>
        <p:txBody>
          <a:bodyPr anchor="t">
            <a:noAutofit/>
          </a:bodyPr>
          <a:lstStyle>
            <a:lvl1pPr marL="0" indent="0">
              <a:lnSpc>
                <a:spcPct val="100000"/>
              </a:lnSpc>
              <a:spcBef>
                <a:spcPts val="0"/>
              </a:spcBef>
              <a:buNone/>
              <a:defRPr sz="1200" b="0">
                <a:solidFill>
                  <a:schemeClr val="tx1"/>
                </a:solidFill>
                <a:latin typeface="+mn-lt"/>
                <a:sym typeface="Source Sans Pro" panose="020B0503030403020204" pitchFamily="34" charset="0"/>
              </a:defRPr>
            </a:lvl1pPr>
            <a:lvl2pPr marL="180000" indent="0">
              <a:buNone/>
              <a:defRPr/>
            </a:lvl2pPr>
            <a:lvl3pPr marL="360000" indent="0">
              <a:buNone/>
              <a:defRPr/>
            </a:lvl3pPr>
            <a:lvl4pPr marL="540000" indent="0">
              <a:buNone/>
              <a:defRPr/>
            </a:lvl4pPr>
            <a:lvl5pPr marL="720000" indent="0">
              <a:buNone/>
              <a:defRPr/>
            </a:lvl5pPr>
          </a:lstStyle>
          <a:p>
            <a:pPr lvl="0"/>
            <a:r>
              <a:rPr lang="en-US"/>
              <a:t>Axis titles: left aligned; same font size as axis labels; specifies precisely the data shown on chart; unit, year shown in parentheses on separate line if axis title is long (e.g., $M, 2020)</a:t>
            </a:r>
          </a:p>
        </p:txBody>
      </p:sp>
      <p:sp>
        <p:nvSpPr>
          <p:cNvPr id="4" name="Footer Placeholder 3">
            <a:extLst>
              <a:ext uri="{FF2B5EF4-FFF2-40B4-BE49-F238E27FC236}">
                <a16:creationId xmlns:a16="http://schemas.microsoft.com/office/drawing/2014/main" id="{BC124CC9-DB10-9079-902B-0F568280D51E}"/>
              </a:ext>
            </a:extLst>
          </p:cNvPr>
          <p:cNvSpPr>
            <a:spLocks noGrp="1"/>
          </p:cNvSpPr>
          <p:nvPr>
            <p:ph type="ftr" sz="quarter" idx="18"/>
          </p:nvPr>
        </p:nvSpPr>
        <p:spPr/>
        <p:txBody>
          <a:bodyPr/>
          <a:lstStyle>
            <a:lvl1pPr>
              <a:defRPr sz="900"/>
            </a:lvl1pPr>
          </a:lstStyle>
          <a:p>
            <a:endParaRPr lang="en-GB"/>
          </a:p>
        </p:txBody>
      </p:sp>
      <p:sp>
        <p:nvSpPr>
          <p:cNvPr id="5" name="Slide Number Placeholder 4">
            <a:extLst>
              <a:ext uri="{FF2B5EF4-FFF2-40B4-BE49-F238E27FC236}">
                <a16:creationId xmlns:a16="http://schemas.microsoft.com/office/drawing/2014/main" id="{84916EC3-F837-995A-2801-AFDD39E61B12}"/>
              </a:ext>
            </a:extLst>
          </p:cNvPr>
          <p:cNvSpPr>
            <a:spLocks noGrp="1"/>
          </p:cNvSpPr>
          <p:nvPr>
            <p:ph type="sldNum" sz="quarter" idx="19"/>
          </p:nvPr>
        </p:nvSpPr>
        <p:spPr/>
        <p:txBody>
          <a:bodyPr/>
          <a:lstStyle>
            <a:lvl1pPr>
              <a:defRPr sz="900"/>
            </a:lvl1pPr>
          </a:lstStyle>
          <a:p>
            <a:fld id="{DDF71BC8-773F-4A54-968E-450E29C75AD4}" type="slidenum">
              <a:rPr lang="en-GB" smtClean="0"/>
              <a:pPr/>
              <a:t>‹#›</a:t>
            </a:fld>
            <a:endParaRPr lang="en-GB"/>
          </a:p>
        </p:txBody>
      </p:sp>
      <p:sp>
        <p:nvSpPr>
          <p:cNvPr id="10" name="Text Placeholder 8">
            <a:extLst>
              <a:ext uri="{FF2B5EF4-FFF2-40B4-BE49-F238E27FC236}">
                <a16:creationId xmlns:a16="http://schemas.microsoft.com/office/drawing/2014/main" id="{3B8DDF98-9B5F-1064-5461-3AE0AA9FA546}"/>
              </a:ext>
            </a:extLst>
          </p:cNvPr>
          <p:cNvSpPr>
            <a:spLocks noGrp="1"/>
          </p:cNvSpPr>
          <p:nvPr>
            <p:ph type="body" sz="quarter" idx="12" hasCustomPrompt="1"/>
          </p:nvPr>
        </p:nvSpPr>
        <p:spPr>
          <a:xfrm>
            <a:off x="642796" y="5884092"/>
            <a:ext cx="9464040" cy="365760"/>
          </a:xfrm>
        </p:spPr>
        <p:txBody>
          <a:bodyPr anchor="b">
            <a:normAutofit/>
          </a:bodyPr>
          <a:lstStyle>
            <a:lvl1pPr marL="0" indent="0" algn="l">
              <a:buNone/>
              <a:defRPr sz="900">
                <a:solidFill>
                  <a:schemeClr val="bg1">
                    <a:lumMod val="50000"/>
                  </a:schemeClr>
                </a:solidFill>
              </a:defRPr>
            </a:lvl1pPr>
          </a:lstStyle>
          <a:p>
            <a:pPr lvl="0"/>
            <a:r>
              <a:rPr lang="en-US"/>
              <a:t>Source </a:t>
            </a:r>
          </a:p>
        </p:txBody>
      </p:sp>
    </p:spTree>
    <p:extLst>
      <p:ext uri="{BB962C8B-B14F-4D97-AF65-F5344CB8AC3E}">
        <p14:creationId xmlns:p14="http://schemas.microsoft.com/office/powerpoint/2010/main" val="4663666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2_Title Slide (Pictur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0EC0E1E-A8F5-4DF8-9FD0-5E4DC243975C}"/>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r="22493"/>
          <a:stretch/>
        </p:blipFill>
        <p:spPr>
          <a:xfrm>
            <a:off x="2630735" y="0"/>
            <a:ext cx="9561266" cy="6858000"/>
          </a:xfrm>
          <a:prstGeom prst="rect">
            <a:avLst/>
          </a:prstGeom>
        </p:spPr>
      </p:pic>
      <p:sp>
        <p:nvSpPr>
          <p:cNvPr id="14" name="Rectangle 13">
            <a:extLst>
              <a:ext uri="{FF2B5EF4-FFF2-40B4-BE49-F238E27FC236}">
                <a16:creationId xmlns:a16="http://schemas.microsoft.com/office/drawing/2014/main" id="{F7799E56-D252-47DF-8820-3D69946D2BBF}"/>
              </a:ext>
            </a:extLst>
          </p:cNvPr>
          <p:cNvSpPr/>
          <p:nvPr/>
        </p:nvSpPr>
        <p:spPr>
          <a:xfrm>
            <a:off x="0" y="0"/>
            <a:ext cx="2630734"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a:ln>
                <a:noFill/>
              </a:ln>
              <a:solidFill>
                <a:schemeClr val="bg1"/>
              </a:solidFill>
            </a:endParaRPr>
          </a:p>
        </p:txBody>
      </p:sp>
      <p:graphicFrame>
        <p:nvGraphicFramePr>
          <p:cNvPr id="8" name="Object 7" hidden="1">
            <a:extLst>
              <a:ext uri="{FF2B5EF4-FFF2-40B4-BE49-F238E27FC236}">
                <a16:creationId xmlns:a16="http://schemas.microsoft.com/office/drawing/2014/main" id="{82F0D3B3-FB4D-45BC-BE2E-E0ACC1635A4F}"/>
              </a:ext>
            </a:extLst>
          </p:cNvPr>
          <p:cNvGraphicFramePr>
            <a:graphicFrameLocks noChangeAspect="1"/>
          </p:cNvGraphicFramePr>
          <p:nvPr>
            <p:custDataLst>
              <p:tags r:id="rId1"/>
            </p:custDataLst>
            <p:extLst>
              <p:ext uri="{D42A27DB-BD31-4B8C-83A1-F6EECF244321}">
                <p14:modId xmlns:p14="http://schemas.microsoft.com/office/powerpoint/2010/main" val="7599066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8" name="Object 7" hidden="1">
                        <a:extLst>
                          <a:ext uri="{FF2B5EF4-FFF2-40B4-BE49-F238E27FC236}">
                            <a16:creationId xmlns:a16="http://schemas.microsoft.com/office/drawing/2014/main" id="{82F0D3B3-FB4D-45BC-BE2E-E0ACC1635A4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0D406DB-41A2-4933-86A0-0828F55DE1B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3600" b="1" i="0" baseline="0">
              <a:latin typeface="Century Gothic" panose="020B0502020202020204" pitchFamily="34" charset="0"/>
              <a:ea typeface="+mj-ea"/>
              <a:cs typeface="+mj-cs"/>
              <a:sym typeface="Century Gothic" panose="020B0502020202020204" pitchFamily="34" charset="0"/>
            </a:endParaRPr>
          </a:p>
        </p:txBody>
      </p:sp>
      <p:pic>
        <p:nvPicPr>
          <p:cNvPr id="11" name="Picture 10">
            <a:extLst>
              <a:ext uri="{FF2B5EF4-FFF2-40B4-BE49-F238E27FC236}">
                <a16:creationId xmlns:a16="http://schemas.microsoft.com/office/drawing/2014/main" id="{C3120233-AEF6-42E0-9CF1-0F9E8F091DE4}"/>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r="22493"/>
          <a:stretch/>
        </p:blipFill>
        <p:spPr>
          <a:xfrm>
            <a:off x="2630735" y="0"/>
            <a:ext cx="9561266" cy="6858000"/>
          </a:xfrm>
          <a:prstGeom prst="rect">
            <a:avLst/>
          </a:prstGeom>
        </p:spPr>
      </p:pic>
      <p:sp>
        <p:nvSpPr>
          <p:cNvPr id="9" name="Rectangle 8">
            <a:extLst>
              <a:ext uri="{FF2B5EF4-FFF2-40B4-BE49-F238E27FC236}">
                <a16:creationId xmlns:a16="http://schemas.microsoft.com/office/drawing/2014/main" id="{4E7F325B-F942-4209-8D57-CAA2C7E6C91F}"/>
              </a:ext>
            </a:extLst>
          </p:cNvPr>
          <p:cNvSpPr/>
          <p:nvPr/>
        </p:nvSpPr>
        <p:spPr>
          <a:xfrm>
            <a:off x="2007020" y="436074"/>
            <a:ext cx="4549724" cy="18923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a:ln>
                <a:noFill/>
              </a:ln>
              <a:solidFill>
                <a:schemeClr val="bg1"/>
              </a:solidFill>
            </a:endParaRPr>
          </a:p>
        </p:txBody>
      </p:sp>
      <p:sp>
        <p:nvSpPr>
          <p:cNvPr id="4" name="Rectangle 3">
            <a:extLst>
              <a:ext uri="{FF2B5EF4-FFF2-40B4-BE49-F238E27FC236}">
                <a16:creationId xmlns:a16="http://schemas.microsoft.com/office/drawing/2014/main" id="{03A9E883-9BB5-482C-A327-2D21B1564687}"/>
              </a:ext>
            </a:extLst>
          </p:cNvPr>
          <p:cNvSpPr/>
          <p:nvPr/>
        </p:nvSpPr>
        <p:spPr>
          <a:xfrm>
            <a:off x="0" y="0"/>
            <a:ext cx="2630734"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a:ln>
                <a:noFill/>
              </a:ln>
              <a:solidFill>
                <a:schemeClr val="bg1"/>
              </a:solidFill>
            </a:endParaRPr>
          </a:p>
        </p:txBody>
      </p:sp>
      <p:sp>
        <p:nvSpPr>
          <p:cNvPr id="2" name="Title 1">
            <a:extLst>
              <a:ext uri="{FF2B5EF4-FFF2-40B4-BE49-F238E27FC236}">
                <a16:creationId xmlns:a16="http://schemas.microsoft.com/office/drawing/2014/main" id="{08AF85F3-5290-4EBA-8B8A-DB6A01B381A6}"/>
              </a:ext>
            </a:extLst>
          </p:cNvPr>
          <p:cNvSpPr>
            <a:spLocks noGrp="1"/>
          </p:cNvSpPr>
          <p:nvPr>
            <p:ph type="ctrTitle" hasCustomPrompt="1"/>
          </p:nvPr>
        </p:nvSpPr>
        <p:spPr>
          <a:xfrm>
            <a:off x="348343" y="2051891"/>
            <a:ext cx="6371436" cy="1801524"/>
          </a:xfrm>
        </p:spPr>
        <p:txBody>
          <a:bodyPr vert="horz" anchor="b">
            <a:noAutofit/>
          </a:bodyPr>
          <a:lstStyle>
            <a:lvl1pPr algn="l">
              <a:defRPr sz="4000">
                <a:solidFill>
                  <a:schemeClr val="bg2"/>
                </a:solidFill>
                <a:latin typeface="Century Gothic" panose="020B0502020202020204" pitchFamily="34" charset="0"/>
              </a:defRPr>
            </a:lvl1pPr>
          </a:lstStyle>
          <a:p>
            <a:r>
              <a:rPr lang="en-US" noProof="0"/>
              <a:t>Click to edit master title style</a:t>
            </a:r>
          </a:p>
        </p:txBody>
      </p:sp>
      <p:sp>
        <p:nvSpPr>
          <p:cNvPr id="3" name="Subtitle 2">
            <a:extLst>
              <a:ext uri="{FF2B5EF4-FFF2-40B4-BE49-F238E27FC236}">
                <a16:creationId xmlns:a16="http://schemas.microsoft.com/office/drawing/2014/main" id="{FC3B1678-8578-485B-ABDD-36D8CF73E2D8}"/>
              </a:ext>
            </a:extLst>
          </p:cNvPr>
          <p:cNvSpPr>
            <a:spLocks noGrp="1"/>
          </p:cNvSpPr>
          <p:nvPr>
            <p:ph type="subTitle" idx="1" hasCustomPrompt="1"/>
          </p:nvPr>
        </p:nvSpPr>
        <p:spPr>
          <a:xfrm>
            <a:off x="348341" y="3940239"/>
            <a:ext cx="6371438" cy="349250"/>
          </a:xfrm>
        </p:spPr>
        <p:txBody>
          <a:bodyPr lIns="0" tIns="0" rIns="0" bIns="0" anchor="ctr">
            <a:noAutofit/>
          </a:bodyPr>
          <a:lstStyle>
            <a:lvl1pPr marL="0" indent="0" algn="l">
              <a:buNone/>
              <a:defRPr sz="2000">
                <a:solidFill>
                  <a:schemeClr val="bg2"/>
                </a:solidFill>
                <a:latin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pic>
        <p:nvPicPr>
          <p:cNvPr id="12" name="Picture 11" descr="A picture containing logo&#10;&#10;Description automatically generated">
            <a:extLst>
              <a:ext uri="{FF2B5EF4-FFF2-40B4-BE49-F238E27FC236}">
                <a16:creationId xmlns:a16="http://schemas.microsoft.com/office/drawing/2014/main" id="{FFB48E65-93C6-48D1-BD43-B2B468BB4B4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48341" y="348748"/>
            <a:ext cx="1856143" cy="1613595"/>
          </a:xfrm>
          <a:prstGeom prst="rect">
            <a:avLst/>
          </a:prstGeom>
        </p:spPr>
      </p:pic>
      <p:pic>
        <p:nvPicPr>
          <p:cNvPr id="15" name="Picture 14" descr="A picture containing logo&#10;&#10;Description automatically generated">
            <a:extLst>
              <a:ext uri="{FF2B5EF4-FFF2-40B4-BE49-F238E27FC236}">
                <a16:creationId xmlns:a16="http://schemas.microsoft.com/office/drawing/2014/main" id="{0B4AB395-0DA8-484D-9995-6ED3892C58F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48341" y="348748"/>
            <a:ext cx="1856143" cy="1613595"/>
          </a:xfrm>
          <a:prstGeom prst="rect">
            <a:avLst/>
          </a:prstGeom>
        </p:spPr>
      </p:pic>
    </p:spTree>
    <p:extLst>
      <p:ext uri="{BB962C8B-B14F-4D97-AF65-F5344CB8AC3E}">
        <p14:creationId xmlns:p14="http://schemas.microsoft.com/office/powerpoint/2010/main" val="2880646819"/>
      </p:ext>
    </p:extLst>
  </p:cSld>
  <p:clrMapOvr>
    <a:masterClrMapping/>
  </p:clrMapOvr>
  <p:hf hdr="0" dt="0"/>
  <p:extLst>
    <p:ext uri="{DCECCB84-F9BA-43D5-87BE-67443E8EF086}">
      <p15:sldGuideLst xmlns:p15="http://schemas.microsoft.com/office/powerpoint/2012/main">
        <p15:guide id="2" orient="horz" pos="674">
          <p15:clr>
            <a:srgbClr val="FBAE40"/>
          </p15:clr>
        </p15:guide>
        <p15:guide id="3" pos="4806">
          <p15:clr>
            <a:srgbClr val="FBAE40"/>
          </p15:clr>
        </p15:guide>
        <p15:guide id="4" pos="558">
          <p15:clr>
            <a:srgbClr val="FBAE40"/>
          </p15:clr>
        </p15:guide>
        <p15:guide id="7" orient="horz" pos="1064">
          <p15:clr>
            <a:srgbClr val="FBAE40"/>
          </p15:clr>
        </p15:guide>
        <p15:guide id="8" orient="horz" pos="257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361F00-E179-94E1-FCE2-578FAA6A7567}"/>
              </a:ext>
            </a:extLst>
          </p:cNvPr>
          <p:cNvSpPr>
            <a:spLocks noGrp="1"/>
          </p:cNvSpPr>
          <p:nvPr>
            <p:ph type="title"/>
          </p:nvPr>
        </p:nvSpPr>
        <p:spPr>
          <a:xfrm>
            <a:off x="179386" y="179388"/>
            <a:ext cx="11833228" cy="713232"/>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4B2EFA9E-C789-21C1-5268-F9A23C87C9DB}"/>
              </a:ext>
            </a:extLst>
          </p:cNvPr>
          <p:cNvSpPr>
            <a:spLocks noGrp="1"/>
          </p:cNvSpPr>
          <p:nvPr>
            <p:ph sz="half" idx="1"/>
          </p:nvPr>
        </p:nvSpPr>
        <p:spPr>
          <a:xfrm>
            <a:off x="179386" y="1320800"/>
            <a:ext cx="5824728" cy="43799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4A3BC08D-147E-ADAE-6211-E21304C1D634}"/>
              </a:ext>
            </a:extLst>
          </p:cNvPr>
          <p:cNvSpPr>
            <a:spLocks noGrp="1"/>
          </p:cNvSpPr>
          <p:nvPr>
            <p:ph sz="half" idx="2"/>
          </p:nvPr>
        </p:nvSpPr>
        <p:spPr>
          <a:xfrm>
            <a:off x="6187886" y="1320800"/>
            <a:ext cx="5824728" cy="43799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a:extLst>
              <a:ext uri="{FF2B5EF4-FFF2-40B4-BE49-F238E27FC236}">
                <a16:creationId xmlns:a16="http://schemas.microsoft.com/office/drawing/2014/main" id="{0BD6052C-7C94-0F88-0C90-7EC15CCB9B8D}"/>
              </a:ext>
            </a:extLst>
          </p:cNvPr>
          <p:cNvSpPr>
            <a:spLocks noGrp="1"/>
          </p:cNvSpPr>
          <p:nvPr>
            <p:ph type="ftr" sz="quarter" idx="11"/>
          </p:nvPr>
        </p:nvSpPr>
        <p:spPr/>
        <p:txBody>
          <a:bodyPr/>
          <a:lstStyle>
            <a:lvl1pPr>
              <a:defRPr sz="900"/>
            </a:lvl1pPr>
          </a:lstStyle>
          <a:p>
            <a:endParaRPr lang="en-GB"/>
          </a:p>
        </p:txBody>
      </p:sp>
      <p:sp>
        <p:nvSpPr>
          <p:cNvPr id="9" name="Slide Number Placeholder 10">
            <a:extLst>
              <a:ext uri="{FF2B5EF4-FFF2-40B4-BE49-F238E27FC236}">
                <a16:creationId xmlns:a16="http://schemas.microsoft.com/office/drawing/2014/main" id="{38434448-B94F-C4B3-7DEC-3371E96C5FBF}"/>
              </a:ext>
            </a:extLst>
          </p:cNvPr>
          <p:cNvSpPr>
            <a:spLocks noGrp="1"/>
          </p:cNvSpPr>
          <p:nvPr>
            <p:ph type="sldNum" sz="quarter" idx="4"/>
          </p:nvPr>
        </p:nvSpPr>
        <p:spPr>
          <a:xfrm>
            <a:off x="179386" y="6318250"/>
            <a:ext cx="366714" cy="365125"/>
          </a:xfrm>
          <a:prstGeom prst="rect">
            <a:avLst/>
          </a:prstGeom>
        </p:spPr>
        <p:txBody>
          <a:bodyPr vert="horz" lIns="0" tIns="0" rIns="0" bIns="0" rtlCol="0" anchor="b"/>
          <a:lstStyle>
            <a:lvl1pPr algn="l">
              <a:defRPr sz="900">
                <a:solidFill>
                  <a:schemeClr val="bg1">
                    <a:lumMod val="50000"/>
                  </a:schemeClr>
                </a:solidFill>
              </a:defRPr>
            </a:lvl1pPr>
          </a:lstStyle>
          <a:p>
            <a:fld id="{DDF71BC8-773F-4A54-968E-450E29C75AD4}" type="slidenum">
              <a:rPr lang="en-GB" smtClean="0"/>
              <a:pPr/>
              <a:t>‹#›</a:t>
            </a:fld>
            <a:endParaRPr lang="en-GB"/>
          </a:p>
        </p:txBody>
      </p:sp>
      <p:sp>
        <p:nvSpPr>
          <p:cNvPr id="10" name="Text Placeholder 8">
            <a:extLst>
              <a:ext uri="{FF2B5EF4-FFF2-40B4-BE49-F238E27FC236}">
                <a16:creationId xmlns:a16="http://schemas.microsoft.com/office/drawing/2014/main" id="{0F2A281C-9008-2BF7-233B-F79D5B83A4D8}"/>
              </a:ext>
            </a:extLst>
          </p:cNvPr>
          <p:cNvSpPr>
            <a:spLocks noGrp="1"/>
          </p:cNvSpPr>
          <p:nvPr>
            <p:ph type="body" sz="quarter" idx="12" hasCustomPrompt="1"/>
          </p:nvPr>
        </p:nvSpPr>
        <p:spPr>
          <a:xfrm>
            <a:off x="642796" y="5884092"/>
            <a:ext cx="9464040" cy="365760"/>
          </a:xfrm>
        </p:spPr>
        <p:txBody>
          <a:bodyPr anchor="b">
            <a:normAutofit/>
          </a:bodyPr>
          <a:lstStyle>
            <a:lvl1pPr marL="0" indent="0" algn="l">
              <a:buNone/>
              <a:defRPr sz="900">
                <a:solidFill>
                  <a:schemeClr val="bg1">
                    <a:lumMod val="50000"/>
                  </a:schemeClr>
                </a:solidFill>
              </a:defRPr>
            </a:lvl1pPr>
          </a:lstStyle>
          <a:p>
            <a:pPr lvl="0"/>
            <a:r>
              <a:rPr lang="en-US"/>
              <a:t>Source </a:t>
            </a:r>
          </a:p>
        </p:txBody>
      </p:sp>
    </p:spTree>
    <p:extLst>
      <p:ext uri="{BB962C8B-B14F-4D97-AF65-F5344CB8AC3E}">
        <p14:creationId xmlns:p14="http://schemas.microsoft.com/office/powerpoint/2010/main" val="105094048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2_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5EB12D1-E7A8-2BEA-9559-D4A0A0066F0B}"/>
              </a:ext>
            </a:extLst>
          </p:cNvPr>
          <p:cNvSpPr>
            <a:spLocks noGrp="1"/>
          </p:cNvSpPr>
          <p:nvPr>
            <p:ph type="body" idx="1"/>
          </p:nvPr>
        </p:nvSpPr>
        <p:spPr>
          <a:xfrm>
            <a:off x="179386" y="1320799"/>
            <a:ext cx="5824728" cy="514951"/>
          </a:xfrm>
        </p:spPr>
        <p:txBody>
          <a:bodyPr anchor="b">
            <a:normAutofit/>
          </a:bodyPr>
          <a:lstStyle>
            <a:lvl1pPr marL="0" indent="0">
              <a:buNone/>
              <a:defRPr sz="1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FA77D1CD-D3D4-6393-4B8F-49E5C4E8C9B0}"/>
              </a:ext>
            </a:extLst>
          </p:cNvPr>
          <p:cNvSpPr>
            <a:spLocks noGrp="1"/>
          </p:cNvSpPr>
          <p:nvPr>
            <p:ph sz="half" idx="2"/>
          </p:nvPr>
        </p:nvSpPr>
        <p:spPr>
          <a:xfrm>
            <a:off x="179386" y="2011426"/>
            <a:ext cx="5824728" cy="36893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80B19B86-1143-6A0C-12DF-6C8047EA567A}"/>
              </a:ext>
            </a:extLst>
          </p:cNvPr>
          <p:cNvSpPr>
            <a:spLocks noGrp="1"/>
          </p:cNvSpPr>
          <p:nvPr>
            <p:ph type="body" sz="quarter" idx="3"/>
          </p:nvPr>
        </p:nvSpPr>
        <p:spPr>
          <a:xfrm>
            <a:off x="6187886" y="1320799"/>
            <a:ext cx="5824728" cy="514951"/>
          </a:xfrm>
        </p:spPr>
        <p:txBody>
          <a:bodyPr anchor="b">
            <a:normAutofit/>
          </a:bodyPr>
          <a:lstStyle>
            <a:lvl1pPr marL="0" indent="0">
              <a:buNone/>
              <a:defRPr sz="1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1F044B31-EE79-3FDD-30AF-217F5E26D3CF}"/>
              </a:ext>
            </a:extLst>
          </p:cNvPr>
          <p:cNvSpPr>
            <a:spLocks noGrp="1"/>
          </p:cNvSpPr>
          <p:nvPr>
            <p:ph sz="quarter" idx="4"/>
          </p:nvPr>
        </p:nvSpPr>
        <p:spPr>
          <a:xfrm>
            <a:off x="6187886" y="2011426"/>
            <a:ext cx="5824728" cy="36893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Footer Placeholder 7">
            <a:extLst>
              <a:ext uri="{FF2B5EF4-FFF2-40B4-BE49-F238E27FC236}">
                <a16:creationId xmlns:a16="http://schemas.microsoft.com/office/drawing/2014/main" id="{E41E0049-977E-5D37-76E2-5159BE405FE9}"/>
              </a:ext>
            </a:extLst>
          </p:cNvPr>
          <p:cNvSpPr>
            <a:spLocks noGrp="1"/>
          </p:cNvSpPr>
          <p:nvPr>
            <p:ph type="ftr" sz="quarter" idx="11"/>
          </p:nvPr>
        </p:nvSpPr>
        <p:spPr/>
        <p:txBody>
          <a:bodyPr/>
          <a:lstStyle>
            <a:lvl1pPr>
              <a:defRPr sz="900"/>
            </a:lvl1pPr>
          </a:lstStyle>
          <a:p>
            <a:endParaRPr lang="en-GB"/>
          </a:p>
        </p:txBody>
      </p:sp>
      <p:sp>
        <p:nvSpPr>
          <p:cNvPr id="10" name="Slide Number Placeholder 10">
            <a:extLst>
              <a:ext uri="{FF2B5EF4-FFF2-40B4-BE49-F238E27FC236}">
                <a16:creationId xmlns:a16="http://schemas.microsoft.com/office/drawing/2014/main" id="{9EEBB2FF-E8B5-8E04-EBA0-A8E76FD54DD1}"/>
              </a:ext>
            </a:extLst>
          </p:cNvPr>
          <p:cNvSpPr>
            <a:spLocks noGrp="1"/>
          </p:cNvSpPr>
          <p:nvPr>
            <p:ph type="sldNum" sz="quarter" idx="12"/>
          </p:nvPr>
        </p:nvSpPr>
        <p:spPr>
          <a:xfrm>
            <a:off x="179386" y="6318250"/>
            <a:ext cx="366714" cy="365125"/>
          </a:xfrm>
          <a:prstGeom prst="rect">
            <a:avLst/>
          </a:prstGeom>
        </p:spPr>
        <p:txBody>
          <a:bodyPr vert="horz" lIns="0" tIns="0" rIns="0" bIns="0" rtlCol="0" anchor="b"/>
          <a:lstStyle>
            <a:lvl1pPr algn="l">
              <a:defRPr sz="900">
                <a:solidFill>
                  <a:schemeClr val="bg1">
                    <a:lumMod val="50000"/>
                  </a:schemeClr>
                </a:solidFill>
              </a:defRPr>
            </a:lvl1pPr>
          </a:lstStyle>
          <a:p>
            <a:fld id="{DDF71BC8-773F-4A54-968E-450E29C75AD4}" type="slidenum">
              <a:rPr lang="en-GB" smtClean="0"/>
              <a:pPr/>
              <a:t>‹#›</a:t>
            </a:fld>
            <a:endParaRPr lang="en-GB"/>
          </a:p>
        </p:txBody>
      </p:sp>
      <p:sp>
        <p:nvSpPr>
          <p:cNvPr id="11" name="Text Placeholder 8">
            <a:extLst>
              <a:ext uri="{FF2B5EF4-FFF2-40B4-BE49-F238E27FC236}">
                <a16:creationId xmlns:a16="http://schemas.microsoft.com/office/drawing/2014/main" id="{5490769D-37D1-9DF1-AB67-394C9CEFCF43}"/>
              </a:ext>
            </a:extLst>
          </p:cNvPr>
          <p:cNvSpPr>
            <a:spLocks noGrp="1"/>
          </p:cNvSpPr>
          <p:nvPr>
            <p:ph type="body" sz="quarter" idx="13" hasCustomPrompt="1"/>
          </p:nvPr>
        </p:nvSpPr>
        <p:spPr>
          <a:xfrm>
            <a:off x="642796" y="5884092"/>
            <a:ext cx="9464040" cy="365760"/>
          </a:xfrm>
        </p:spPr>
        <p:txBody>
          <a:bodyPr anchor="b">
            <a:normAutofit/>
          </a:bodyPr>
          <a:lstStyle>
            <a:lvl1pPr marL="0" indent="0" algn="l">
              <a:buNone/>
              <a:defRPr sz="900">
                <a:solidFill>
                  <a:schemeClr val="bg1">
                    <a:lumMod val="50000"/>
                  </a:schemeClr>
                </a:solidFill>
              </a:defRPr>
            </a:lvl1pPr>
          </a:lstStyle>
          <a:p>
            <a:pPr lvl="0"/>
            <a:r>
              <a:rPr lang="en-US"/>
              <a:t>Source </a:t>
            </a:r>
          </a:p>
        </p:txBody>
      </p:sp>
      <p:sp>
        <p:nvSpPr>
          <p:cNvPr id="13" name="Title 12">
            <a:extLst>
              <a:ext uri="{FF2B5EF4-FFF2-40B4-BE49-F238E27FC236}">
                <a16:creationId xmlns:a16="http://schemas.microsoft.com/office/drawing/2014/main" id="{E5A2C796-19DA-18A4-D8CF-C68C0EC6C101}"/>
              </a:ext>
            </a:extLst>
          </p:cNvPr>
          <p:cNvSpPr>
            <a:spLocks noGrp="1"/>
          </p:cNvSpPr>
          <p:nvPr>
            <p:ph type="title"/>
          </p:nvPr>
        </p:nvSpPr>
        <p:spPr>
          <a:xfrm>
            <a:off x="179386" y="179388"/>
            <a:ext cx="11833228" cy="713232"/>
          </a:xfrm>
        </p:spPr>
        <p:txBody>
          <a:bodyPr/>
          <a:lstStyle/>
          <a:p>
            <a:r>
              <a:rPr lang="en-US"/>
              <a:t>Click to edit Master title style</a:t>
            </a:r>
            <a:endParaRPr lang="en-GB"/>
          </a:p>
        </p:txBody>
      </p:sp>
    </p:spTree>
    <p:extLst>
      <p:ext uri="{BB962C8B-B14F-4D97-AF65-F5344CB8AC3E}">
        <p14:creationId xmlns:p14="http://schemas.microsoft.com/office/powerpoint/2010/main" val="3534072852"/>
      </p:ext>
    </p:extLst>
  </p:cSld>
  <p:clrMapOvr>
    <a:masterClrMapping/>
  </p:clrMapOvr>
  <p:extLst>
    <p:ext uri="{DCECCB84-F9BA-43D5-87BE-67443E8EF086}">
      <p15:sldGuideLst xmlns:p15="http://schemas.microsoft.com/office/powerpoint/2012/main">
        <p15:guide id="1" orient="horz" pos="1264" userDrawn="1">
          <p15:clr>
            <a:srgbClr val="FBAE40"/>
          </p15:clr>
        </p15:guide>
        <p15:guide id="2" orient="horz" pos="1156" userDrawn="1">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 column Text with header Layout">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188AF8EE-35AC-49E3-9930-1BDCACEFD4B1}"/>
              </a:ext>
            </a:extLst>
          </p:cNvPr>
          <p:cNvGraphicFramePr>
            <a:graphicFrameLocks noChangeAspect="1"/>
          </p:cNvGraphicFramePr>
          <p:nvPr>
            <p:custDataLst>
              <p:tags r:id="rId1"/>
            </p:custDataLst>
            <p:extLst>
              <p:ext uri="{D42A27DB-BD31-4B8C-83A1-F6EECF244321}">
                <p14:modId xmlns:p14="http://schemas.microsoft.com/office/powerpoint/2010/main" val="8827867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11" name="Object 10" hidden="1">
                        <a:extLst>
                          <a:ext uri="{FF2B5EF4-FFF2-40B4-BE49-F238E27FC236}">
                            <a16:creationId xmlns:a16="http://schemas.microsoft.com/office/drawing/2014/main" id="{188AF8EE-35AC-49E3-9930-1BDCACEFD4B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8B4B1AF4-DDE1-4321-AD46-F0E1D9240B1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4400" b="0" i="0" baseline="0">
              <a:latin typeface="Source Sans Pro" panose="020B0503030403020204" pitchFamily="34" charset="0"/>
              <a:ea typeface="+mj-ea"/>
              <a:cs typeface="+mj-cs"/>
              <a:sym typeface="Source Sans Pro" panose="020B0503030403020204" pitchFamily="34" charset="0"/>
            </a:endParaRPr>
          </a:p>
        </p:txBody>
      </p:sp>
      <p:sp>
        <p:nvSpPr>
          <p:cNvPr id="4" name="Content Placeholder 3">
            <a:extLst>
              <a:ext uri="{FF2B5EF4-FFF2-40B4-BE49-F238E27FC236}">
                <a16:creationId xmlns:a16="http://schemas.microsoft.com/office/drawing/2014/main" id="{6F7156F0-9E20-4DB3-A7D9-421A0EEF76D6}"/>
              </a:ext>
            </a:extLst>
          </p:cNvPr>
          <p:cNvSpPr>
            <a:spLocks noGrp="1"/>
          </p:cNvSpPr>
          <p:nvPr>
            <p:ph sz="half" idx="2"/>
          </p:nvPr>
        </p:nvSpPr>
        <p:spPr>
          <a:xfrm>
            <a:off x="179388" y="1836249"/>
            <a:ext cx="5824728" cy="3864527"/>
          </a:xfrm>
        </p:spPr>
        <p:txBody>
          <a:bodyPr lIns="0" tIns="0" rIns="0" bIns="0">
            <a:normAutofit/>
          </a:bodyPr>
          <a:lstStyle>
            <a:lvl1pPr>
              <a:spcBef>
                <a:spcPts val="1200"/>
              </a:spcBef>
              <a:defRPr sz="1200">
                <a:latin typeface="+mn-lt"/>
                <a:sym typeface="Source Sans Pro" panose="020B0503030403020204" pitchFamily="34" charset="0"/>
              </a:defRPr>
            </a:lvl1pPr>
            <a:lvl2pPr marL="457200" indent="-180000">
              <a:spcBef>
                <a:spcPts val="600"/>
              </a:spcBef>
              <a:buFont typeface="Century Gothic" panose="020B0502020202020204" pitchFamily="34" charset="0"/>
              <a:buChar char="–"/>
              <a:defRPr sz="1200">
                <a:latin typeface="+mn-lt"/>
                <a:sym typeface="Source Sans Pro" panose="020B0503030403020204" pitchFamily="34" charset="0"/>
              </a:defRPr>
            </a:lvl2pPr>
            <a:lvl3pPr marL="594360" indent="-179388">
              <a:spcBef>
                <a:spcPts val="600"/>
              </a:spcBef>
              <a:buFont typeface="Century Gothic" panose="020B0502020202020204" pitchFamily="34" charset="0"/>
              <a:buChar char="–"/>
              <a:defRPr sz="1200">
                <a:latin typeface="+mn-lt"/>
                <a:sym typeface="Source Sans Pro" panose="020B0503030403020204" pitchFamily="34" charset="0"/>
              </a:defRPr>
            </a:lvl3pPr>
            <a:lvl4pPr marL="777240" indent="-180000">
              <a:spcBef>
                <a:spcPts val="600"/>
              </a:spcBef>
              <a:buFont typeface="Century Gothic" panose="020B0502020202020204" pitchFamily="34" charset="0"/>
              <a:buChar char="–"/>
              <a:defRPr sz="1200">
                <a:latin typeface="+mn-lt"/>
                <a:sym typeface="Source Sans Pro" panose="020B0503030403020204" pitchFamily="34" charset="0"/>
              </a:defRPr>
            </a:lvl4pPr>
            <a:lvl5pPr marL="914400" indent="-180000">
              <a:spcBef>
                <a:spcPts val="600"/>
              </a:spcBef>
              <a:buFont typeface="Century Gothic" panose="020B0502020202020204" pitchFamily="34" charset="0"/>
              <a:buChar char="–"/>
              <a:defRPr sz="1200">
                <a:latin typeface="+mn-lt"/>
                <a:sym typeface="Source Sans Pro" panose="020B0503030403020204"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6" name="Content Placeholder 5">
            <a:extLst>
              <a:ext uri="{FF2B5EF4-FFF2-40B4-BE49-F238E27FC236}">
                <a16:creationId xmlns:a16="http://schemas.microsoft.com/office/drawing/2014/main" id="{B2AB2582-7062-4BC6-9D19-F0253BC1B6A2}"/>
              </a:ext>
            </a:extLst>
          </p:cNvPr>
          <p:cNvSpPr>
            <a:spLocks noGrp="1"/>
          </p:cNvSpPr>
          <p:nvPr>
            <p:ph sz="quarter" idx="4"/>
          </p:nvPr>
        </p:nvSpPr>
        <p:spPr>
          <a:xfrm>
            <a:off x="6186298" y="1836249"/>
            <a:ext cx="5824728" cy="3864527"/>
          </a:xfrm>
        </p:spPr>
        <p:txBody>
          <a:bodyPr lIns="0" tIns="0" rIns="0" bIns="0">
            <a:normAutofit/>
          </a:bodyPr>
          <a:lstStyle>
            <a:lvl1pPr>
              <a:spcBef>
                <a:spcPts val="1200"/>
              </a:spcBef>
              <a:defRPr sz="1200">
                <a:latin typeface="+mn-lt"/>
                <a:sym typeface="Source Sans Pro" panose="020B0503030403020204" pitchFamily="34" charset="0"/>
              </a:defRPr>
            </a:lvl1pPr>
            <a:lvl2pPr marL="457200" indent="-180000">
              <a:spcBef>
                <a:spcPts val="600"/>
              </a:spcBef>
              <a:buFont typeface="Century Gothic" panose="020B0502020202020204" pitchFamily="34" charset="0"/>
              <a:buChar char="–"/>
              <a:defRPr sz="1200">
                <a:latin typeface="+mn-lt"/>
                <a:sym typeface="Source Sans Pro" panose="020B0503030403020204" pitchFamily="34" charset="0"/>
              </a:defRPr>
            </a:lvl2pPr>
            <a:lvl3pPr marL="594360" indent="-179388">
              <a:spcBef>
                <a:spcPts val="600"/>
              </a:spcBef>
              <a:buFont typeface="Century Gothic" panose="020B0502020202020204" pitchFamily="34" charset="0"/>
              <a:buChar char="–"/>
              <a:defRPr sz="1200">
                <a:latin typeface="+mn-lt"/>
                <a:sym typeface="Source Sans Pro" panose="020B0503030403020204" pitchFamily="34" charset="0"/>
              </a:defRPr>
            </a:lvl3pPr>
            <a:lvl4pPr marL="777240" indent="-180000">
              <a:spcBef>
                <a:spcPts val="600"/>
              </a:spcBef>
              <a:buFont typeface="Century Gothic" panose="020B0502020202020204" pitchFamily="34" charset="0"/>
              <a:buChar char="–"/>
              <a:defRPr sz="1200">
                <a:latin typeface="+mn-lt"/>
                <a:sym typeface="Source Sans Pro" panose="020B0503030403020204" pitchFamily="34" charset="0"/>
              </a:defRPr>
            </a:lvl4pPr>
            <a:lvl5pPr marL="914400" indent="-180000">
              <a:spcBef>
                <a:spcPts val="600"/>
              </a:spcBef>
              <a:buFont typeface="Century Gothic" panose="020B0502020202020204" pitchFamily="34" charset="0"/>
              <a:buChar char="–"/>
              <a:defRPr sz="1200">
                <a:latin typeface="+mn-lt"/>
                <a:sym typeface="Source Sans Pro" panose="020B0503030403020204"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7" name="Title 6">
            <a:extLst>
              <a:ext uri="{FF2B5EF4-FFF2-40B4-BE49-F238E27FC236}">
                <a16:creationId xmlns:a16="http://schemas.microsoft.com/office/drawing/2014/main" id="{AE9C1BD9-E21D-2C4B-BF47-CC26ADC80BDC}"/>
              </a:ext>
            </a:extLst>
          </p:cNvPr>
          <p:cNvSpPr>
            <a:spLocks noGrp="1"/>
          </p:cNvSpPr>
          <p:nvPr>
            <p:ph type="title"/>
          </p:nvPr>
        </p:nvSpPr>
        <p:spPr>
          <a:xfrm>
            <a:off x="179387" y="179388"/>
            <a:ext cx="11831639" cy="640080"/>
          </a:xfrm>
        </p:spPr>
        <p:txBody>
          <a:bodyPr vert="horz"/>
          <a:lstStyle>
            <a:lvl1pPr>
              <a:defRPr>
                <a:latin typeface="+mj-lt"/>
                <a:sym typeface="Source Sans Pro" panose="020B0503030403020204" pitchFamily="34" charset="0"/>
              </a:defRPr>
            </a:lvl1pPr>
          </a:lstStyle>
          <a:p>
            <a:r>
              <a:rPr lang="en-US"/>
              <a:t>Click to edit Master title style</a:t>
            </a:r>
          </a:p>
        </p:txBody>
      </p:sp>
      <p:sp>
        <p:nvSpPr>
          <p:cNvPr id="19" name="Text Placeholder 2">
            <a:extLst>
              <a:ext uri="{FF2B5EF4-FFF2-40B4-BE49-F238E27FC236}">
                <a16:creationId xmlns:a16="http://schemas.microsoft.com/office/drawing/2014/main" id="{04B795D8-3207-E074-ACFA-A9C426D995E7}"/>
              </a:ext>
            </a:extLst>
          </p:cNvPr>
          <p:cNvSpPr>
            <a:spLocks noGrp="1"/>
          </p:cNvSpPr>
          <p:nvPr>
            <p:ph type="body" idx="1"/>
          </p:nvPr>
        </p:nvSpPr>
        <p:spPr>
          <a:xfrm>
            <a:off x="179388" y="1339912"/>
            <a:ext cx="5824728" cy="340739"/>
          </a:xfrm>
        </p:spPr>
        <p:txBody>
          <a:bodyPr lIns="0" tIns="0" rIns="0" bIns="0" anchor="b">
            <a:normAutofit/>
          </a:bodyPr>
          <a:lstStyle>
            <a:lvl1pPr marL="0" indent="0">
              <a:buNone/>
              <a:defRPr sz="1200" b="1">
                <a:solidFill>
                  <a:schemeClr val="tx1"/>
                </a:solidFill>
                <a:latin typeface="+mn-lt"/>
                <a:sym typeface="Source Sans Pro" panose="020B0503030403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20" name="Text Placeholder 4">
            <a:extLst>
              <a:ext uri="{FF2B5EF4-FFF2-40B4-BE49-F238E27FC236}">
                <a16:creationId xmlns:a16="http://schemas.microsoft.com/office/drawing/2014/main" id="{AEB5BBDB-6017-7141-8B8A-79A989B5F7E0}"/>
              </a:ext>
            </a:extLst>
          </p:cNvPr>
          <p:cNvSpPr>
            <a:spLocks noGrp="1"/>
          </p:cNvSpPr>
          <p:nvPr>
            <p:ph type="body" sz="quarter" idx="3"/>
          </p:nvPr>
        </p:nvSpPr>
        <p:spPr>
          <a:xfrm>
            <a:off x="6186298" y="1339912"/>
            <a:ext cx="5824728" cy="340739"/>
          </a:xfrm>
        </p:spPr>
        <p:txBody>
          <a:bodyPr lIns="0" tIns="0" rIns="0" bIns="0" anchor="b">
            <a:normAutofit/>
          </a:bodyPr>
          <a:lstStyle>
            <a:lvl1pPr marL="0" indent="0">
              <a:buNone/>
              <a:defRPr sz="1200" b="1">
                <a:solidFill>
                  <a:schemeClr val="tx1"/>
                </a:solidFill>
                <a:latin typeface="+mn-lt"/>
                <a:sym typeface="Source Sans Pro" panose="020B0503030403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21" name="Text Placeholder 12">
            <a:extLst>
              <a:ext uri="{FF2B5EF4-FFF2-40B4-BE49-F238E27FC236}">
                <a16:creationId xmlns:a16="http://schemas.microsoft.com/office/drawing/2014/main" id="{A6BBC261-350D-D6FB-C056-5619AD0BBD3F}"/>
              </a:ext>
            </a:extLst>
          </p:cNvPr>
          <p:cNvSpPr>
            <a:spLocks noGrp="1"/>
          </p:cNvSpPr>
          <p:nvPr>
            <p:ph type="body" sz="quarter" idx="14" hasCustomPrompt="1"/>
          </p:nvPr>
        </p:nvSpPr>
        <p:spPr>
          <a:xfrm>
            <a:off x="179387" y="880946"/>
            <a:ext cx="11831638" cy="303369"/>
          </a:xfrm>
        </p:spPr>
        <p:txBody>
          <a:bodyPr>
            <a:normAutofit/>
          </a:bodyPr>
          <a:lstStyle>
            <a:lvl1pPr marL="0" indent="0">
              <a:spcBef>
                <a:spcPts val="0"/>
              </a:spcBef>
              <a:buFont typeface="Arial" panose="020B0604020202020204" pitchFamily="34" charset="0"/>
              <a:buNone/>
              <a:defRPr sz="1600">
                <a:solidFill>
                  <a:schemeClr val="tx2"/>
                </a:solidFill>
                <a:latin typeface="+mn-lt"/>
                <a:sym typeface="Source Sans Pro" panose="020B0503030403020204" pitchFamily="34" charset="0"/>
              </a:defRPr>
            </a:lvl1pPr>
            <a:lvl2pPr marL="180000" indent="0">
              <a:buFont typeface="Arial" panose="020B0604020202020204" pitchFamily="34" charset="0"/>
              <a:buNone/>
              <a:defRPr/>
            </a:lvl2pPr>
            <a:lvl3pPr marL="360000" indent="0">
              <a:buFont typeface="Arial" panose="020B0604020202020204" pitchFamily="34" charset="0"/>
              <a:buNone/>
              <a:defRPr/>
            </a:lvl3pPr>
            <a:lvl4pPr marL="540000" indent="0">
              <a:buFont typeface="Arial" panose="020B0604020202020204" pitchFamily="34" charset="0"/>
              <a:buNone/>
              <a:defRPr/>
            </a:lvl4pPr>
            <a:lvl5pPr marL="720000" indent="0">
              <a:buFont typeface="Arial" panose="020B0604020202020204" pitchFamily="34" charset="0"/>
              <a:buNone/>
              <a:defRPr/>
            </a:lvl5pPr>
          </a:lstStyle>
          <a:p>
            <a:pPr lvl="0"/>
            <a:r>
              <a:rPr lang="en-US"/>
              <a:t>Add subtitle here</a:t>
            </a:r>
          </a:p>
        </p:txBody>
      </p:sp>
      <p:cxnSp>
        <p:nvCxnSpPr>
          <p:cNvPr id="22" name="Straight Connector 21">
            <a:extLst>
              <a:ext uri="{FF2B5EF4-FFF2-40B4-BE49-F238E27FC236}">
                <a16:creationId xmlns:a16="http://schemas.microsoft.com/office/drawing/2014/main" id="{C51D98D4-86EC-6A37-AD76-87A1F69BDAB0}"/>
              </a:ext>
            </a:extLst>
          </p:cNvPr>
          <p:cNvCxnSpPr>
            <a:cxnSpLocks/>
          </p:cNvCxnSpPr>
          <p:nvPr userDrawn="1"/>
        </p:nvCxnSpPr>
        <p:spPr>
          <a:xfrm>
            <a:off x="179386" y="1719987"/>
            <a:ext cx="5824728"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4C5C254-8F46-A7E5-1A01-921E08B8F9F6}"/>
              </a:ext>
            </a:extLst>
          </p:cNvPr>
          <p:cNvCxnSpPr>
            <a:cxnSpLocks/>
          </p:cNvCxnSpPr>
          <p:nvPr userDrawn="1"/>
        </p:nvCxnSpPr>
        <p:spPr>
          <a:xfrm>
            <a:off x="6186298" y="1719987"/>
            <a:ext cx="5824728"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3996102B-C01A-372F-AB98-BDCCE29F327C}"/>
              </a:ext>
            </a:extLst>
          </p:cNvPr>
          <p:cNvSpPr>
            <a:spLocks noGrp="1"/>
          </p:cNvSpPr>
          <p:nvPr>
            <p:ph type="ftr" sz="quarter" idx="15"/>
          </p:nvPr>
        </p:nvSpPr>
        <p:spPr/>
        <p:txBody>
          <a:bodyPr/>
          <a:lstStyle>
            <a:lvl1pPr>
              <a:defRPr sz="900"/>
            </a:lvl1pPr>
          </a:lstStyle>
          <a:p>
            <a:endParaRPr lang="en-GB"/>
          </a:p>
        </p:txBody>
      </p:sp>
      <p:sp>
        <p:nvSpPr>
          <p:cNvPr id="5" name="Slide Number Placeholder 4">
            <a:extLst>
              <a:ext uri="{FF2B5EF4-FFF2-40B4-BE49-F238E27FC236}">
                <a16:creationId xmlns:a16="http://schemas.microsoft.com/office/drawing/2014/main" id="{63E1A4AC-D8D2-A3FF-242E-FCDDF62C0A88}"/>
              </a:ext>
            </a:extLst>
          </p:cNvPr>
          <p:cNvSpPr>
            <a:spLocks noGrp="1"/>
          </p:cNvSpPr>
          <p:nvPr>
            <p:ph type="sldNum" sz="quarter" idx="16"/>
          </p:nvPr>
        </p:nvSpPr>
        <p:spPr/>
        <p:txBody>
          <a:bodyPr/>
          <a:lstStyle>
            <a:lvl1pPr>
              <a:defRPr sz="900"/>
            </a:lvl1pPr>
          </a:lstStyle>
          <a:p>
            <a:fld id="{DDF71BC8-773F-4A54-968E-450E29C75AD4}" type="slidenum">
              <a:rPr lang="en-GB" smtClean="0"/>
              <a:pPr/>
              <a:t>‹#›</a:t>
            </a:fld>
            <a:endParaRPr lang="en-GB"/>
          </a:p>
        </p:txBody>
      </p:sp>
      <p:sp>
        <p:nvSpPr>
          <p:cNvPr id="8" name="Text Placeholder 8">
            <a:extLst>
              <a:ext uri="{FF2B5EF4-FFF2-40B4-BE49-F238E27FC236}">
                <a16:creationId xmlns:a16="http://schemas.microsoft.com/office/drawing/2014/main" id="{5CD464C0-D87A-99FF-9ED4-D254D3E8F1FC}"/>
              </a:ext>
            </a:extLst>
          </p:cNvPr>
          <p:cNvSpPr>
            <a:spLocks noGrp="1"/>
          </p:cNvSpPr>
          <p:nvPr>
            <p:ph type="body" sz="quarter" idx="12" hasCustomPrompt="1"/>
          </p:nvPr>
        </p:nvSpPr>
        <p:spPr>
          <a:xfrm>
            <a:off x="642796" y="5884092"/>
            <a:ext cx="9464040" cy="365760"/>
          </a:xfrm>
        </p:spPr>
        <p:txBody>
          <a:bodyPr anchor="b">
            <a:normAutofit/>
          </a:bodyPr>
          <a:lstStyle>
            <a:lvl1pPr marL="0" indent="0" algn="l">
              <a:buNone/>
              <a:defRPr sz="900">
                <a:solidFill>
                  <a:schemeClr val="bg1">
                    <a:lumMod val="50000"/>
                  </a:schemeClr>
                </a:solidFill>
              </a:defRPr>
            </a:lvl1pPr>
          </a:lstStyle>
          <a:p>
            <a:pPr lvl="0"/>
            <a:r>
              <a:rPr lang="en-US"/>
              <a:t>Source </a:t>
            </a:r>
          </a:p>
        </p:txBody>
      </p:sp>
    </p:spTree>
    <p:extLst>
      <p:ext uri="{BB962C8B-B14F-4D97-AF65-F5344CB8AC3E}">
        <p14:creationId xmlns:p14="http://schemas.microsoft.com/office/powerpoint/2010/main" val="3415208552"/>
      </p:ext>
    </p:extLst>
  </p:cSld>
  <p:clrMapOvr>
    <a:masterClrMapping/>
  </p:clrMapOvr>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 column Text without header Layout">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188AF8EE-35AC-49E3-9930-1BDCACEFD4B1}"/>
              </a:ext>
            </a:extLst>
          </p:cNvPr>
          <p:cNvGraphicFramePr>
            <a:graphicFrameLocks noChangeAspect="1"/>
          </p:cNvGraphicFramePr>
          <p:nvPr>
            <p:custDataLst>
              <p:tags r:id="rId1"/>
            </p:custDataLst>
            <p:extLst>
              <p:ext uri="{D42A27DB-BD31-4B8C-83A1-F6EECF244321}">
                <p14:modId xmlns:p14="http://schemas.microsoft.com/office/powerpoint/2010/main" val="33764195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11" name="Object 10" hidden="1">
                        <a:extLst>
                          <a:ext uri="{FF2B5EF4-FFF2-40B4-BE49-F238E27FC236}">
                            <a16:creationId xmlns:a16="http://schemas.microsoft.com/office/drawing/2014/main" id="{188AF8EE-35AC-49E3-9930-1BDCACEFD4B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8B4B1AF4-DDE1-4321-AD46-F0E1D9240B1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4400" b="0" i="0" baseline="0">
              <a:latin typeface="Source Sans Pro" panose="020B0503030403020204" pitchFamily="34" charset="0"/>
              <a:ea typeface="+mj-ea"/>
              <a:cs typeface="+mj-cs"/>
              <a:sym typeface="Source Sans Pro" panose="020B0503030403020204" pitchFamily="34" charset="0"/>
            </a:endParaRPr>
          </a:p>
        </p:txBody>
      </p:sp>
      <p:sp>
        <p:nvSpPr>
          <p:cNvPr id="4" name="Content Placeholder 3">
            <a:extLst>
              <a:ext uri="{FF2B5EF4-FFF2-40B4-BE49-F238E27FC236}">
                <a16:creationId xmlns:a16="http://schemas.microsoft.com/office/drawing/2014/main" id="{6F7156F0-9E20-4DB3-A7D9-421A0EEF76D6}"/>
              </a:ext>
            </a:extLst>
          </p:cNvPr>
          <p:cNvSpPr>
            <a:spLocks noGrp="1"/>
          </p:cNvSpPr>
          <p:nvPr>
            <p:ph sz="half" idx="2"/>
          </p:nvPr>
        </p:nvSpPr>
        <p:spPr>
          <a:xfrm>
            <a:off x="179388" y="1320800"/>
            <a:ext cx="5824728" cy="4379976"/>
          </a:xfrm>
        </p:spPr>
        <p:txBody>
          <a:bodyPr lIns="0" tIns="0" rIns="0" bIns="0">
            <a:normAutofit/>
          </a:bodyPr>
          <a:lstStyle>
            <a:lvl1pPr>
              <a:spcBef>
                <a:spcPts val="1200"/>
              </a:spcBef>
              <a:defRPr sz="1200">
                <a:latin typeface="+mn-lt"/>
                <a:sym typeface="Source Sans Pro" panose="020B0503030403020204" pitchFamily="34" charset="0"/>
              </a:defRPr>
            </a:lvl1pPr>
            <a:lvl2pPr marL="457200" indent="-180000">
              <a:spcBef>
                <a:spcPts val="600"/>
              </a:spcBef>
              <a:buFont typeface="Century Gothic" panose="020B0502020202020204" pitchFamily="34" charset="0"/>
              <a:buChar char="–"/>
              <a:defRPr sz="1200">
                <a:latin typeface="+mn-lt"/>
                <a:sym typeface="Source Sans Pro" panose="020B0503030403020204" pitchFamily="34" charset="0"/>
              </a:defRPr>
            </a:lvl2pPr>
            <a:lvl3pPr marL="594360" indent="-179388">
              <a:spcBef>
                <a:spcPts val="600"/>
              </a:spcBef>
              <a:buFont typeface="Century Gothic" panose="020B0502020202020204" pitchFamily="34" charset="0"/>
              <a:buChar char="–"/>
              <a:defRPr sz="1200">
                <a:latin typeface="+mn-lt"/>
                <a:sym typeface="Source Sans Pro" panose="020B0503030403020204" pitchFamily="34" charset="0"/>
              </a:defRPr>
            </a:lvl3pPr>
            <a:lvl4pPr marL="777240" indent="-180000">
              <a:spcBef>
                <a:spcPts val="600"/>
              </a:spcBef>
              <a:buFont typeface="Century Gothic" panose="020B0502020202020204" pitchFamily="34" charset="0"/>
              <a:buChar char="–"/>
              <a:defRPr sz="1200">
                <a:latin typeface="+mn-lt"/>
                <a:sym typeface="Source Sans Pro" panose="020B0503030403020204" pitchFamily="34" charset="0"/>
              </a:defRPr>
            </a:lvl4pPr>
            <a:lvl5pPr marL="914400" indent="-180000">
              <a:spcBef>
                <a:spcPts val="600"/>
              </a:spcBef>
              <a:buFont typeface="Century Gothic" panose="020B0502020202020204" pitchFamily="34" charset="0"/>
              <a:buChar char="–"/>
              <a:defRPr sz="1200">
                <a:latin typeface="+mn-lt"/>
                <a:sym typeface="Source Sans Pro" panose="020B0503030403020204"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6" name="Content Placeholder 5">
            <a:extLst>
              <a:ext uri="{FF2B5EF4-FFF2-40B4-BE49-F238E27FC236}">
                <a16:creationId xmlns:a16="http://schemas.microsoft.com/office/drawing/2014/main" id="{B2AB2582-7062-4BC6-9D19-F0253BC1B6A2}"/>
              </a:ext>
            </a:extLst>
          </p:cNvPr>
          <p:cNvSpPr>
            <a:spLocks noGrp="1"/>
          </p:cNvSpPr>
          <p:nvPr>
            <p:ph sz="quarter" idx="4"/>
          </p:nvPr>
        </p:nvSpPr>
        <p:spPr>
          <a:xfrm>
            <a:off x="6186297" y="1320800"/>
            <a:ext cx="5824728" cy="4379976"/>
          </a:xfrm>
        </p:spPr>
        <p:txBody>
          <a:bodyPr lIns="0" tIns="0" rIns="0" bIns="0">
            <a:normAutofit/>
          </a:bodyPr>
          <a:lstStyle>
            <a:lvl1pPr>
              <a:spcBef>
                <a:spcPts val="1200"/>
              </a:spcBef>
              <a:defRPr sz="1200">
                <a:latin typeface="+mn-lt"/>
                <a:sym typeface="Source Sans Pro" panose="020B0503030403020204" pitchFamily="34" charset="0"/>
              </a:defRPr>
            </a:lvl1pPr>
            <a:lvl2pPr marL="457200" indent="-180000">
              <a:spcBef>
                <a:spcPts val="600"/>
              </a:spcBef>
              <a:buFont typeface="Century Gothic" panose="020B0502020202020204" pitchFamily="34" charset="0"/>
              <a:buChar char="–"/>
              <a:defRPr sz="1200">
                <a:latin typeface="+mn-lt"/>
                <a:sym typeface="Source Sans Pro" panose="020B0503030403020204" pitchFamily="34" charset="0"/>
              </a:defRPr>
            </a:lvl2pPr>
            <a:lvl3pPr marL="594360" indent="-179388">
              <a:spcBef>
                <a:spcPts val="600"/>
              </a:spcBef>
              <a:buFont typeface="Century Gothic" panose="020B0502020202020204" pitchFamily="34" charset="0"/>
              <a:buChar char="–"/>
              <a:defRPr sz="1200">
                <a:latin typeface="+mn-lt"/>
                <a:sym typeface="Source Sans Pro" panose="020B0503030403020204" pitchFamily="34" charset="0"/>
              </a:defRPr>
            </a:lvl3pPr>
            <a:lvl4pPr marL="777240" indent="-180000">
              <a:spcBef>
                <a:spcPts val="600"/>
              </a:spcBef>
              <a:buFont typeface="Century Gothic" panose="020B0502020202020204" pitchFamily="34" charset="0"/>
              <a:buChar char="–"/>
              <a:defRPr sz="1200">
                <a:latin typeface="+mn-lt"/>
                <a:sym typeface="Source Sans Pro" panose="020B0503030403020204" pitchFamily="34" charset="0"/>
              </a:defRPr>
            </a:lvl4pPr>
            <a:lvl5pPr marL="914400" indent="-180000">
              <a:spcBef>
                <a:spcPts val="600"/>
              </a:spcBef>
              <a:buFont typeface="Century Gothic" panose="020B0502020202020204" pitchFamily="34" charset="0"/>
              <a:buChar char="–"/>
              <a:defRPr sz="1200">
                <a:latin typeface="+mn-lt"/>
                <a:sym typeface="Source Sans Pro" panose="020B0503030403020204"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7" name="Title 6">
            <a:extLst>
              <a:ext uri="{FF2B5EF4-FFF2-40B4-BE49-F238E27FC236}">
                <a16:creationId xmlns:a16="http://schemas.microsoft.com/office/drawing/2014/main" id="{AE9C1BD9-E21D-2C4B-BF47-CC26ADC80BDC}"/>
              </a:ext>
            </a:extLst>
          </p:cNvPr>
          <p:cNvSpPr>
            <a:spLocks noGrp="1"/>
          </p:cNvSpPr>
          <p:nvPr>
            <p:ph type="title"/>
          </p:nvPr>
        </p:nvSpPr>
        <p:spPr/>
        <p:txBody>
          <a:bodyPr vert="horz"/>
          <a:lstStyle>
            <a:lvl1pPr>
              <a:defRPr>
                <a:latin typeface="+mj-lt"/>
                <a:sym typeface="Source Sans Pro" panose="020B0503030403020204" pitchFamily="34" charset="0"/>
              </a:defRPr>
            </a:lvl1pPr>
          </a:lstStyle>
          <a:p>
            <a:r>
              <a:rPr lang="en-US"/>
              <a:t>Click to edit Master title style</a:t>
            </a:r>
          </a:p>
        </p:txBody>
      </p:sp>
      <p:sp>
        <p:nvSpPr>
          <p:cNvPr id="15" name="Text Placeholder 12">
            <a:extLst>
              <a:ext uri="{FF2B5EF4-FFF2-40B4-BE49-F238E27FC236}">
                <a16:creationId xmlns:a16="http://schemas.microsoft.com/office/drawing/2014/main" id="{3AFA8E82-99DD-AA70-B504-D151AFBB9EED}"/>
              </a:ext>
            </a:extLst>
          </p:cNvPr>
          <p:cNvSpPr>
            <a:spLocks noGrp="1"/>
          </p:cNvSpPr>
          <p:nvPr>
            <p:ph type="body" sz="quarter" idx="14" hasCustomPrompt="1"/>
          </p:nvPr>
        </p:nvSpPr>
        <p:spPr>
          <a:xfrm>
            <a:off x="179387" y="880946"/>
            <a:ext cx="11831638" cy="303369"/>
          </a:xfrm>
        </p:spPr>
        <p:txBody>
          <a:bodyPr>
            <a:normAutofit/>
          </a:bodyPr>
          <a:lstStyle>
            <a:lvl1pPr marL="0" indent="0">
              <a:spcBef>
                <a:spcPts val="0"/>
              </a:spcBef>
              <a:buFont typeface="Arial" panose="020B0604020202020204" pitchFamily="34" charset="0"/>
              <a:buNone/>
              <a:defRPr sz="1600">
                <a:solidFill>
                  <a:schemeClr val="tx2"/>
                </a:solidFill>
                <a:latin typeface="+mn-lt"/>
                <a:sym typeface="Source Sans Pro" panose="020B0503030403020204" pitchFamily="34" charset="0"/>
              </a:defRPr>
            </a:lvl1pPr>
            <a:lvl2pPr marL="180000" indent="0">
              <a:buFont typeface="Arial" panose="020B0604020202020204" pitchFamily="34" charset="0"/>
              <a:buNone/>
              <a:defRPr/>
            </a:lvl2pPr>
            <a:lvl3pPr marL="360000" indent="0">
              <a:buFont typeface="Arial" panose="020B0604020202020204" pitchFamily="34" charset="0"/>
              <a:buNone/>
              <a:defRPr/>
            </a:lvl3pPr>
            <a:lvl4pPr marL="540000" indent="0">
              <a:buFont typeface="Arial" panose="020B0604020202020204" pitchFamily="34" charset="0"/>
              <a:buNone/>
              <a:defRPr/>
            </a:lvl4pPr>
            <a:lvl5pPr marL="720000" indent="0">
              <a:buFont typeface="Arial" panose="020B0604020202020204" pitchFamily="34" charset="0"/>
              <a:buNone/>
              <a:defRPr/>
            </a:lvl5pPr>
          </a:lstStyle>
          <a:p>
            <a:pPr lvl="0"/>
            <a:r>
              <a:rPr lang="en-US"/>
              <a:t>Add subtitle here</a:t>
            </a:r>
          </a:p>
        </p:txBody>
      </p:sp>
      <p:sp>
        <p:nvSpPr>
          <p:cNvPr id="2" name="Footer Placeholder 1">
            <a:extLst>
              <a:ext uri="{FF2B5EF4-FFF2-40B4-BE49-F238E27FC236}">
                <a16:creationId xmlns:a16="http://schemas.microsoft.com/office/drawing/2014/main" id="{5BD40EE6-4A30-BEF0-390F-23293C1ADCC1}"/>
              </a:ext>
            </a:extLst>
          </p:cNvPr>
          <p:cNvSpPr>
            <a:spLocks noGrp="1"/>
          </p:cNvSpPr>
          <p:nvPr>
            <p:ph type="ftr" sz="quarter" idx="15"/>
          </p:nvPr>
        </p:nvSpPr>
        <p:spPr/>
        <p:txBody>
          <a:bodyPr/>
          <a:lstStyle>
            <a:lvl1pPr>
              <a:defRPr sz="900"/>
            </a:lvl1pPr>
          </a:lstStyle>
          <a:p>
            <a:endParaRPr lang="en-GB"/>
          </a:p>
        </p:txBody>
      </p:sp>
      <p:sp>
        <p:nvSpPr>
          <p:cNvPr id="5" name="Slide Number Placeholder 4">
            <a:extLst>
              <a:ext uri="{FF2B5EF4-FFF2-40B4-BE49-F238E27FC236}">
                <a16:creationId xmlns:a16="http://schemas.microsoft.com/office/drawing/2014/main" id="{3AA3692B-6B8A-315B-508F-48327538F341}"/>
              </a:ext>
            </a:extLst>
          </p:cNvPr>
          <p:cNvSpPr>
            <a:spLocks noGrp="1"/>
          </p:cNvSpPr>
          <p:nvPr>
            <p:ph type="sldNum" sz="quarter" idx="16"/>
          </p:nvPr>
        </p:nvSpPr>
        <p:spPr/>
        <p:txBody>
          <a:bodyPr/>
          <a:lstStyle>
            <a:lvl1pPr>
              <a:defRPr sz="900"/>
            </a:lvl1pPr>
          </a:lstStyle>
          <a:p>
            <a:fld id="{DDF71BC8-773F-4A54-968E-450E29C75AD4}" type="slidenum">
              <a:rPr lang="en-GB" smtClean="0"/>
              <a:pPr/>
              <a:t>‹#›</a:t>
            </a:fld>
            <a:endParaRPr lang="en-GB"/>
          </a:p>
        </p:txBody>
      </p:sp>
      <p:sp>
        <p:nvSpPr>
          <p:cNvPr id="9" name="Text Placeholder 8">
            <a:extLst>
              <a:ext uri="{FF2B5EF4-FFF2-40B4-BE49-F238E27FC236}">
                <a16:creationId xmlns:a16="http://schemas.microsoft.com/office/drawing/2014/main" id="{3AE813B8-5852-26D8-6C28-59A6EE4B141F}"/>
              </a:ext>
            </a:extLst>
          </p:cNvPr>
          <p:cNvSpPr>
            <a:spLocks noGrp="1"/>
          </p:cNvSpPr>
          <p:nvPr>
            <p:ph type="body" sz="quarter" idx="12" hasCustomPrompt="1"/>
          </p:nvPr>
        </p:nvSpPr>
        <p:spPr>
          <a:xfrm>
            <a:off x="642796" y="5884092"/>
            <a:ext cx="9464040" cy="365760"/>
          </a:xfrm>
        </p:spPr>
        <p:txBody>
          <a:bodyPr anchor="b">
            <a:normAutofit/>
          </a:bodyPr>
          <a:lstStyle>
            <a:lvl1pPr marL="0" indent="0" algn="l">
              <a:buNone/>
              <a:defRPr sz="900">
                <a:solidFill>
                  <a:schemeClr val="bg1">
                    <a:lumMod val="50000"/>
                  </a:schemeClr>
                </a:solidFill>
              </a:defRPr>
            </a:lvl1pPr>
          </a:lstStyle>
          <a:p>
            <a:pPr lvl="0"/>
            <a:r>
              <a:rPr lang="en-US"/>
              <a:t>Source </a:t>
            </a:r>
          </a:p>
        </p:txBody>
      </p:sp>
    </p:spTree>
    <p:extLst>
      <p:ext uri="{BB962C8B-B14F-4D97-AF65-F5344CB8AC3E}">
        <p14:creationId xmlns:p14="http://schemas.microsoft.com/office/powerpoint/2010/main" val="574383801"/>
      </p:ext>
    </p:extLst>
  </p:cSld>
  <p:clrMapOvr>
    <a:masterClrMapping/>
  </p:clrMapOvr>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 Charts Layout">
    <p:spTree>
      <p:nvGrpSpPr>
        <p:cNvPr id="1" name=""/>
        <p:cNvGrpSpPr/>
        <p:nvPr/>
      </p:nvGrpSpPr>
      <p:grpSpPr>
        <a:xfrm>
          <a:off x="0" y="0"/>
          <a:ext cx="0" cy="0"/>
          <a:chOff x="0" y="0"/>
          <a:chExt cx="0" cy="0"/>
        </a:xfrm>
      </p:grpSpPr>
      <p:graphicFrame>
        <p:nvGraphicFramePr>
          <p:cNvPr id="27" name="Object 26" hidden="1">
            <a:extLst>
              <a:ext uri="{FF2B5EF4-FFF2-40B4-BE49-F238E27FC236}">
                <a16:creationId xmlns:a16="http://schemas.microsoft.com/office/drawing/2014/main" id="{14F6F2EB-49C1-D52F-BC82-5CB6D1A37B99}"/>
              </a:ext>
            </a:extLst>
          </p:cNvPr>
          <p:cNvGraphicFramePr>
            <a:graphicFrameLocks noChangeAspect="1"/>
          </p:cNvGraphicFramePr>
          <p:nvPr userDrawn="1">
            <p:custDataLst>
              <p:tags r:id="rId1"/>
            </p:custDataLst>
            <p:extLst>
              <p:ext uri="{D42A27DB-BD31-4B8C-83A1-F6EECF244321}">
                <p14:modId xmlns:p14="http://schemas.microsoft.com/office/powerpoint/2010/main" val="5670817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8" imgH="377" progId="TCLayout.ActiveDocument.1">
                  <p:embed/>
                </p:oleObj>
              </mc:Choice>
              <mc:Fallback>
                <p:oleObj name="think-cell Slide" r:id="rId3" imgW="378" imgH="377" progId="TCLayout.ActiveDocument.1">
                  <p:embed/>
                  <p:pic>
                    <p:nvPicPr>
                      <p:cNvPr id="27" name="Object 26" hidden="1">
                        <a:extLst>
                          <a:ext uri="{FF2B5EF4-FFF2-40B4-BE49-F238E27FC236}">
                            <a16:creationId xmlns:a16="http://schemas.microsoft.com/office/drawing/2014/main" id="{14F6F2EB-49C1-D52F-BC82-5CB6D1A37B9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1D7B314-D945-1DE7-1A24-F019781FE5DA}"/>
              </a:ext>
            </a:extLst>
          </p:cNvPr>
          <p:cNvSpPr>
            <a:spLocks noGrp="1"/>
          </p:cNvSpPr>
          <p:nvPr>
            <p:ph type="title"/>
          </p:nvPr>
        </p:nvSpPr>
        <p:spPr>
          <a:xfrm>
            <a:off x="179386" y="179388"/>
            <a:ext cx="11833228" cy="640080"/>
          </a:xfrm>
        </p:spPr>
        <p:txBody>
          <a:bodyPr vert="horz"/>
          <a:lstStyle>
            <a:lvl1pPr>
              <a:defRPr>
                <a:latin typeface="+mj-lt"/>
                <a:sym typeface="Source Sans Pro" panose="020B0503030403020204" pitchFamily="34" charset="0"/>
              </a:defRPr>
            </a:lvl1pPr>
          </a:lstStyle>
          <a:p>
            <a:r>
              <a:rPr lang="en-US"/>
              <a:t>Click to edit Master title style</a:t>
            </a:r>
          </a:p>
        </p:txBody>
      </p:sp>
      <p:sp>
        <p:nvSpPr>
          <p:cNvPr id="7" name="Chart Placeholder 6">
            <a:extLst>
              <a:ext uri="{FF2B5EF4-FFF2-40B4-BE49-F238E27FC236}">
                <a16:creationId xmlns:a16="http://schemas.microsoft.com/office/drawing/2014/main" id="{2E923E0E-949B-145E-D874-7C67CCC76398}"/>
              </a:ext>
            </a:extLst>
          </p:cNvPr>
          <p:cNvSpPr>
            <a:spLocks noGrp="1"/>
          </p:cNvSpPr>
          <p:nvPr>
            <p:ph type="chart" sz="quarter" idx="15"/>
          </p:nvPr>
        </p:nvSpPr>
        <p:spPr>
          <a:xfrm>
            <a:off x="179388" y="2473094"/>
            <a:ext cx="5824728" cy="3227682"/>
          </a:xfrm>
        </p:spPr>
        <p:txBody>
          <a:bodyPr anchor="ctr"/>
          <a:lstStyle>
            <a:lvl1pPr marL="0" indent="0" algn="ctr">
              <a:buNone/>
              <a:defRPr>
                <a:latin typeface="+mn-lt"/>
              </a:defRPr>
            </a:lvl1pPr>
          </a:lstStyle>
          <a:p>
            <a:r>
              <a:rPr lang="en-US"/>
              <a:t>Click icon to add chart</a:t>
            </a:r>
          </a:p>
        </p:txBody>
      </p:sp>
      <p:sp>
        <p:nvSpPr>
          <p:cNvPr id="11" name="Chart Placeholder 6">
            <a:extLst>
              <a:ext uri="{FF2B5EF4-FFF2-40B4-BE49-F238E27FC236}">
                <a16:creationId xmlns:a16="http://schemas.microsoft.com/office/drawing/2014/main" id="{8F594133-3999-0B82-4145-66CBE4CFE693}"/>
              </a:ext>
            </a:extLst>
          </p:cNvPr>
          <p:cNvSpPr>
            <a:spLocks noGrp="1"/>
          </p:cNvSpPr>
          <p:nvPr>
            <p:ph type="chart" sz="quarter" idx="20"/>
          </p:nvPr>
        </p:nvSpPr>
        <p:spPr>
          <a:xfrm>
            <a:off x="6187886" y="2473094"/>
            <a:ext cx="5824728" cy="3227682"/>
          </a:xfrm>
        </p:spPr>
        <p:txBody>
          <a:bodyPr anchor="ctr"/>
          <a:lstStyle>
            <a:lvl1pPr marL="0" indent="0" algn="ctr">
              <a:buNone/>
              <a:defRPr>
                <a:latin typeface="+mn-lt"/>
              </a:defRPr>
            </a:lvl1pPr>
          </a:lstStyle>
          <a:p>
            <a:r>
              <a:rPr lang="en-US"/>
              <a:t>Click icon to add chart</a:t>
            </a:r>
          </a:p>
        </p:txBody>
      </p:sp>
      <p:sp>
        <p:nvSpPr>
          <p:cNvPr id="19" name="Text Placeholder 12">
            <a:extLst>
              <a:ext uri="{FF2B5EF4-FFF2-40B4-BE49-F238E27FC236}">
                <a16:creationId xmlns:a16="http://schemas.microsoft.com/office/drawing/2014/main" id="{5E62881A-EA2E-12CC-FF65-340AD9134605}"/>
              </a:ext>
            </a:extLst>
          </p:cNvPr>
          <p:cNvSpPr>
            <a:spLocks noGrp="1"/>
          </p:cNvSpPr>
          <p:nvPr>
            <p:ph type="body" sz="quarter" idx="14" hasCustomPrompt="1"/>
          </p:nvPr>
        </p:nvSpPr>
        <p:spPr>
          <a:xfrm>
            <a:off x="179387" y="880946"/>
            <a:ext cx="11831638" cy="303369"/>
          </a:xfrm>
        </p:spPr>
        <p:txBody>
          <a:bodyPr>
            <a:normAutofit/>
          </a:bodyPr>
          <a:lstStyle>
            <a:lvl1pPr marL="0" indent="0">
              <a:spcBef>
                <a:spcPts val="0"/>
              </a:spcBef>
              <a:buFont typeface="Arial" panose="020B0604020202020204" pitchFamily="34" charset="0"/>
              <a:buNone/>
              <a:defRPr sz="1600">
                <a:solidFill>
                  <a:schemeClr val="tx2"/>
                </a:solidFill>
                <a:latin typeface="+mn-lt"/>
                <a:sym typeface="Source Sans Pro" panose="020B0503030403020204" pitchFamily="34" charset="0"/>
              </a:defRPr>
            </a:lvl1pPr>
            <a:lvl2pPr marL="180000" indent="0">
              <a:buFont typeface="Arial" panose="020B0604020202020204" pitchFamily="34" charset="0"/>
              <a:buNone/>
              <a:defRPr/>
            </a:lvl2pPr>
            <a:lvl3pPr marL="360000" indent="0">
              <a:buFont typeface="Arial" panose="020B0604020202020204" pitchFamily="34" charset="0"/>
              <a:buNone/>
              <a:defRPr/>
            </a:lvl3pPr>
            <a:lvl4pPr marL="540000" indent="0">
              <a:buFont typeface="Arial" panose="020B0604020202020204" pitchFamily="34" charset="0"/>
              <a:buNone/>
              <a:defRPr/>
            </a:lvl4pPr>
            <a:lvl5pPr marL="720000" indent="0">
              <a:buFont typeface="Arial" panose="020B0604020202020204" pitchFamily="34" charset="0"/>
              <a:buNone/>
              <a:defRPr/>
            </a:lvl5pPr>
          </a:lstStyle>
          <a:p>
            <a:pPr lvl="0"/>
            <a:r>
              <a:rPr lang="en-US"/>
              <a:t>Add subtitle here</a:t>
            </a:r>
          </a:p>
        </p:txBody>
      </p:sp>
      <p:sp>
        <p:nvSpPr>
          <p:cNvPr id="20" name="Text Placeholder 11">
            <a:extLst>
              <a:ext uri="{FF2B5EF4-FFF2-40B4-BE49-F238E27FC236}">
                <a16:creationId xmlns:a16="http://schemas.microsoft.com/office/drawing/2014/main" id="{6392344F-21BC-0BCE-3CC5-D8A65F3E083B}"/>
              </a:ext>
            </a:extLst>
          </p:cNvPr>
          <p:cNvSpPr>
            <a:spLocks noGrp="1"/>
          </p:cNvSpPr>
          <p:nvPr>
            <p:ph type="body" sz="quarter" idx="16" hasCustomPrompt="1"/>
          </p:nvPr>
        </p:nvSpPr>
        <p:spPr>
          <a:xfrm>
            <a:off x="179386" y="1339912"/>
            <a:ext cx="5824728" cy="303369"/>
          </a:xfrm>
        </p:spPr>
        <p:txBody>
          <a:bodyPr anchor="b">
            <a:normAutofit/>
          </a:bodyPr>
          <a:lstStyle>
            <a:lvl1pPr marL="0" indent="0">
              <a:lnSpc>
                <a:spcPct val="100000"/>
              </a:lnSpc>
              <a:spcBef>
                <a:spcPts val="0"/>
              </a:spcBef>
              <a:buNone/>
              <a:defRPr sz="1200" b="1">
                <a:solidFill>
                  <a:schemeClr val="tx1"/>
                </a:solidFill>
                <a:latin typeface="+mn-lt"/>
                <a:sym typeface="Source Sans Pro" panose="020B0503030403020204" pitchFamily="34" charset="0"/>
              </a:defRPr>
            </a:lvl1pPr>
            <a:lvl2pPr marL="180000" indent="0">
              <a:buNone/>
              <a:defRPr/>
            </a:lvl2pPr>
            <a:lvl3pPr marL="360000" indent="0">
              <a:buNone/>
              <a:defRPr/>
            </a:lvl3pPr>
            <a:lvl4pPr marL="540000" indent="0">
              <a:buNone/>
              <a:defRPr/>
            </a:lvl4pPr>
            <a:lvl5pPr marL="720000" indent="0">
              <a:buNone/>
              <a:defRPr/>
            </a:lvl5pPr>
          </a:lstStyle>
          <a:p>
            <a:pPr lvl="0"/>
            <a:r>
              <a:rPr lang="en-US"/>
              <a:t>Chart Header</a:t>
            </a:r>
          </a:p>
        </p:txBody>
      </p:sp>
      <p:cxnSp>
        <p:nvCxnSpPr>
          <p:cNvPr id="21" name="Straight Connector 20">
            <a:extLst>
              <a:ext uri="{FF2B5EF4-FFF2-40B4-BE49-F238E27FC236}">
                <a16:creationId xmlns:a16="http://schemas.microsoft.com/office/drawing/2014/main" id="{C99F721A-2062-D12F-EE59-C0F0F6EA4515}"/>
              </a:ext>
            </a:extLst>
          </p:cNvPr>
          <p:cNvCxnSpPr>
            <a:cxnSpLocks/>
          </p:cNvCxnSpPr>
          <p:nvPr userDrawn="1"/>
        </p:nvCxnSpPr>
        <p:spPr>
          <a:xfrm>
            <a:off x="179386" y="1688546"/>
            <a:ext cx="5824728"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2" name="Text Placeholder 11">
            <a:extLst>
              <a:ext uri="{FF2B5EF4-FFF2-40B4-BE49-F238E27FC236}">
                <a16:creationId xmlns:a16="http://schemas.microsoft.com/office/drawing/2014/main" id="{786BEA4D-42D6-FFD5-3EE4-AE9C0969B7EC}"/>
              </a:ext>
            </a:extLst>
          </p:cNvPr>
          <p:cNvSpPr>
            <a:spLocks noGrp="1"/>
          </p:cNvSpPr>
          <p:nvPr>
            <p:ph type="body" sz="quarter" idx="17" hasCustomPrompt="1"/>
          </p:nvPr>
        </p:nvSpPr>
        <p:spPr>
          <a:xfrm>
            <a:off x="179386" y="1801637"/>
            <a:ext cx="5824728" cy="548640"/>
          </a:xfrm>
        </p:spPr>
        <p:txBody>
          <a:bodyPr anchor="t">
            <a:noAutofit/>
          </a:bodyPr>
          <a:lstStyle>
            <a:lvl1pPr marL="0" indent="0">
              <a:lnSpc>
                <a:spcPct val="100000"/>
              </a:lnSpc>
              <a:spcBef>
                <a:spcPts val="0"/>
              </a:spcBef>
              <a:buNone/>
              <a:defRPr sz="1200" b="0">
                <a:solidFill>
                  <a:schemeClr val="tx1"/>
                </a:solidFill>
                <a:latin typeface="+mn-lt"/>
                <a:sym typeface="Source Sans Pro" panose="020B0503030403020204" pitchFamily="34" charset="0"/>
              </a:defRPr>
            </a:lvl1pPr>
            <a:lvl2pPr marL="180000" indent="0">
              <a:buNone/>
              <a:defRPr/>
            </a:lvl2pPr>
            <a:lvl3pPr marL="360000" indent="0">
              <a:buNone/>
              <a:defRPr/>
            </a:lvl3pPr>
            <a:lvl4pPr marL="540000" indent="0">
              <a:buNone/>
              <a:defRPr/>
            </a:lvl4pPr>
            <a:lvl5pPr marL="720000" indent="0">
              <a:buNone/>
              <a:defRPr/>
            </a:lvl5pPr>
          </a:lstStyle>
          <a:p>
            <a:pPr lvl="0"/>
            <a:r>
              <a:rPr lang="en-US"/>
              <a:t>Axis titles: left aligned; same font size as axis labels; specifies precisely the data shown on chart; unit, year shown in parentheses on separate line if axis title is long (e.g., $M, 2020)</a:t>
            </a:r>
          </a:p>
        </p:txBody>
      </p:sp>
      <p:sp>
        <p:nvSpPr>
          <p:cNvPr id="23" name="Text Placeholder 11">
            <a:extLst>
              <a:ext uri="{FF2B5EF4-FFF2-40B4-BE49-F238E27FC236}">
                <a16:creationId xmlns:a16="http://schemas.microsoft.com/office/drawing/2014/main" id="{188C078D-DFC0-387F-5F91-7EA9BA0D6C3F}"/>
              </a:ext>
            </a:extLst>
          </p:cNvPr>
          <p:cNvSpPr>
            <a:spLocks noGrp="1"/>
          </p:cNvSpPr>
          <p:nvPr>
            <p:ph type="body" sz="quarter" idx="21" hasCustomPrompt="1"/>
          </p:nvPr>
        </p:nvSpPr>
        <p:spPr>
          <a:xfrm>
            <a:off x="6187886" y="1339912"/>
            <a:ext cx="5824728" cy="303369"/>
          </a:xfrm>
        </p:spPr>
        <p:txBody>
          <a:bodyPr anchor="b">
            <a:normAutofit/>
          </a:bodyPr>
          <a:lstStyle>
            <a:lvl1pPr marL="0" indent="0">
              <a:lnSpc>
                <a:spcPct val="100000"/>
              </a:lnSpc>
              <a:spcBef>
                <a:spcPts val="0"/>
              </a:spcBef>
              <a:buNone/>
              <a:defRPr sz="1200" b="1">
                <a:solidFill>
                  <a:schemeClr val="tx1"/>
                </a:solidFill>
                <a:latin typeface="+mn-lt"/>
                <a:sym typeface="Source Sans Pro" panose="020B0503030403020204" pitchFamily="34" charset="0"/>
              </a:defRPr>
            </a:lvl1pPr>
            <a:lvl2pPr marL="180000" indent="0">
              <a:buNone/>
              <a:defRPr/>
            </a:lvl2pPr>
            <a:lvl3pPr marL="360000" indent="0">
              <a:buNone/>
              <a:defRPr/>
            </a:lvl3pPr>
            <a:lvl4pPr marL="540000" indent="0">
              <a:buNone/>
              <a:defRPr/>
            </a:lvl4pPr>
            <a:lvl5pPr marL="720000" indent="0">
              <a:buNone/>
              <a:defRPr/>
            </a:lvl5pPr>
          </a:lstStyle>
          <a:p>
            <a:pPr lvl="0"/>
            <a:r>
              <a:rPr lang="en-US"/>
              <a:t>Chart Header</a:t>
            </a:r>
          </a:p>
        </p:txBody>
      </p:sp>
      <p:cxnSp>
        <p:nvCxnSpPr>
          <p:cNvPr id="24" name="Straight Connector 23">
            <a:extLst>
              <a:ext uri="{FF2B5EF4-FFF2-40B4-BE49-F238E27FC236}">
                <a16:creationId xmlns:a16="http://schemas.microsoft.com/office/drawing/2014/main" id="{1BA7F4B0-B29F-700A-9CE0-6634C51E1536}"/>
              </a:ext>
            </a:extLst>
          </p:cNvPr>
          <p:cNvCxnSpPr>
            <a:cxnSpLocks/>
          </p:cNvCxnSpPr>
          <p:nvPr userDrawn="1"/>
        </p:nvCxnSpPr>
        <p:spPr>
          <a:xfrm>
            <a:off x="6187886" y="1688546"/>
            <a:ext cx="5824728"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5" name="Text Placeholder 11">
            <a:extLst>
              <a:ext uri="{FF2B5EF4-FFF2-40B4-BE49-F238E27FC236}">
                <a16:creationId xmlns:a16="http://schemas.microsoft.com/office/drawing/2014/main" id="{566CED9A-8C3D-8012-1F8F-9217C6474785}"/>
              </a:ext>
            </a:extLst>
          </p:cNvPr>
          <p:cNvSpPr>
            <a:spLocks noGrp="1"/>
          </p:cNvSpPr>
          <p:nvPr>
            <p:ph type="body" sz="quarter" idx="22" hasCustomPrompt="1"/>
          </p:nvPr>
        </p:nvSpPr>
        <p:spPr>
          <a:xfrm>
            <a:off x="6187886" y="1801637"/>
            <a:ext cx="5824728" cy="548640"/>
          </a:xfrm>
        </p:spPr>
        <p:txBody>
          <a:bodyPr anchor="t">
            <a:noAutofit/>
          </a:bodyPr>
          <a:lstStyle>
            <a:lvl1pPr marL="0" indent="0">
              <a:lnSpc>
                <a:spcPct val="100000"/>
              </a:lnSpc>
              <a:spcBef>
                <a:spcPts val="0"/>
              </a:spcBef>
              <a:buNone/>
              <a:defRPr sz="1200" b="0">
                <a:solidFill>
                  <a:schemeClr val="tx1"/>
                </a:solidFill>
                <a:latin typeface="+mn-lt"/>
                <a:sym typeface="Source Sans Pro" panose="020B0503030403020204" pitchFamily="34" charset="0"/>
              </a:defRPr>
            </a:lvl1pPr>
            <a:lvl2pPr marL="180000" indent="0">
              <a:buNone/>
              <a:defRPr/>
            </a:lvl2pPr>
            <a:lvl3pPr marL="360000" indent="0">
              <a:buNone/>
              <a:defRPr/>
            </a:lvl3pPr>
            <a:lvl4pPr marL="540000" indent="0">
              <a:buNone/>
              <a:defRPr/>
            </a:lvl4pPr>
            <a:lvl5pPr marL="720000" indent="0">
              <a:buNone/>
              <a:defRPr/>
            </a:lvl5pPr>
          </a:lstStyle>
          <a:p>
            <a:pPr lvl="0"/>
            <a:r>
              <a:rPr lang="en-US"/>
              <a:t>Axis titles: left aligned; same font size as axis labels; specifies precisely the data shown on chart; unit, year shown in parentheses on separate line if axis title is long (e.g., $M, 2020)</a:t>
            </a:r>
          </a:p>
        </p:txBody>
      </p:sp>
      <p:sp>
        <p:nvSpPr>
          <p:cNvPr id="4" name="Footer Placeholder 3">
            <a:extLst>
              <a:ext uri="{FF2B5EF4-FFF2-40B4-BE49-F238E27FC236}">
                <a16:creationId xmlns:a16="http://schemas.microsoft.com/office/drawing/2014/main" id="{C2C58CC7-E374-CD71-2764-DEE0EE634C80}"/>
              </a:ext>
            </a:extLst>
          </p:cNvPr>
          <p:cNvSpPr>
            <a:spLocks noGrp="1"/>
          </p:cNvSpPr>
          <p:nvPr>
            <p:ph type="ftr" sz="quarter" idx="23"/>
          </p:nvPr>
        </p:nvSpPr>
        <p:spPr/>
        <p:txBody>
          <a:bodyPr/>
          <a:lstStyle>
            <a:lvl1pPr>
              <a:defRPr sz="900"/>
            </a:lvl1pPr>
          </a:lstStyle>
          <a:p>
            <a:endParaRPr lang="en-GB"/>
          </a:p>
        </p:txBody>
      </p:sp>
      <p:sp>
        <p:nvSpPr>
          <p:cNvPr id="5" name="Slide Number Placeholder 4">
            <a:extLst>
              <a:ext uri="{FF2B5EF4-FFF2-40B4-BE49-F238E27FC236}">
                <a16:creationId xmlns:a16="http://schemas.microsoft.com/office/drawing/2014/main" id="{83E36271-F715-1A84-DCD5-0DD7840605C7}"/>
              </a:ext>
            </a:extLst>
          </p:cNvPr>
          <p:cNvSpPr>
            <a:spLocks noGrp="1"/>
          </p:cNvSpPr>
          <p:nvPr>
            <p:ph type="sldNum" sz="quarter" idx="24"/>
          </p:nvPr>
        </p:nvSpPr>
        <p:spPr/>
        <p:txBody>
          <a:bodyPr/>
          <a:lstStyle>
            <a:lvl1pPr>
              <a:defRPr sz="900"/>
            </a:lvl1pPr>
          </a:lstStyle>
          <a:p>
            <a:fld id="{DDF71BC8-773F-4A54-968E-450E29C75AD4}" type="slidenum">
              <a:rPr lang="en-GB" smtClean="0"/>
              <a:pPr/>
              <a:t>‹#›</a:t>
            </a:fld>
            <a:endParaRPr lang="en-GB"/>
          </a:p>
        </p:txBody>
      </p:sp>
      <p:sp>
        <p:nvSpPr>
          <p:cNvPr id="8" name="Text Placeholder 8">
            <a:extLst>
              <a:ext uri="{FF2B5EF4-FFF2-40B4-BE49-F238E27FC236}">
                <a16:creationId xmlns:a16="http://schemas.microsoft.com/office/drawing/2014/main" id="{AB227B3C-9F2E-953F-337C-BA555263CA1C}"/>
              </a:ext>
            </a:extLst>
          </p:cNvPr>
          <p:cNvSpPr>
            <a:spLocks noGrp="1"/>
          </p:cNvSpPr>
          <p:nvPr>
            <p:ph type="body" sz="quarter" idx="12" hasCustomPrompt="1"/>
          </p:nvPr>
        </p:nvSpPr>
        <p:spPr>
          <a:xfrm>
            <a:off x="642796" y="5884092"/>
            <a:ext cx="9464040" cy="365760"/>
          </a:xfrm>
        </p:spPr>
        <p:txBody>
          <a:bodyPr anchor="b">
            <a:normAutofit/>
          </a:bodyPr>
          <a:lstStyle>
            <a:lvl1pPr marL="0" indent="0" algn="l">
              <a:buNone/>
              <a:defRPr sz="900">
                <a:solidFill>
                  <a:schemeClr val="bg1">
                    <a:lumMod val="50000"/>
                  </a:schemeClr>
                </a:solidFill>
              </a:defRPr>
            </a:lvl1pPr>
          </a:lstStyle>
          <a:p>
            <a:pPr lvl="0"/>
            <a:r>
              <a:rPr lang="en-US"/>
              <a:t>Source </a:t>
            </a:r>
          </a:p>
        </p:txBody>
      </p:sp>
    </p:spTree>
    <p:extLst>
      <p:ext uri="{BB962C8B-B14F-4D97-AF65-F5344CB8AC3E}">
        <p14:creationId xmlns:p14="http://schemas.microsoft.com/office/powerpoint/2010/main" val="315909570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 Charts Layout with no Header">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E5E7B498-3187-5409-B9EB-11BFD368628D}"/>
              </a:ext>
            </a:extLst>
          </p:cNvPr>
          <p:cNvGraphicFramePr>
            <a:graphicFrameLocks noChangeAspect="1"/>
          </p:cNvGraphicFramePr>
          <p:nvPr userDrawn="1">
            <p:custDataLst>
              <p:tags r:id="rId1"/>
            </p:custDataLst>
            <p:extLst>
              <p:ext uri="{D42A27DB-BD31-4B8C-83A1-F6EECF244321}">
                <p14:modId xmlns:p14="http://schemas.microsoft.com/office/powerpoint/2010/main" val="15093255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8" imgH="377" progId="TCLayout.ActiveDocument.1">
                  <p:embed/>
                </p:oleObj>
              </mc:Choice>
              <mc:Fallback>
                <p:oleObj name="think-cell Slide" r:id="rId3" imgW="378" imgH="377" progId="TCLayout.ActiveDocument.1">
                  <p:embed/>
                  <p:pic>
                    <p:nvPicPr>
                      <p:cNvPr id="19" name="Object 18" hidden="1">
                        <a:extLst>
                          <a:ext uri="{FF2B5EF4-FFF2-40B4-BE49-F238E27FC236}">
                            <a16:creationId xmlns:a16="http://schemas.microsoft.com/office/drawing/2014/main" id="{E5E7B498-3187-5409-B9EB-11BFD368628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1D7B314-D945-1DE7-1A24-F019781FE5DA}"/>
              </a:ext>
            </a:extLst>
          </p:cNvPr>
          <p:cNvSpPr>
            <a:spLocks noGrp="1"/>
          </p:cNvSpPr>
          <p:nvPr>
            <p:ph type="title"/>
          </p:nvPr>
        </p:nvSpPr>
        <p:spPr>
          <a:xfrm>
            <a:off x="179386" y="179388"/>
            <a:ext cx="11833228" cy="640080"/>
          </a:xfrm>
        </p:spPr>
        <p:txBody>
          <a:bodyPr vert="horz"/>
          <a:lstStyle>
            <a:lvl1pPr>
              <a:defRPr>
                <a:latin typeface="+mj-lt"/>
                <a:sym typeface="Source Sans Pro" panose="020B0503030403020204" pitchFamily="34" charset="0"/>
              </a:defRPr>
            </a:lvl1pPr>
          </a:lstStyle>
          <a:p>
            <a:r>
              <a:rPr lang="en-US"/>
              <a:t>Click to edit Master title style</a:t>
            </a:r>
          </a:p>
        </p:txBody>
      </p:sp>
      <p:sp>
        <p:nvSpPr>
          <p:cNvPr id="7" name="Chart Placeholder 6">
            <a:extLst>
              <a:ext uri="{FF2B5EF4-FFF2-40B4-BE49-F238E27FC236}">
                <a16:creationId xmlns:a16="http://schemas.microsoft.com/office/drawing/2014/main" id="{2E923E0E-949B-145E-D874-7C67CCC76398}"/>
              </a:ext>
            </a:extLst>
          </p:cNvPr>
          <p:cNvSpPr>
            <a:spLocks noGrp="1"/>
          </p:cNvSpPr>
          <p:nvPr>
            <p:ph type="chart" sz="quarter" idx="15"/>
          </p:nvPr>
        </p:nvSpPr>
        <p:spPr>
          <a:xfrm>
            <a:off x="179388" y="2080700"/>
            <a:ext cx="5824728" cy="3620076"/>
          </a:xfrm>
        </p:spPr>
        <p:txBody>
          <a:bodyPr anchor="ctr"/>
          <a:lstStyle>
            <a:lvl1pPr marL="0" indent="0" algn="ctr">
              <a:buNone/>
              <a:defRPr>
                <a:latin typeface="+mn-lt"/>
              </a:defRPr>
            </a:lvl1pPr>
          </a:lstStyle>
          <a:p>
            <a:r>
              <a:rPr lang="en-US"/>
              <a:t>Click icon to add chart</a:t>
            </a:r>
          </a:p>
        </p:txBody>
      </p:sp>
      <p:sp>
        <p:nvSpPr>
          <p:cNvPr id="11" name="Chart Placeholder 6">
            <a:extLst>
              <a:ext uri="{FF2B5EF4-FFF2-40B4-BE49-F238E27FC236}">
                <a16:creationId xmlns:a16="http://schemas.microsoft.com/office/drawing/2014/main" id="{8F594133-3999-0B82-4145-66CBE4CFE693}"/>
              </a:ext>
            </a:extLst>
          </p:cNvPr>
          <p:cNvSpPr>
            <a:spLocks noGrp="1"/>
          </p:cNvSpPr>
          <p:nvPr>
            <p:ph type="chart" sz="quarter" idx="20"/>
          </p:nvPr>
        </p:nvSpPr>
        <p:spPr>
          <a:xfrm>
            <a:off x="6187886" y="2080700"/>
            <a:ext cx="5824728" cy="3620076"/>
          </a:xfrm>
        </p:spPr>
        <p:txBody>
          <a:bodyPr anchor="ctr"/>
          <a:lstStyle>
            <a:lvl1pPr marL="0" indent="0" algn="ctr">
              <a:buNone/>
              <a:defRPr>
                <a:latin typeface="+mn-lt"/>
              </a:defRPr>
            </a:lvl1pPr>
          </a:lstStyle>
          <a:p>
            <a:r>
              <a:rPr lang="en-US"/>
              <a:t>Click icon to add chart</a:t>
            </a:r>
          </a:p>
        </p:txBody>
      </p:sp>
      <p:sp>
        <p:nvSpPr>
          <p:cNvPr id="14" name="Text Placeholder 12">
            <a:extLst>
              <a:ext uri="{FF2B5EF4-FFF2-40B4-BE49-F238E27FC236}">
                <a16:creationId xmlns:a16="http://schemas.microsoft.com/office/drawing/2014/main" id="{E6D90DA2-5E3A-F5F1-5566-AC363C828797}"/>
              </a:ext>
            </a:extLst>
          </p:cNvPr>
          <p:cNvSpPr>
            <a:spLocks noGrp="1"/>
          </p:cNvSpPr>
          <p:nvPr>
            <p:ph type="body" sz="quarter" idx="14" hasCustomPrompt="1"/>
          </p:nvPr>
        </p:nvSpPr>
        <p:spPr>
          <a:xfrm>
            <a:off x="179387" y="880946"/>
            <a:ext cx="11831638" cy="303369"/>
          </a:xfrm>
        </p:spPr>
        <p:txBody>
          <a:bodyPr>
            <a:normAutofit/>
          </a:bodyPr>
          <a:lstStyle>
            <a:lvl1pPr marL="0" indent="0">
              <a:spcBef>
                <a:spcPts val="0"/>
              </a:spcBef>
              <a:buFont typeface="Arial" panose="020B0604020202020204" pitchFamily="34" charset="0"/>
              <a:buNone/>
              <a:defRPr sz="1600">
                <a:solidFill>
                  <a:schemeClr val="tx2"/>
                </a:solidFill>
                <a:latin typeface="+mn-lt"/>
                <a:sym typeface="Source Sans Pro" panose="020B0503030403020204" pitchFamily="34" charset="0"/>
              </a:defRPr>
            </a:lvl1pPr>
            <a:lvl2pPr marL="180000" indent="0">
              <a:buFont typeface="Arial" panose="020B0604020202020204" pitchFamily="34" charset="0"/>
              <a:buNone/>
              <a:defRPr/>
            </a:lvl2pPr>
            <a:lvl3pPr marL="360000" indent="0">
              <a:buFont typeface="Arial" panose="020B0604020202020204" pitchFamily="34" charset="0"/>
              <a:buNone/>
              <a:defRPr/>
            </a:lvl3pPr>
            <a:lvl4pPr marL="540000" indent="0">
              <a:buFont typeface="Arial" panose="020B0604020202020204" pitchFamily="34" charset="0"/>
              <a:buNone/>
              <a:defRPr/>
            </a:lvl4pPr>
            <a:lvl5pPr marL="720000" indent="0">
              <a:buFont typeface="Arial" panose="020B0604020202020204" pitchFamily="34" charset="0"/>
              <a:buNone/>
              <a:defRPr/>
            </a:lvl5pPr>
          </a:lstStyle>
          <a:p>
            <a:pPr lvl="0"/>
            <a:r>
              <a:rPr lang="en-US"/>
              <a:t>Add subtitle here</a:t>
            </a:r>
          </a:p>
        </p:txBody>
      </p:sp>
      <p:sp>
        <p:nvSpPr>
          <p:cNvPr id="15" name="Text Placeholder 11">
            <a:extLst>
              <a:ext uri="{FF2B5EF4-FFF2-40B4-BE49-F238E27FC236}">
                <a16:creationId xmlns:a16="http://schemas.microsoft.com/office/drawing/2014/main" id="{BC0D0A4C-0121-0EB3-DCFC-386B5C958A8C}"/>
              </a:ext>
            </a:extLst>
          </p:cNvPr>
          <p:cNvSpPr>
            <a:spLocks noGrp="1"/>
          </p:cNvSpPr>
          <p:nvPr>
            <p:ph type="body" sz="quarter" idx="17" hasCustomPrompt="1"/>
          </p:nvPr>
        </p:nvSpPr>
        <p:spPr>
          <a:xfrm>
            <a:off x="179386" y="1339912"/>
            <a:ext cx="5824728" cy="548640"/>
          </a:xfrm>
        </p:spPr>
        <p:txBody>
          <a:bodyPr anchor="t">
            <a:noAutofit/>
          </a:bodyPr>
          <a:lstStyle>
            <a:lvl1pPr marL="0" indent="0">
              <a:lnSpc>
                <a:spcPct val="100000"/>
              </a:lnSpc>
              <a:spcBef>
                <a:spcPts val="0"/>
              </a:spcBef>
              <a:buNone/>
              <a:defRPr sz="1200" b="0">
                <a:solidFill>
                  <a:schemeClr val="tx1"/>
                </a:solidFill>
                <a:latin typeface="+mn-lt"/>
                <a:sym typeface="Source Sans Pro" panose="020B0503030403020204" pitchFamily="34" charset="0"/>
              </a:defRPr>
            </a:lvl1pPr>
            <a:lvl2pPr marL="180000" indent="0">
              <a:buNone/>
              <a:defRPr/>
            </a:lvl2pPr>
            <a:lvl3pPr marL="360000" indent="0">
              <a:buNone/>
              <a:defRPr/>
            </a:lvl3pPr>
            <a:lvl4pPr marL="540000" indent="0">
              <a:buNone/>
              <a:defRPr/>
            </a:lvl4pPr>
            <a:lvl5pPr marL="720000" indent="0">
              <a:buNone/>
              <a:defRPr/>
            </a:lvl5pPr>
          </a:lstStyle>
          <a:p>
            <a:pPr lvl="0"/>
            <a:r>
              <a:rPr lang="en-US"/>
              <a:t>Axis titles: left aligned; same font size as axis labels; specifies precisely the data shown on chart; unit, year shown in parentheses on separate line if axis title is long (e.g., $M, 2020)</a:t>
            </a:r>
          </a:p>
        </p:txBody>
      </p:sp>
      <p:sp>
        <p:nvSpPr>
          <p:cNvPr id="17" name="Text Placeholder 11">
            <a:extLst>
              <a:ext uri="{FF2B5EF4-FFF2-40B4-BE49-F238E27FC236}">
                <a16:creationId xmlns:a16="http://schemas.microsoft.com/office/drawing/2014/main" id="{EA4BC449-9CB6-D505-CB2E-3EFF378B8829}"/>
              </a:ext>
            </a:extLst>
          </p:cNvPr>
          <p:cNvSpPr>
            <a:spLocks noGrp="1"/>
          </p:cNvSpPr>
          <p:nvPr>
            <p:ph type="body" sz="quarter" idx="22" hasCustomPrompt="1"/>
          </p:nvPr>
        </p:nvSpPr>
        <p:spPr>
          <a:xfrm>
            <a:off x="6187886" y="1339912"/>
            <a:ext cx="5824728" cy="548640"/>
          </a:xfrm>
        </p:spPr>
        <p:txBody>
          <a:bodyPr anchor="t">
            <a:noAutofit/>
          </a:bodyPr>
          <a:lstStyle>
            <a:lvl1pPr marL="0" indent="0">
              <a:lnSpc>
                <a:spcPct val="100000"/>
              </a:lnSpc>
              <a:spcBef>
                <a:spcPts val="0"/>
              </a:spcBef>
              <a:buNone/>
              <a:defRPr sz="1200" b="0">
                <a:solidFill>
                  <a:schemeClr val="tx1"/>
                </a:solidFill>
                <a:latin typeface="+mn-lt"/>
                <a:sym typeface="Source Sans Pro" panose="020B0503030403020204" pitchFamily="34" charset="0"/>
              </a:defRPr>
            </a:lvl1pPr>
            <a:lvl2pPr marL="180000" indent="0">
              <a:buNone/>
              <a:defRPr/>
            </a:lvl2pPr>
            <a:lvl3pPr marL="360000" indent="0">
              <a:buNone/>
              <a:defRPr/>
            </a:lvl3pPr>
            <a:lvl4pPr marL="540000" indent="0">
              <a:buNone/>
              <a:defRPr/>
            </a:lvl4pPr>
            <a:lvl5pPr marL="720000" indent="0">
              <a:buNone/>
              <a:defRPr/>
            </a:lvl5pPr>
          </a:lstStyle>
          <a:p>
            <a:pPr lvl="0"/>
            <a:r>
              <a:rPr lang="en-US"/>
              <a:t>Axis titles: left aligned; same font size as axis labels; specifies precisely the data shown on chart; unit, year shown in parentheses on separate line if axis title is long (e.g., $M, 2020)</a:t>
            </a:r>
          </a:p>
        </p:txBody>
      </p:sp>
      <p:cxnSp>
        <p:nvCxnSpPr>
          <p:cNvPr id="20" name="Straight Connector 19">
            <a:extLst>
              <a:ext uri="{FF2B5EF4-FFF2-40B4-BE49-F238E27FC236}">
                <a16:creationId xmlns:a16="http://schemas.microsoft.com/office/drawing/2014/main" id="{E2B76E28-FC38-1965-9F4A-A28BE41A8662}"/>
              </a:ext>
            </a:extLst>
          </p:cNvPr>
          <p:cNvCxnSpPr>
            <a:cxnSpLocks/>
          </p:cNvCxnSpPr>
          <p:nvPr userDrawn="1"/>
        </p:nvCxnSpPr>
        <p:spPr>
          <a:xfrm>
            <a:off x="179386" y="1942273"/>
            <a:ext cx="5824728"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4B1B6B5A-7354-6A53-A138-80BA68ED7115}"/>
              </a:ext>
            </a:extLst>
          </p:cNvPr>
          <p:cNvCxnSpPr>
            <a:cxnSpLocks/>
          </p:cNvCxnSpPr>
          <p:nvPr userDrawn="1"/>
        </p:nvCxnSpPr>
        <p:spPr>
          <a:xfrm>
            <a:off x="6187886" y="1942273"/>
            <a:ext cx="5824728"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4" name="Footer Placeholder 3">
            <a:extLst>
              <a:ext uri="{FF2B5EF4-FFF2-40B4-BE49-F238E27FC236}">
                <a16:creationId xmlns:a16="http://schemas.microsoft.com/office/drawing/2014/main" id="{EA6EC501-9D4C-F3D3-662F-733D4513DF9F}"/>
              </a:ext>
            </a:extLst>
          </p:cNvPr>
          <p:cNvSpPr>
            <a:spLocks noGrp="1"/>
          </p:cNvSpPr>
          <p:nvPr>
            <p:ph type="ftr" sz="quarter" idx="23"/>
          </p:nvPr>
        </p:nvSpPr>
        <p:spPr/>
        <p:txBody>
          <a:bodyPr/>
          <a:lstStyle>
            <a:lvl1pPr>
              <a:defRPr sz="900"/>
            </a:lvl1pPr>
          </a:lstStyle>
          <a:p>
            <a:endParaRPr lang="en-GB"/>
          </a:p>
        </p:txBody>
      </p:sp>
      <p:sp>
        <p:nvSpPr>
          <p:cNvPr id="5" name="Slide Number Placeholder 4">
            <a:extLst>
              <a:ext uri="{FF2B5EF4-FFF2-40B4-BE49-F238E27FC236}">
                <a16:creationId xmlns:a16="http://schemas.microsoft.com/office/drawing/2014/main" id="{F2F2DA2A-E6FB-008F-28CF-1B86BC494C23}"/>
              </a:ext>
            </a:extLst>
          </p:cNvPr>
          <p:cNvSpPr>
            <a:spLocks noGrp="1"/>
          </p:cNvSpPr>
          <p:nvPr>
            <p:ph type="sldNum" sz="quarter" idx="24"/>
          </p:nvPr>
        </p:nvSpPr>
        <p:spPr/>
        <p:txBody>
          <a:bodyPr/>
          <a:lstStyle>
            <a:lvl1pPr>
              <a:defRPr sz="900"/>
            </a:lvl1pPr>
          </a:lstStyle>
          <a:p>
            <a:fld id="{DDF71BC8-773F-4A54-968E-450E29C75AD4}" type="slidenum">
              <a:rPr lang="en-GB" smtClean="0"/>
              <a:pPr/>
              <a:t>‹#›</a:t>
            </a:fld>
            <a:endParaRPr lang="en-GB"/>
          </a:p>
        </p:txBody>
      </p:sp>
      <p:sp>
        <p:nvSpPr>
          <p:cNvPr id="8" name="Text Placeholder 8">
            <a:extLst>
              <a:ext uri="{FF2B5EF4-FFF2-40B4-BE49-F238E27FC236}">
                <a16:creationId xmlns:a16="http://schemas.microsoft.com/office/drawing/2014/main" id="{24124BD2-51AF-34C5-7484-E928FF9476FD}"/>
              </a:ext>
            </a:extLst>
          </p:cNvPr>
          <p:cNvSpPr>
            <a:spLocks noGrp="1"/>
          </p:cNvSpPr>
          <p:nvPr>
            <p:ph type="body" sz="quarter" idx="12" hasCustomPrompt="1"/>
          </p:nvPr>
        </p:nvSpPr>
        <p:spPr>
          <a:xfrm>
            <a:off x="642796" y="5884092"/>
            <a:ext cx="9464040" cy="365760"/>
          </a:xfrm>
        </p:spPr>
        <p:txBody>
          <a:bodyPr anchor="b">
            <a:normAutofit/>
          </a:bodyPr>
          <a:lstStyle>
            <a:lvl1pPr marL="0" indent="0" algn="l">
              <a:buNone/>
              <a:defRPr sz="900">
                <a:solidFill>
                  <a:schemeClr val="bg1">
                    <a:lumMod val="50000"/>
                  </a:schemeClr>
                </a:solidFill>
              </a:defRPr>
            </a:lvl1pPr>
          </a:lstStyle>
          <a:p>
            <a:pPr lvl="0"/>
            <a:r>
              <a:rPr lang="en-US"/>
              <a:t>Source </a:t>
            </a:r>
          </a:p>
        </p:txBody>
      </p:sp>
    </p:spTree>
    <p:extLst>
      <p:ext uri="{BB962C8B-B14F-4D97-AF65-F5344CB8AC3E}">
        <p14:creationId xmlns:p14="http://schemas.microsoft.com/office/powerpoint/2010/main" val="141229596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ext and Right visual exhibi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C92E9254-622E-41C6-B3D0-27C816BBF106}"/>
              </a:ext>
            </a:extLst>
          </p:cNvPr>
          <p:cNvSpPr>
            <a:spLocks noGrp="1"/>
          </p:cNvSpPr>
          <p:nvPr>
            <p:ph sz="half" idx="2" hasCustomPrompt="1"/>
          </p:nvPr>
        </p:nvSpPr>
        <p:spPr>
          <a:xfrm>
            <a:off x="6187886" y="1320800"/>
            <a:ext cx="5824728" cy="4379976"/>
          </a:xfrm>
        </p:spPr>
        <p:txBody>
          <a:bodyPr anchor="ctr"/>
          <a:lstStyle>
            <a:lvl1pPr marL="0" indent="0" algn="ctr">
              <a:buNone/>
              <a:defRPr>
                <a:latin typeface="+mn-lt"/>
                <a:sym typeface="Source Sans Pro" panose="020B0503030403020204" pitchFamily="34" charset="0"/>
              </a:defRPr>
            </a:lvl1pPr>
          </a:lstStyle>
          <a:p>
            <a:pPr lvl="0"/>
            <a:r>
              <a:rPr lang="en-GB" noProof="0"/>
              <a:t>To add Visual click on any of the icons below</a:t>
            </a:r>
          </a:p>
        </p:txBody>
      </p:sp>
      <p:graphicFrame>
        <p:nvGraphicFramePr>
          <p:cNvPr id="9" name="Object 8" hidden="1">
            <a:extLst>
              <a:ext uri="{FF2B5EF4-FFF2-40B4-BE49-F238E27FC236}">
                <a16:creationId xmlns:a16="http://schemas.microsoft.com/office/drawing/2014/main" id="{3F9CE876-340E-4FD3-98C6-3988BBCA6E5E}"/>
              </a:ext>
            </a:extLst>
          </p:cNvPr>
          <p:cNvGraphicFramePr>
            <a:graphicFrameLocks noChangeAspect="1"/>
          </p:cNvGraphicFramePr>
          <p:nvPr>
            <p:custDataLst>
              <p:tags r:id="rId1"/>
            </p:custDataLst>
            <p:extLst>
              <p:ext uri="{D42A27DB-BD31-4B8C-83A1-F6EECF244321}">
                <p14:modId xmlns:p14="http://schemas.microsoft.com/office/powerpoint/2010/main" val="33761289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9" name="Object 8" hidden="1">
                        <a:extLst>
                          <a:ext uri="{FF2B5EF4-FFF2-40B4-BE49-F238E27FC236}">
                            <a16:creationId xmlns:a16="http://schemas.microsoft.com/office/drawing/2014/main" id="{3F9CE876-340E-4FD3-98C6-3988BBCA6E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AFCA972F-F766-4DED-BFAA-A0D97E14EF33}"/>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4400" b="0" i="0" baseline="0">
              <a:latin typeface="Source Sans Pro" panose="020B0503030403020204" pitchFamily="34" charset="0"/>
              <a:ea typeface="+mj-ea"/>
              <a:cs typeface="+mj-cs"/>
              <a:sym typeface="Source Sans Pro" panose="020B0503030403020204" pitchFamily="34" charset="0"/>
            </a:endParaRPr>
          </a:p>
        </p:txBody>
      </p:sp>
      <p:sp>
        <p:nvSpPr>
          <p:cNvPr id="5" name="Title 4">
            <a:extLst>
              <a:ext uri="{FF2B5EF4-FFF2-40B4-BE49-F238E27FC236}">
                <a16:creationId xmlns:a16="http://schemas.microsoft.com/office/drawing/2014/main" id="{281BB642-A1D1-0BF6-70A5-19B9B01D5A23}"/>
              </a:ext>
            </a:extLst>
          </p:cNvPr>
          <p:cNvSpPr>
            <a:spLocks noGrp="1"/>
          </p:cNvSpPr>
          <p:nvPr>
            <p:ph type="title"/>
          </p:nvPr>
        </p:nvSpPr>
        <p:spPr>
          <a:xfrm>
            <a:off x="179386" y="179388"/>
            <a:ext cx="11833228" cy="640080"/>
          </a:xfrm>
        </p:spPr>
        <p:txBody>
          <a:bodyPr vert="horz"/>
          <a:lstStyle>
            <a:lvl1pPr>
              <a:defRPr>
                <a:latin typeface="+mj-lt"/>
                <a:sym typeface="Source Sans Pro" panose="020B0503030403020204" pitchFamily="34" charset="0"/>
              </a:defRPr>
            </a:lvl1pPr>
          </a:lstStyle>
          <a:p>
            <a:r>
              <a:rPr lang="en-US"/>
              <a:t>Click to edit Master title style</a:t>
            </a:r>
          </a:p>
        </p:txBody>
      </p:sp>
      <p:sp>
        <p:nvSpPr>
          <p:cNvPr id="11" name="Text Placeholder 10">
            <a:extLst>
              <a:ext uri="{FF2B5EF4-FFF2-40B4-BE49-F238E27FC236}">
                <a16:creationId xmlns:a16="http://schemas.microsoft.com/office/drawing/2014/main" id="{60FBC440-762A-6185-73DA-25280AE43AE4}"/>
              </a:ext>
            </a:extLst>
          </p:cNvPr>
          <p:cNvSpPr>
            <a:spLocks noGrp="1"/>
          </p:cNvSpPr>
          <p:nvPr>
            <p:ph type="body" sz="quarter" idx="15"/>
          </p:nvPr>
        </p:nvSpPr>
        <p:spPr>
          <a:xfrm>
            <a:off x="179387" y="1320800"/>
            <a:ext cx="5824728" cy="4379976"/>
          </a:xfrm>
        </p:spPr>
        <p:txBody>
          <a:bodyPr>
            <a:normAutofit/>
          </a:bodyPr>
          <a:lstStyle>
            <a:lvl1pPr>
              <a:spcBef>
                <a:spcPts val="1200"/>
              </a:spcBef>
              <a:defRPr sz="1200">
                <a:latin typeface="+mn-lt"/>
                <a:sym typeface="Source Sans Pro" panose="020B0503030403020204" pitchFamily="34" charset="0"/>
              </a:defRPr>
            </a:lvl1pPr>
            <a:lvl2pPr marL="457200" indent="-180000">
              <a:spcBef>
                <a:spcPts val="600"/>
              </a:spcBef>
              <a:buFont typeface="Century Gothic" panose="020B0502020202020204" pitchFamily="34" charset="0"/>
              <a:buChar char="–"/>
              <a:defRPr sz="1200">
                <a:latin typeface="+mn-lt"/>
                <a:sym typeface="Source Sans Pro" panose="020B0503030403020204" pitchFamily="34" charset="0"/>
              </a:defRPr>
            </a:lvl2pPr>
            <a:lvl3pPr marL="594360" indent="-179388">
              <a:spcBef>
                <a:spcPts val="600"/>
              </a:spcBef>
              <a:buFont typeface="Century Gothic" panose="020B0502020202020204" pitchFamily="34" charset="0"/>
              <a:buChar char="–"/>
              <a:defRPr sz="1200">
                <a:latin typeface="+mn-lt"/>
                <a:sym typeface="Source Sans Pro" panose="020B0503030403020204" pitchFamily="34" charset="0"/>
              </a:defRPr>
            </a:lvl3pPr>
            <a:lvl4pPr marL="777240" indent="-180000">
              <a:spcBef>
                <a:spcPts val="600"/>
              </a:spcBef>
              <a:buFont typeface="Century Gothic" panose="020B0502020202020204" pitchFamily="34" charset="0"/>
              <a:buChar char="–"/>
              <a:defRPr sz="1200">
                <a:latin typeface="+mn-lt"/>
                <a:sym typeface="Source Sans Pro" panose="020B0503030403020204" pitchFamily="34" charset="0"/>
              </a:defRPr>
            </a:lvl4pPr>
            <a:lvl5pPr marL="914400" indent="-180000">
              <a:spcBef>
                <a:spcPts val="600"/>
              </a:spcBef>
              <a:buFont typeface="Century Gothic" panose="020B0502020202020204" pitchFamily="34" charset="0"/>
              <a:buChar char="–"/>
              <a:defRPr sz="1200">
                <a:latin typeface="+mn-lt"/>
                <a:sym typeface="Source Sans Pro" panose="020B0503030403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12">
            <a:extLst>
              <a:ext uri="{FF2B5EF4-FFF2-40B4-BE49-F238E27FC236}">
                <a16:creationId xmlns:a16="http://schemas.microsoft.com/office/drawing/2014/main" id="{D8EA51BE-FA53-45E5-9192-E8FD1E052C08}"/>
              </a:ext>
            </a:extLst>
          </p:cNvPr>
          <p:cNvSpPr>
            <a:spLocks noGrp="1"/>
          </p:cNvSpPr>
          <p:nvPr>
            <p:ph type="body" sz="quarter" idx="14" hasCustomPrompt="1"/>
          </p:nvPr>
        </p:nvSpPr>
        <p:spPr>
          <a:xfrm>
            <a:off x="179387" y="880946"/>
            <a:ext cx="11831638" cy="303369"/>
          </a:xfrm>
        </p:spPr>
        <p:txBody>
          <a:bodyPr>
            <a:normAutofit/>
          </a:bodyPr>
          <a:lstStyle>
            <a:lvl1pPr marL="0" indent="0">
              <a:spcBef>
                <a:spcPts val="0"/>
              </a:spcBef>
              <a:buFont typeface="Arial" panose="020B0604020202020204" pitchFamily="34" charset="0"/>
              <a:buNone/>
              <a:defRPr sz="1600">
                <a:solidFill>
                  <a:schemeClr val="tx2"/>
                </a:solidFill>
                <a:latin typeface="+mn-lt"/>
                <a:sym typeface="Source Sans Pro" panose="020B0503030403020204" pitchFamily="34" charset="0"/>
              </a:defRPr>
            </a:lvl1pPr>
            <a:lvl2pPr marL="180000" indent="0">
              <a:buFont typeface="Arial" panose="020B0604020202020204" pitchFamily="34" charset="0"/>
              <a:buNone/>
              <a:defRPr/>
            </a:lvl2pPr>
            <a:lvl3pPr marL="360000" indent="0">
              <a:buFont typeface="Arial" panose="020B0604020202020204" pitchFamily="34" charset="0"/>
              <a:buNone/>
              <a:defRPr/>
            </a:lvl3pPr>
            <a:lvl4pPr marL="540000" indent="0">
              <a:buFont typeface="Arial" panose="020B0604020202020204" pitchFamily="34" charset="0"/>
              <a:buNone/>
              <a:defRPr/>
            </a:lvl4pPr>
            <a:lvl5pPr marL="720000" indent="0">
              <a:buFont typeface="Arial" panose="020B0604020202020204" pitchFamily="34" charset="0"/>
              <a:buNone/>
              <a:defRPr/>
            </a:lvl5pPr>
          </a:lstStyle>
          <a:p>
            <a:pPr lvl="0"/>
            <a:r>
              <a:rPr lang="en-US"/>
              <a:t>Add subtitle here</a:t>
            </a:r>
          </a:p>
        </p:txBody>
      </p:sp>
      <p:sp>
        <p:nvSpPr>
          <p:cNvPr id="3" name="Footer Placeholder 2">
            <a:extLst>
              <a:ext uri="{FF2B5EF4-FFF2-40B4-BE49-F238E27FC236}">
                <a16:creationId xmlns:a16="http://schemas.microsoft.com/office/drawing/2014/main" id="{25BFAAA1-7E5E-72BD-2A03-EB2302643FBB}"/>
              </a:ext>
            </a:extLst>
          </p:cNvPr>
          <p:cNvSpPr>
            <a:spLocks noGrp="1"/>
          </p:cNvSpPr>
          <p:nvPr>
            <p:ph type="ftr" sz="quarter" idx="16"/>
          </p:nvPr>
        </p:nvSpPr>
        <p:spPr/>
        <p:txBody>
          <a:bodyPr/>
          <a:lstStyle>
            <a:lvl1pPr>
              <a:defRPr sz="900"/>
            </a:lvl1pPr>
          </a:lstStyle>
          <a:p>
            <a:endParaRPr lang="en-GB"/>
          </a:p>
        </p:txBody>
      </p:sp>
      <p:sp>
        <p:nvSpPr>
          <p:cNvPr id="6" name="Slide Number Placeholder 5">
            <a:extLst>
              <a:ext uri="{FF2B5EF4-FFF2-40B4-BE49-F238E27FC236}">
                <a16:creationId xmlns:a16="http://schemas.microsoft.com/office/drawing/2014/main" id="{D17FE375-A4A5-F990-7C8A-5C70320CA97E}"/>
              </a:ext>
            </a:extLst>
          </p:cNvPr>
          <p:cNvSpPr>
            <a:spLocks noGrp="1"/>
          </p:cNvSpPr>
          <p:nvPr>
            <p:ph type="sldNum" sz="quarter" idx="17"/>
          </p:nvPr>
        </p:nvSpPr>
        <p:spPr/>
        <p:txBody>
          <a:bodyPr/>
          <a:lstStyle>
            <a:lvl1pPr>
              <a:defRPr sz="900"/>
            </a:lvl1pPr>
          </a:lstStyle>
          <a:p>
            <a:fld id="{DDF71BC8-773F-4A54-968E-450E29C75AD4}" type="slidenum">
              <a:rPr lang="en-GB" smtClean="0"/>
              <a:pPr/>
              <a:t>‹#›</a:t>
            </a:fld>
            <a:endParaRPr lang="en-GB"/>
          </a:p>
        </p:txBody>
      </p:sp>
      <p:sp>
        <p:nvSpPr>
          <p:cNvPr id="10" name="Text Placeholder 8">
            <a:extLst>
              <a:ext uri="{FF2B5EF4-FFF2-40B4-BE49-F238E27FC236}">
                <a16:creationId xmlns:a16="http://schemas.microsoft.com/office/drawing/2014/main" id="{EB282826-BC50-B10C-6E31-539786D88DE9}"/>
              </a:ext>
            </a:extLst>
          </p:cNvPr>
          <p:cNvSpPr>
            <a:spLocks noGrp="1"/>
          </p:cNvSpPr>
          <p:nvPr>
            <p:ph type="body" sz="quarter" idx="12" hasCustomPrompt="1"/>
          </p:nvPr>
        </p:nvSpPr>
        <p:spPr>
          <a:xfrm>
            <a:off x="642796" y="5884092"/>
            <a:ext cx="9464040" cy="365760"/>
          </a:xfrm>
        </p:spPr>
        <p:txBody>
          <a:bodyPr anchor="b">
            <a:normAutofit/>
          </a:bodyPr>
          <a:lstStyle>
            <a:lvl1pPr marL="0" indent="0" algn="l">
              <a:buNone/>
              <a:defRPr sz="900">
                <a:solidFill>
                  <a:schemeClr val="bg1">
                    <a:lumMod val="50000"/>
                  </a:schemeClr>
                </a:solidFill>
              </a:defRPr>
            </a:lvl1pPr>
          </a:lstStyle>
          <a:p>
            <a:pPr lvl="0"/>
            <a:r>
              <a:rPr lang="en-US"/>
              <a:t>Source </a:t>
            </a:r>
          </a:p>
        </p:txBody>
      </p:sp>
    </p:spTree>
    <p:extLst>
      <p:ext uri="{BB962C8B-B14F-4D97-AF65-F5344CB8AC3E}">
        <p14:creationId xmlns:p14="http://schemas.microsoft.com/office/powerpoint/2010/main" val="1539977370"/>
      </p:ext>
    </p:extLst>
  </p:cSld>
  <p:clrMapOvr>
    <a:masterClrMapping/>
  </p:clrMapOvr>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ext and Left  visual exhibi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3F9CE876-340E-4FD3-98C6-3988BBCA6E5E}"/>
              </a:ext>
            </a:extLst>
          </p:cNvPr>
          <p:cNvGraphicFramePr>
            <a:graphicFrameLocks noChangeAspect="1"/>
          </p:cNvGraphicFramePr>
          <p:nvPr>
            <p:custDataLst>
              <p:tags r:id="rId1"/>
            </p:custDataLst>
            <p:extLst>
              <p:ext uri="{D42A27DB-BD31-4B8C-83A1-F6EECF244321}">
                <p14:modId xmlns:p14="http://schemas.microsoft.com/office/powerpoint/2010/main" val="13941723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9" name="Object 8" hidden="1">
                        <a:extLst>
                          <a:ext uri="{FF2B5EF4-FFF2-40B4-BE49-F238E27FC236}">
                            <a16:creationId xmlns:a16="http://schemas.microsoft.com/office/drawing/2014/main" id="{3F9CE876-340E-4FD3-98C6-3988BBCA6E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AFCA972F-F766-4DED-BFAA-A0D97E14EF33}"/>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4400" b="0" i="0" baseline="0">
              <a:latin typeface="Source Sans Pro" panose="020B0503030403020204" pitchFamily="34" charset="0"/>
              <a:ea typeface="+mj-ea"/>
              <a:cs typeface="+mj-cs"/>
              <a:sym typeface="Source Sans Pro" panose="020B0503030403020204" pitchFamily="34" charset="0"/>
            </a:endParaRPr>
          </a:p>
        </p:txBody>
      </p:sp>
      <p:sp>
        <p:nvSpPr>
          <p:cNvPr id="4" name="Content Placeholder 3">
            <a:extLst>
              <a:ext uri="{FF2B5EF4-FFF2-40B4-BE49-F238E27FC236}">
                <a16:creationId xmlns:a16="http://schemas.microsoft.com/office/drawing/2014/main" id="{C92E9254-622E-41C6-B3D0-27C816BBF106}"/>
              </a:ext>
            </a:extLst>
          </p:cNvPr>
          <p:cNvSpPr>
            <a:spLocks noGrp="1"/>
          </p:cNvSpPr>
          <p:nvPr>
            <p:ph sz="half" idx="2" hasCustomPrompt="1"/>
          </p:nvPr>
        </p:nvSpPr>
        <p:spPr>
          <a:xfrm>
            <a:off x="179387" y="1320800"/>
            <a:ext cx="5824728" cy="4379976"/>
          </a:xfrm>
        </p:spPr>
        <p:txBody>
          <a:bodyPr anchor="ctr"/>
          <a:lstStyle>
            <a:lvl1pPr marL="0" indent="0" algn="ctr">
              <a:buNone/>
              <a:defRPr>
                <a:latin typeface="+mn-lt"/>
                <a:sym typeface="Source Sans Pro" panose="020B0503030403020204" pitchFamily="34" charset="0"/>
              </a:defRPr>
            </a:lvl1pPr>
          </a:lstStyle>
          <a:p>
            <a:pPr lvl="0"/>
            <a:r>
              <a:rPr lang="en-GB" noProof="0"/>
              <a:t>To add Visual click on any of the icons below</a:t>
            </a:r>
          </a:p>
        </p:txBody>
      </p:sp>
      <p:sp>
        <p:nvSpPr>
          <p:cNvPr id="5" name="Title 4">
            <a:extLst>
              <a:ext uri="{FF2B5EF4-FFF2-40B4-BE49-F238E27FC236}">
                <a16:creationId xmlns:a16="http://schemas.microsoft.com/office/drawing/2014/main" id="{281BB642-A1D1-0BF6-70A5-19B9B01D5A23}"/>
              </a:ext>
            </a:extLst>
          </p:cNvPr>
          <p:cNvSpPr>
            <a:spLocks noGrp="1"/>
          </p:cNvSpPr>
          <p:nvPr>
            <p:ph type="title"/>
          </p:nvPr>
        </p:nvSpPr>
        <p:spPr>
          <a:xfrm>
            <a:off x="179386" y="179388"/>
            <a:ext cx="11833228" cy="640080"/>
          </a:xfrm>
        </p:spPr>
        <p:txBody>
          <a:bodyPr vert="horz"/>
          <a:lstStyle>
            <a:lvl1pPr>
              <a:defRPr>
                <a:latin typeface="+mj-lt"/>
                <a:sym typeface="Source Sans Pro" panose="020B0503030403020204" pitchFamily="34" charset="0"/>
              </a:defRPr>
            </a:lvl1pPr>
          </a:lstStyle>
          <a:p>
            <a:r>
              <a:rPr lang="en-US"/>
              <a:t>Click to edit Master title style</a:t>
            </a:r>
          </a:p>
        </p:txBody>
      </p:sp>
      <p:sp>
        <p:nvSpPr>
          <p:cNvPr id="11" name="Text Placeholder 10">
            <a:extLst>
              <a:ext uri="{FF2B5EF4-FFF2-40B4-BE49-F238E27FC236}">
                <a16:creationId xmlns:a16="http://schemas.microsoft.com/office/drawing/2014/main" id="{60FBC440-762A-6185-73DA-25280AE43AE4}"/>
              </a:ext>
            </a:extLst>
          </p:cNvPr>
          <p:cNvSpPr>
            <a:spLocks noGrp="1"/>
          </p:cNvSpPr>
          <p:nvPr>
            <p:ph type="body" sz="quarter" idx="15"/>
          </p:nvPr>
        </p:nvSpPr>
        <p:spPr>
          <a:xfrm>
            <a:off x="6187886" y="1320800"/>
            <a:ext cx="5824728" cy="4379976"/>
          </a:xfrm>
        </p:spPr>
        <p:txBody>
          <a:bodyPr>
            <a:normAutofit/>
          </a:bodyPr>
          <a:lstStyle>
            <a:lvl1pPr>
              <a:spcBef>
                <a:spcPts val="1200"/>
              </a:spcBef>
              <a:defRPr sz="1200">
                <a:latin typeface="+mn-lt"/>
                <a:sym typeface="Source Sans Pro" panose="020B0503030403020204" pitchFamily="34" charset="0"/>
              </a:defRPr>
            </a:lvl1pPr>
            <a:lvl2pPr marL="457200" indent="-180000">
              <a:spcBef>
                <a:spcPts val="600"/>
              </a:spcBef>
              <a:buFont typeface="Century Gothic" panose="020B0502020202020204" pitchFamily="34" charset="0"/>
              <a:buChar char="–"/>
              <a:defRPr sz="1200">
                <a:latin typeface="+mn-lt"/>
                <a:sym typeface="Source Sans Pro" panose="020B0503030403020204" pitchFamily="34" charset="0"/>
              </a:defRPr>
            </a:lvl2pPr>
            <a:lvl3pPr marL="594360" indent="-179388">
              <a:spcBef>
                <a:spcPts val="600"/>
              </a:spcBef>
              <a:buFont typeface="Century Gothic" panose="020B0502020202020204" pitchFamily="34" charset="0"/>
              <a:buChar char="–"/>
              <a:defRPr sz="1200">
                <a:latin typeface="+mn-lt"/>
                <a:sym typeface="Source Sans Pro" panose="020B0503030403020204" pitchFamily="34" charset="0"/>
              </a:defRPr>
            </a:lvl3pPr>
            <a:lvl4pPr marL="777240" indent="-180000">
              <a:spcBef>
                <a:spcPts val="600"/>
              </a:spcBef>
              <a:buFont typeface="Century Gothic" panose="020B0502020202020204" pitchFamily="34" charset="0"/>
              <a:buChar char="–"/>
              <a:defRPr sz="1200">
                <a:latin typeface="+mn-lt"/>
                <a:sym typeface="Source Sans Pro" panose="020B0503030403020204" pitchFamily="34" charset="0"/>
              </a:defRPr>
            </a:lvl4pPr>
            <a:lvl5pPr marL="914400" indent="-180000">
              <a:spcBef>
                <a:spcPts val="600"/>
              </a:spcBef>
              <a:buFont typeface="Century Gothic" panose="020B0502020202020204" pitchFamily="34" charset="0"/>
              <a:buChar char="–"/>
              <a:defRPr sz="1200">
                <a:latin typeface="+mn-lt"/>
                <a:sym typeface="Source Sans Pro" panose="020B0503030403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12">
            <a:extLst>
              <a:ext uri="{FF2B5EF4-FFF2-40B4-BE49-F238E27FC236}">
                <a16:creationId xmlns:a16="http://schemas.microsoft.com/office/drawing/2014/main" id="{51F1277C-0864-8D35-1A4A-0DF2211716E5}"/>
              </a:ext>
            </a:extLst>
          </p:cNvPr>
          <p:cNvSpPr>
            <a:spLocks noGrp="1"/>
          </p:cNvSpPr>
          <p:nvPr>
            <p:ph type="body" sz="quarter" idx="14" hasCustomPrompt="1"/>
          </p:nvPr>
        </p:nvSpPr>
        <p:spPr>
          <a:xfrm>
            <a:off x="179387" y="880946"/>
            <a:ext cx="11831638" cy="303369"/>
          </a:xfrm>
        </p:spPr>
        <p:txBody>
          <a:bodyPr>
            <a:normAutofit/>
          </a:bodyPr>
          <a:lstStyle>
            <a:lvl1pPr marL="0" indent="0">
              <a:spcBef>
                <a:spcPts val="0"/>
              </a:spcBef>
              <a:buFont typeface="Arial" panose="020B0604020202020204" pitchFamily="34" charset="0"/>
              <a:buNone/>
              <a:defRPr sz="1600">
                <a:solidFill>
                  <a:schemeClr val="tx2"/>
                </a:solidFill>
                <a:latin typeface="+mn-lt"/>
                <a:sym typeface="Source Sans Pro" panose="020B0503030403020204" pitchFamily="34" charset="0"/>
              </a:defRPr>
            </a:lvl1pPr>
            <a:lvl2pPr marL="180000" indent="0">
              <a:buFont typeface="Arial" panose="020B0604020202020204" pitchFamily="34" charset="0"/>
              <a:buNone/>
              <a:defRPr/>
            </a:lvl2pPr>
            <a:lvl3pPr marL="360000" indent="0">
              <a:buFont typeface="Arial" panose="020B0604020202020204" pitchFamily="34" charset="0"/>
              <a:buNone/>
              <a:defRPr/>
            </a:lvl3pPr>
            <a:lvl4pPr marL="540000" indent="0">
              <a:buFont typeface="Arial" panose="020B0604020202020204" pitchFamily="34" charset="0"/>
              <a:buNone/>
              <a:defRPr/>
            </a:lvl4pPr>
            <a:lvl5pPr marL="720000" indent="0">
              <a:buFont typeface="Arial" panose="020B0604020202020204" pitchFamily="34" charset="0"/>
              <a:buNone/>
              <a:defRPr/>
            </a:lvl5pPr>
          </a:lstStyle>
          <a:p>
            <a:pPr lvl="0"/>
            <a:r>
              <a:rPr lang="en-US"/>
              <a:t>Add subtitle here</a:t>
            </a:r>
          </a:p>
        </p:txBody>
      </p:sp>
      <p:sp>
        <p:nvSpPr>
          <p:cNvPr id="2" name="Footer Placeholder 1">
            <a:extLst>
              <a:ext uri="{FF2B5EF4-FFF2-40B4-BE49-F238E27FC236}">
                <a16:creationId xmlns:a16="http://schemas.microsoft.com/office/drawing/2014/main" id="{DC677740-3CDF-ED53-E1C2-B4AFC05BA036}"/>
              </a:ext>
            </a:extLst>
          </p:cNvPr>
          <p:cNvSpPr>
            <a:spLocks noGrp="1"/>
          </p:cNvSpPr>
          <p:nvPr>
            <p:ph type="ftr" sz="quarter" idx="16"/>
          </p:nvPr>
        </p:nvSpPr>
        <p:spPr/>
        <p:txBody>
          <a:bodyPr/>
          <a:lstStyle>
            <a:lvl1pPr>
              <a:defRPr sz="900"/>
            </a:lvl1pPr>
          </a:lstStyle>
          <a:p>
            <a:endParaRPr lang="en-GB"/>
          </a:p>
        </p:txBody>
      </p:sp>
      <p:sp>
        <p:nvSpPr>
          <p:cNvPr id="7" name="Slide Number Placeholder 6">
            <a:extLst>
              <a:ext uri="{FF2B5EF4-FFF2-40B4-BE49-F238E27FC236}">
                <a16:creationId xmlns:a16="http://schemas.microsoft.com/office/drawing/2014/main" id="{ACC5F6F0-258D-C701-BBDC-1F63922AF126}"/>
              </a:ext>
            </a:extLst>
          </p:cNvPr>
          <p:cNvSpPr>
            <a:spLocks noGrp="1"/>
          </p:cNvSpPr>
          <p:nvPr>
            <p:ph type="sldNum" sz="quarter" idx="17"/>
          </p:nvPr>
        </p:nvSpPr>
        <p:spPr/>
        <p:txBody>
          <a:bodyPr/>
          <a:lstStyle>
            <a:lvl1pPr>
              <a:defRPr sz="900"/>
            </a:lvl1pPr>
          </a:lstStyle>
          <a:p>
            <a:fld id="{DDF71BC8-773F-4A54-968E-450E29C75AD4}" type="slidenum">
              <a:rPr lang="en-GB" smtClean="0"/>
              <a:pPr/>
              <a:t>‹#›</a:t>
            </a:fld>
            <a:endParaRPr lang="en-GB"/>
          </a:p>
        </p:txBody>
      </p:sp>
      <p:sp>
        <p:nvSpPr>
          <p:cNvPr id="10" name="Text Placeholder 8">
            <a:extLst>
              <a:ext uri="{FF2B5EF4-FFF2-40B4-BE49-F238E27FC236}">
                <a16:creationId xmlns:a16="http://schemas.microsoft.com/office/drawing/2014/main" id="{F7CAD48E-D288-391E-72A3-655609A4C127}"/>
              </a:ext>
            </a:extLst>
          </p:cNvPr>
          <p:cNvSpPr>
            <a:spLocks noGrp="1"/>
          </p:cNvSpPr>
          <p:nvPr>
            <p:ph type="body" sz="quarter" idx="12" hasCustomPrompt="1"/>
          </p:nvPr>
        </p:nvSpPr>
        <p:spPr>
          <a:xfrm>
            <a:off x="642796" y="5884092"/>
            <a:ext cx="9464040" cy="365760"/>
          </a:xfrm>
        </p:spPr>
        <p:txBody>
          <a:bodyPr anchor="b">
            <a:normAutofit/>
          </a:bodyPr>
          <a:lstStyle>
            <a:lvl1pPr marL="0" indent="0" algn="l">
              <a:buNone/>
              <a:defRPr sz="900">
                <a:solidFill>
                  <a:schemeClr val="bg1">
                    <a:lumMod val="50000"/>
                  </a:schemeClr>
                </a:solidFill>
              </a:defRPr>
            </a:lvl1pPr>
          </a:lstStyle>
          <a:p>
            <a:pPr lvl="0"/>
            <a:r>
              <a:rPr lang="en-US"/>
              <a:t>Source </a:t>
            </a:r>
          </a:p>
        </p:txBody>
      </p:sp>
    </p:spTree>
    <p:extLst>
      <p:ext uri="{BB962C8B-B14F-4D97-AF65-F5344CB8AC3E}">
        <p14:creationId xmlns:p14="http://schemas.microsoft.com/office/powerpoint/2010/main" val="4235752042"/>
      </p:ext>
    </p:extLst>
  </p:cSld>
  <p:clrMapOvr>
    <a:masterClrMapping/>
  </p:clrMapOvr>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3 column Text with header Layout">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188AF8EE-35AC-49E3-9930-1BDCACEFD4B1}"/>
              </a:ext>
            </a:extLst>
          </p:cNvPr>
          <p:cNvGraphicFramePr>
            <a:graphicFrameLocks noChangeAspect="1"/>
          </p:cNvGraphicFramePr>
          <p:nvPr>
            <p:custDataLst>
              <p:tags r:id="rId1"/>
            </p:custDataLst>
            <p:extLst>
              <p:ext uri="{D42A27DB-BD31-4B8C-83A1-F6EECF244321}">
                <p14:modId xmlns:p14="http://schemas.microsoft.com/office/powerpoint/2010/main" val="19461244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11" name="Object 10" hidden="1">
                        <a:extLst>
                          <a:ext uri="{FF2B5EF4-FFF2-40B4-BE49-F238E27FC236}">
                            <a16:creationId xmlns:a16="http://schemas.microsoft.com/office/drawing/2014/main" id="{188AF8EE-35AC-49E3-9930-1BDCACEFD4B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8B4B1AF4-DDE1-4321-AD46-F0E1D9240B1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4400" b="0" i="0" baseline="0">
              <a:latin typeface="Source Sans Pro" panose="020B0503030403020204" pitchFamily="34" charset="0"/>
              <a:ea typeface="+mj-ea"/>
              <a:cs typeface="+mj-cs"/>
              <a:sym typeface="Source Sans Pro" panose="020B0503030403020204" pitchFamily="34" charset="0"/>
            </a:endParaRPr>
          </a:p>
        </p:txBody>
      </p:sp>
      <p:sp>
        <p:nvSpPr>
          <p:cNvPr id="4" name="Content Placeholder 3">
            <a:extLst>
              <a:ext uri="{FF2B5EF4-FFF2-40B4-BE49-F238E27FC236}">
                <a16:creationId xmlns:a16="http://schemas.microsoft.com/office/drawing/2014/main" id="{6F7156F0-9E20-4DB3-A7D9-421A0EEF76D6}"/>
              </a:ext>
            </a:extLst>
          </p:cNvPr>
          <p:cNvSpPr>
            <a:spLocks noGrp="1"/>
          </p:cNvSpPr>
          <p:nvPr>
            <p:ph sz="half" idx="2"/>
          </p:nvPr>
        </p:nvSpPr>
        <p:spPr>
          <a:xfrm>
            <a:off x="179388" y="1833836"/>
            <a:ext cx="3749040" cy="3866938"/>
          </a:xfrm>
        </p:spPr>
        <p:txBody>
          <a:bodyPr lIns="0" tIns="0" rIns="0" bIns="0">
            <a:normAutofit/>
          </a:bodyPr>
          <a:lstStyle>
            <a:lvl1pPr>
              <a:spcBef>
                <a:spcPts val="1200"/>
              </a:spcBef>
              <a:defRPr sz="1200">
                <a:latin typeface="+mn-lt"/>
                <a:sym typeface="Source Sans Pro" panose="020B0503030403020204" pitchFamily="34" charset="0"/>
              </a:defRPr>
            </a:lvl1pPr>
            <a:lvl2pPr marL="457200" indent="-180000">
              <a:spcBef>
                <a:spcPts val="600"/>
              </a:spcBef>
              <a:buFont typeface="Century Gothic" panose="020B0502020202020204" pitchFamily="34" charset="0"/>
              <a:buChar char="–"/>
              <a:defRPr sz="1200">
                <a:latin typeface="+mn-lt"/>
                <a:sym typeface="Source Sans Pro" panose="020B0503030403020204" pitchFamily="34" charset="0"/>
              </a:defRPr>
            </a:lvl2pPr>
            <a:lvl3pPr marL="594360" indent="-179388">
              <a:spcBef>
                <a:spcPts val="600"/>
              </a:spcBef>
              <a:buFont typeface="Century Gothic" panose="020B0502020202020204" pitchFamily="34" charset="0"/>
              <a:buChar char="–"/>
              <a:defRPr sz="1200">
                <a:latin typeface="+mn-lt"/>
                <a:sym typeface="Source Sans Pro" panose="020B0503030403020204" pitchFamily="34" charset="0"/>
              </a:defRPr>
            </a:lvl3pPr>
            <a:lvl4pPr marL="777240" indent="-180000">
              <a:spcBef>
                <a:spcPts val="600"/>
              </a:spcBef>
              <a:buFont typeface="Century Gothic" panose="020B0502020202020204" pitchFamily="34" charset="0"/>
              <a:buChar char="–"/>
              <a:defRPr sz="1200">
                <a:latin typeface="+mn-lt"/>
                <a:sym typeface="Source Sans Pro" panose="020B0503030403020204" pitchFamily="34" charset="0"/>
              </a:defRPr>
            </a:lvl4pPr>
            <a:lvl5pPr marL="914400" indent="-180000">
              <a:spcBef>
                <a:spcPts val="600"/>
              </a:spcBef>
              <a:buFont typeface="Century Gothic" panose="020B0502020202020204" pitchFamily="34" charset="0"/>
              <a:buChar char="–"/>
              <a:defRPr sz="1200">
                <a:latin typeface="+mn-lt"/>
                <a:sym typeface="Source Sans Pro" panose="020B0503030403020204"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6" name="Content Placeholder 5">
            <a:extLst>
              <a:ext uri="{FF2B5EF4-FFF2-40B4-BE49-F238E27FC236}">
                <a16:creationId xmlns:a16="http://schemas.microsoft.com/office/drawing/2014/main" id="{B2AB2582-7062-4BC6-9D19-F0253BC1B6A2}"/>
              </a:ext>
            </a:extLst>
          </p:cNvPr>
          <p:cNvSpPr>
            <a:spLocks noGrp="1"/>
          </p:cNvSpPr>
          <p:nvPr>
            <p:ph sz="quarter" idx="4"/>
          </p:nvPr>
        </p:nvSpPr>
        <p:spPr>
          <a:xfrm>
            <a:off x="4220687" y="1833836"/>
            <a:ext cx="3749040" cy="3866938"/>
          </a:xfrm>
        </p:spPr>
        <p:txBody>
          <a:bodyPr lIns="0" tIns="0" rIns="0" bIns="0">
            <a:normAutofit/>
          </a:bodyPr>
          <a:lstStyle>
            <a:lvl1pPr>
              <a:spcBef>
                <a:spcPts val="1200"/>
              </a:spcBef>
              <a:defRPr sz="1200">
                <a:latin typeface="+mn-lt"/>
                <a:sym typeface="Source Sans Pro" panose="020B0503030403020204" pitchFamily="34" charset="0"/>
              </a:defRPr>
            </a:lvl1pPr>
            <a:lvl2pPr marL="457200" indent="-180000">
              <a:spcBef>
                <a:spcPts val="600"/>
              </a:spcBef>
              <a:buFont typeface="Century Gothic" panose="020B0502020202020204" pitchFamily="34" charset="0"/>
              <a:buChar char="–"/>
              <a:defRPr sz="1200">
                <a:latin typeface="+mn-lt"/>
                <a:sym typeface="Source Sans Pro" panose="020B0503030403020204" pitchFamily="34" charset="0"/>
              </a:defRPr>
            </a:lvl2pPr>
            <a:lvl3pPr marL="594360" indent="-179388">
              <a:spcBef>
                <a:spcPts val="600"/>
              </a:spcBef>
              <a:buFont typeface="Century Gothic" panose="020B0502020202020204" pitchFamily="34" charset="0"/>
              <a:buChar char="–"/>
              <a:defRPr sz="1200">
                <a:latin typeface="+mn-lt"/>
                <a:sym typeface="Source Sans Pro" panose="020B0503030403020204" pitchFamily="34" charset="0"/>
              </a:defRPr>
            </a:lvl3pPr>
            <a:lvl4pPr marL="777240" indent="-180000">
              <a:spcBef>
                <a:spcPts val="600"/>
              </a:spcBef>
              <a:buFont typeface="Century Gothic" panose="020B0502020202020204" pitchFamily="34" charset="0"/>
              <a:buChar char="–"/>
              <a:defRPr sz="1200">
                <a:latin typeface="+mn-lt"/>
                <a:sym typeface="Source Sans Pro" panose="020B0503030403020204" pitchFamily="34" charset="0"/>
              </a:defRPr>
            </a:lvl4pPr>
            <a:lvl5pPr marL="914400" indent="-180000">
              <a:spcBef>
                <a:spcPts val="600"/>
              </a:spcBef>
              <a:buFont typeface="Century Gothic" panose="020B0502020202020204" pitchFamily="34" charset="0"/>
              <a:buChar char="–"/>
              <a:defRPr sz="1200">
                <a:latin typeface="+mn-lt"/>
                <a:sym typeface="Source Sans Pro" panose="020B0503030403020204"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7" name="Title 6">
            <a:extLst>
              <a:ext uri="{FF2B5EF4-FFF2-40B4-BE49-F238E27FC236}">
                <a16:creationId xmlns:a16="http://schemas.microsoft.com/office/drawing/2014/main" id="{AE9C1BD9-E21D-2C4B-BF47-CC26ADC80BDC}"/>
              </a:ext>
            </a:extLst>
          </p:cNvPr>
          <p:cNvSpPr>
            <a:spLocks noGrp="1"/>
          </p:cNvSpPr>
          <p:nvPr>
            <p:ph type="title"/>
          </p:nvPr>
        </p:nvSpPr>
        <p:spPr>
          <a:xfrm>
            <a:off x="179387" y="179388"/>
            <a:ext cx="11831639" cy="640080"/>
          </a:xfrm>
        </p:spPr>
        <p:txBody>
          <a:bodyPr vert="horz"/>
          <a:lstStyle>
            <a:lvl1pPr>
              <a:defRPr>
                <a:latin typeface="+mj-lt"/>
                <a:sym typeface="Source Sans Pro" panose="020B0503030403020204" pitchFamily="34" charset="0"/>
              </a:defRPr>
            </a:lvl1pPr>
          </a:lstStyle>
          <a:p>
            <a:r>
              <a:rPr lang="en-US"/>
              <a:t>Click to edit Master title style</a:t>
            </a:r>
          </a:p>
        </p:txBody>
      </p:sp>
      <p:sp>
        <p:nvSpPr>
          <p:cNvPr id="21" name="Content Placeholder 5">
            <a:extLst>
              <a:ext uri="{FF2B5EF4-FFF2-40B4-BE49-F238E27FC236}">
                <a16:creationId xmlns:a16="http://schemas.microsoft.com/office/drawing/2014/main" id="{FBAA772A-E969-6C25-B785-5343E8E141D9}"/>
              </a:ext>
            </a:extLst>
          </p:cNvPr>
          <p:cNvSpPr>
            <a:spLocks noGrp="1"/>
          </p:cNvSpPr>
          <p:nvPr>
            <p:ph sz="quarter" idx="16"/>
          </p:nvPr>
        </p:nvSpPr>
        <p:spPr>
          <a:xfrm>
            <a:off x="8261986" y="1833836"/>
            <a:ext cx="3749040" cy="3866938"/>
          </a:xfrm>
        </p:spPr>
        <p:txBody>
          <a:bodyPr lIns="0" tIns="0" rIns="0" bIns="0">
            <a:normAutofit/>
          </a:bodyPr>
          <a:lstStyle>
            <a:lvl1pPr>
              <a:spcBef>
                <a:spcPts val="1200"/>
              </a:spcBef>
              <a:defRPr sz="1200">
                <a:latin typeface="+mn-lt"/>
                <a:sym typeface="Source Sans Pro" panose="020B0503030403020204" pitchFamily="34" charset="0"/>
              </a:defRPr>
            </a:lvl1pPr>
            <a:lvl2pPr marL="457200" indent="-180000">
              <a:spcBef>
                <a:spcPts val="600"/>
              </a:spcBef>
              <a:buFont typeface="Century Gothic" panose="020B0502020202020204" pitchFamily="34" charset="0"/>
              <a:buChar char="–"/>
              <a:defRPr sz="1200">
                <a:latin typeface="+mn-lt"/>
                <a:sym typeface="Source Sans Pro" panose="020B0503030403020204" pitchFamily="34" charset="0"/>
              </a:defRPr>
            </a:lvl2pPr>
            <a:lvl3pPr marL="594360" indent="-179388">
              <a:spcBef>
                <a:spcPts val="600"/>
              </a:spcBef>
              <a:buFont typeface="Century Gothic" panose="020B0502020202020204" pitchFamily="34" charset="0"/>
              <a:buChar char="–"/>
              <a:defRPr sz="1200">
                <a:latin typeface="+mn-lt"/>
                <a:sym typeface="Source Sans Pro" panose="020B0503030403020204" pitchFamily="34" charset="0"/>
              </a:defRPr>
            </a:lvl3pPr>
            <a:lvl4pPr marL="777240" indent="-180000">
              <a:spcBef>
                <a:spcPts val="600"/>
              </a:spcBef>
              <a:buFont typeface="Century Gothic" panose="020B0502020202020204" pitchFamily="34" charset="0"/>
              <a:buChar char="–"/>
              <a:defRPr sz="1200">
                <a:latin typeface="+mn-lt"/>
                <a:sym typeface="Source Sans Pro" panose="020B0503030403020204" pitchFamily="34" charset="0"/>
              </a:defRPr>
            </a:lvl4pPr>
            <a:lvl5pPr marL="914400" indent="-180000">
              <a:spcBef>
                <a:spcPts val="600"/>
              </a:spcBef>
              <a:buFont typeface="Century Gothic" panose="020B0502020202020204" pitchFamily="34" charset="0"/>
              <a:buChar char="–"/>
              <a:defRPr sz="1200">
                <a:latin typeface="+mn-lt"/>
                <a:sym typeface="Source Sans Pro" panose="020B0503030403020204"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19" name="Text Placeholder 2">
            <a:extLst>
              <a:ext uri="{FF2B5EF4-FFF2-40B4-BE49-F238E27FC236}">
                <a16:creationId xmlns:a16="http://schemas.microsoft.com/office/drawing/2014/main" id="{B067C27F-D70D-425D-E613-A18BC54EDD2E}"/>
              </a:ext>
            </a:extLst>
          </p:cNvPr>
          <p:cNvSpPr>
            <a:spLocks noGrp="1"/>
          </p:cNvSpPr>
          <p:nvPr>
            <p:ph type="body" idx="1"/>
          </p:nvPr>
        </p:nvSpPr>
        <p:spPr>
          <a:xfrm>
            <a:off x="179388" y="1339911"/>
            <a:ext cx="3749040" cy="338328"/>
          </a:xfrm>
        </p:spPr>
        <p:txBody>
          <a:bodyPr lIns="0" tIns="0" rIns="0" bIns="0" anchor="b">
            <a:normAutofit/>
          </a:bodyPr>
          <a:lstStyle>
            <a:lvl1pPr marL="0" indent="0">
              <a:buNone/>
              <a:defRPr sz="1200" b="1">
                <a:solidFill>
                  <a:schemeClr val="tx1"/>
                </a:solidFill>
                <a:latin typeface="+mn-lt"/>
                <a:sym typeface="Source Sans Pro" panose="020B0503030403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24" name="Text Placeholder 4">
            <a:extLst>
              <a:ext uri="{FF2B5EF4-FFF2-40B4-BE49-F238E27FC236}">
                <a16:creationId xmlns:a16="http://schemas.microsoft.com/office/drawing/2014/main" id="{1BBE6E0B-BEB5-04C5-EEB0-DB9A053833BB}"/>
              </a:ext>
            </a:extLst>
          </p:cNvPr>
          <p:cNvSpPr>
            <a:spLocks noGrp="1"/>
          </p:cNvSpPr>
          <p:nvPr>
            <p:ph type="body" sz="quarter" idx="3"/>
          </p:nvPr>
        </p:nvSpPr>
        <p:spPr>
          <a:xfrm>
            <a:off x="4220687" y="1339911"/>
            <a:ext cx="3749040" cy="338328"/>
          </a:xfrm>
        </p:spPr>
        <p:txBody>
          <a:bodyPr lIns="0" tIns="0" rIns="0" bIns="0" anchor="b">
            <a:normAutofit/>
          </a:bodyPr>
          <a:lstStyle>
            <a:lvl1pPr marL="0" indent="0">
              <a:buNone/>
              <a:defRPr sz="1200" b="1">
                <a:solidFill>
                  <a:schemeClr val="tx1"/>
                </a:solidFill>
                <a:latin typeface="+mn-lt"/>
                <a:sym typeface="Source Sans Pro" panose="020B0503030403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25" name="Text Placeholder 12">
            <a:extLst>
              <a:ext uri="{FF2B5EF4-FFF2-40B4-BE49-F238E27FC236}">
                <a16:creationId xmlns:a16="http://schemas.microsoft.com/office/drawing/2014/main" id="{A1E5C7E4-6509-DFA4-3F29-1048FF94A33D}"/>
              </a:ext>
            </a:extLst>
          </p:cNvPr>
          <p:cNvSpPr>
            <a:spLocks noGrp="1"/>
          </p:cNvSpPr>
          <p:nvPr>
            <p:ph type="body" sz="quarter" idx="14" hasCustomPrompt="1"/>
          </p:nvPr>
        </p:nvSpPr>
        <p:spPr>
          <a:xfrm>
            <a:off x="179387" y="880946"/>
            <a:ext cx="11831638" cy="303369"/>
          </a:xfrm>
        </p:spPr>
        <p:txBody>
          <a:bodyPr>
            <a:normAutofit/>
          </a:bodyPr>
          <a:lstStyle>
            <a:lvl1pPr marL="0" indent="0">
              <a:spcBef>
                <a:spcPts val="0"/>
              </a:spcBef>
              <a:buFont typeface="Arial" panose="020B0604020202020204" pitchFamily="34" charset="0"/>
              <a:buNone/>
              <a:defRPr sz="1600">
                <a:solidFill>
                  <a:schemeClr val="tx2"/>
                </a:solidFill>
                <a:latin typeface="+mn-lt"/>
                <a:sym typeface="Source Sans Pro" panose="020B0503030403020204" pitchFamily="34" charset="0"/>
              </a:defRPr>
            </a:lvl1pPr>
            <a:lvl2pPr marL="180000" indent="0">
              <a:buFont typeface="Arial" panose="020B0604020202020204" pitchFamily="34" charset="0"/>
              <a:buNone/>
              <a:defRPr/>
            </a:lvl2pPr>
            <a:lvl3pPr marL="360000" indent="0">
              <a:buFont typeface="Arial" panose="020B0604020202020204" pitchFamily="34" charset="0"/>
              <a:buNone/>
              <a:defRPr/>
            </a:lvl3pPr>
            <a:lvl4pPr marL="540000" indent="0">
              <a:buFont typeface="Arial" panose="020B0604020202020204" pitchFamily="34" charset="0"/>
              <a:buNone/>
              <a:defRPr/>
            </a:lvl4pPr>
            <a:lvl5pPr marL="720000" indent="0">
              <a:buFont typeface="Arial" panose="020B0604020202020204" pitchFamily="34" charset="0"/>
              <a:buNone/>
              <a:defRPr/>
            </a:lvl5pPr>
          </a:lstStyle>
          <a:p>
            <a:pPr lvl="0"/>
            <a:r>
              <a:rPr lang="en-US"/>
              <a:t>Add subtitle here</a:t>
            </a:r>
          </a:p>
        </p:txBody>
      </p:sp>
      <p:cxnSp>
        <p:nvCxnSpPr>
          <p:cNvPr id="26" name="Straight Connector 25">
            <a:extLst>
              <a:ext uri="{FF2B5EF4-FFF2-40B4-BE49-F238E27FC236}">
                <a16:creationId xmlns:a16="http://schemas.microsoft.com/office/drawing/2014/main" id="{C55D7950-1695-1ACC-A493-CA4ADEA3EF0F}"/>
              </a:ext>
            </a:extLst>
          </p:cNvPr>
          <p:cNvCxnSpPr>
            <a:cxnSpLocks/>
          </p:cNvCxnSpPr>
          <p:nvPr userDrawn="1"/>
        </p:nvCxnSpPr>
        <p:spPr>
          <a:xfrm>
            <a:off x="179386" y="1719987"/>
            <a:ext cx="3749040"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7D7290DD-E4AE-1CB2-D505-E5959B735B0B}"/>
              </a:ext>
            </a:extLst>
          </p:cNvPr>
          <p:cNvCxnSpPr>
            <a:cxnSpLocks/>
          </p:cNvCxnSpPr>
          <p:nvPr userDrawn="1"/>
        </p:nvCxnSpPr>
        <p:spPr>
          <a:xfrm>
            <a:off x="4220687" y="1719987"/>
            <a:ext cx="3749040"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8" name="Text Placeholder 4">
            <a:extLst>
              <a:ext uri="{FF2B5EF4-FFF2-40B4-BE49-F238E27FC236}">
                <a16:creationId xmlns:a16="http://schemas.microsoft.com/office/drawing/2014/main" id="{426A5F5C-133E-001B-D942-0BFAA906F233}"/>
              </a:ext>
            </a:extLst>
          </p:cNvPr>
          <p:cNvSpPr>
            <a:spLocks noGrp="1"/>
          </p:cNvSpPr>
          <p:nvPr>
            <p:ph type="body" sz="quarter" idx="15"/>
          </p:nvPr>
        </p:nvSpPr>
        <p:spPr>
          <a:xfrm>
            <a:off x="8261986" y="1339911"/>
            <a:ext cx="3749040" cy="338328"/>
          </a:xfrm>
        </p:spPr>
        <p:txBody>
          <a:bodyPr lIns="0" tIns="0" rIns="0" bIns="0" anchor="b">
            <a:normAutofit/>
          </a:bodyPr>
          <a:lstStyle>
            <a:lvl1pPr marL="0" indent="0">
              <a:buNone/>
              <a:defRPr sz="1200" b="1">
                <a:solidFill>
                  <a:schemeClr val="tx1"/>
                </a:solidFill>
                <a:latin typeface="+mn-lt"/>
                <a:sym typeface="Source Sans Pro" panose="020B0503030403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cxnSp>
        <p:nvCxnSpPr>
          <p:cNvPr id="29" name="Straight Connector 28">
            <a:extLst>
              <a:ext uri="{FF2B5EF4-FFF2-40B4-BE49-F238E27FC236}">
                <a16:creationId xmlns:a16="http://schemas.microsoft.com/office/drawing/2014/main" id="{9D11C572-2562-283A-1D38-11C380CF7B5E}"/>
              </a:ext>
            </a:extLst>
          </p:cNvPr>
          <p:cNvCxnSpPr>
            <a:cxnSpLocks/>
          </p:cNvCxnSpPr>
          <p:nvPr userDrawn="1"/>
        </p:nvCxnSpPr>
        <p:spPr>
          <a:xfrm>
            <a:off x="8261986" y="1719987"/>
            <a:ext cx="3749040"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 name="Text Placeholder 8">
            <a:extLst>
              <a:ext uri="{FF2B5EF4-FFF2-40B4-BE49-F238E27FC236}">
                <a16:creationId xmlns:a16="http://schemas.microsoft.com/office/drawing/2014/main" id="{93C462AC-39CA-378B-4E77-82D887EA288B}"/>
              </a:ext>
            </a:extLst>
          </p:cNvPr>
          <p:cNvSpPr>
            <a:spLocks noGrp="1"/>
          </p:cNvSpPr>
          <p:nvPr>
            <p:ph type="body" sz="quarter" idx="12" hasCustomPrompt="1"/>
          </p:nvPr>
        </p:nvSpPr>
        <p:spPr>
          <a:xfrm>
            <a:off x="642796" y="5884092"/>
            <a:ext cx="9464040" cy="365760"/>
          </a:xfrm>
        </p:spPr>
        <p:txBody>
          <a:bodyPr anchor="b">
            <a:normAutofit/>
          </a:bodyPr>
          <a:lstStyle>
            <a:lvl1pPr marL="0" indent="0" algn="l">
              <a:buNone/>
              <a:defRPr sz="900">
                <a:solidFill>
                  <a:schemeClr val="bg1">
                    <a:lumMod val="50000"/>
                  </a:schemeClr>
                </a:solidFill>
              </a:defRPr>
            </a:lvl1pPr>
          </a:lstStyle>
          <a:p>
            <a:pPr lvl="0"/>
            <a:r>
              <a:rPr lang="en-US"/>
              <a:t>Source </a:t>
            </a:r>
          </a:p>
        </p:txBody>
      </p:sp>
      <p:sp>
        <p:nvSpPr>
          <p:cNvPr id="5" name="Footer Placeholder 4">
            <a:extLst>
              <a:ext uri="{FF2B5EF4-FFF2-40B4-BE49-F238E27FC236}">
                <a16:creationId xmlns:a16="http://schemas.microsoft.com/office/drawing/2014/main" id="{C86D4D5A-2CD7-FE9F-E57C-2F15372E5CEC}"/>
              </a:ext>
            </a:extLst>
          </p:cNvPr>
          <p:cNvSpPr>
            <a:spLocks noGrp="1"/>
          </p:cNvSpPr>
          <p:nvPr>
            <p:ph type="ftr" sz="quarter" idx="17"/>
          </p:nvPr>
        </p:nvSpPr>
        <p:spPr/>
        <p:txBody>
          <a:bodyPr/>
          <a:lstStyle>
            <a:lvl1pPr>
              <a:defRPr sz="900"/>
            </a:lvl1pPr>
          </a:lstStyle>
          <a:p>
            <a:endParaRPr lang="en-GB"/>
          </a:p>
        </p:txBody>
      </p:sp>
      <p:sp>
        <p:nvSpPr>
          <p:cNvPr id="8" name="Slide Number Placeholder 7">
            <a:extLst>
              <a:ext uri="{FF2B5EF4-FFF2-40B4-BE49-F238E27FC236}">
                <a16:creationId xmlns:a16="http://schemas.microsoft.com/office/drawing/2014/main" id="{38D4DF5B-9B62-32E2-362D-0952C409378C}"/>
              </a:ext>
            </a:extLst>
          </p:cNvPr>
          <p:cNvSpPr>
            <a:spLocks noGrp="1"/>
          </p:cNvSpPr>
          <p:nvPr>
            <p:ph type="sldNum" sz="quarter" idx="18"/>
          </p:nvPr>
        </p:nvSpPr>
        <p:spPr/>
        <p:txBody>
          <a:bodyPr/>
          <a:lstStyle>
            <a:lvl1pPr>
              <a:defRPr sz="900"/>
            </a:lvl1pPr>
          </a:lstStyle>
          <a:p>
            <a:fld id="{DDF71BC8-773F-4A54-968E-450E29C75AD4}" type="slidenum">
              <a:rPr lang="en-GB" smtClean="0"/>
              <a:pPr/>
              <a:t>‹#›</a:t>
            </a:fld>
            <a:endParaRPr lang="en-GB"/>
          </a:p>
        </p:txBody>
      </p:sp>
    </p:spTree>
    <p:extLst>
      <p:ext uri="{BB962C8B-B14F-4D97-AF65-F5344CB8AC3E}">
        <p14:creationId xmlns:p14="http://schemas.microsoft.com/office/powerpoint/2010/main" val="2091350377"/>
      </p:ext>
    </p:extLst>
  </p:cSld>
  <p:clrMapOvr>
    <a:masterClrMapping/>
  </p:clrMapOvr>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3 column Text without header Layout">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188AF8EE-35AC-49E3-9930-1BDCACEFD4B1}"/>
              </a:ext>
            </a:extLst>
          </p:cNvPr>
          <p:cNvGraphicFramePr>
            <a:graphicFrameLocks noChangeAspect="1"/>
          </p:cNvGraphicFramePr>
          <p:nvPr>
            <p:custDataLst>
              <p:tags r:id="rId1"/>
            </p:custDataLst>
            <p:extLst>
              <p:ext uri="{D42A27DB-BD31-4B8C-83A1-F6EECF244321}">
                <p14:modId xmlns:p14="http://schemas.microsoft.com/office/powerpoint/2010/main" val="1815818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11" name="Object 10" hidden="1">
                        <a:extLst>
                          <a:ext uri="{FF2B5EF4-FFF2-40B4-BE49-F238E27FC236}">
                            <a16:creationId xmlns:a16="http://schemas.microsoft.com/office/drawing/2014/main" id="{188AF8EE-35AC-49E3-9930-1BDCACEFD4B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8B4B1AF4-DDE1-4321-AD46-F0E1D9240B1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4400" b="0" i="0" baseline="0">
              <a:latin typeface="Source Sans Pro" panose="020B0503030403020204" pitchFamily="34" charset="0"/>
              <a:ea typeface="+mj-ea"/>
              <a:cs typeface="+mj-cs"/>
              <a:sym typeface="Source Sans Pro" panose="020B0503030403020204" pitchFamily="34" charset="0"/>
            </a:endParaRPr>
          </a:p>
        </p:txBody>
      </p:sp>
      <p:sp>
        <p:nvSpPr>
          <p:cNvPr id="4" name="Content Placeholder 3">
            <a:extLst>
              <a:ext uri="{FF2B5EF4-FFF2-40B4-BE49-F238E27FC236}">
                <a16:creationId xmlns:a16="http://schemas.microsoft.com/office/drawing/2014/main" id="{6F7156F0-9E20-4DB3-A7D9-421A0EEF76D6}"/>
              </a:ext>
            </a:extLst>
          </p:cNvPr>
          <p:cNvSpPr>
            <a:spLocks noGrp="1"/>
          </p:cNvSpPr>
          <p:nvPr>
            <p:ph sz="half" idx="2"/>
          </p:nvPr>
        </p:nvSpPr>
        <p:spPr>
          <a:xfrm>
            <a:off x="179388" y="1320800"/>
            <a:ext cx="3749040" cy="4379976"/>
          </a:xfrm>
        </p:spPr>
        <p:txBody>
          <a:bodyPr lIns="0" tIns="0" rIns="0" bIns="0">
            <a:normAutofit/>
          </a:bodyPr>
          <a:lstStyle>
            <a:lvl1pPr>
              <a:spcBef>
                <a:spcPts val="1200"/>
              </a:spcBef>
              <a:defRPr sz="1200">
                <a:latin typeface="+mn-lt"/>
                <a:sym typeface="Source Sans Pro" panose="020B0503030403020204" pitchFamily="34" charset="0"/>
              </a:defRPr>
            </a:lvl1pPr>
            <a:lvl2pPr marL="457200" indent="-180000">
              <a:spcBef>
                <a:spcPts val="600"/>
              </a:spcBef>
              <a:buFont typeface="Century Gothic" panose="020B0502020202020204" pitchFamily="34" charset="0"/>
              <a:buChar char="–"/>
              <a:defRPr sz="1200">
                <a:latin typeface="+mn-lt"/>
                <a:sym typeface="Source Sans Pro" panose="020B0503030403020204" pitchFamily="34" charset="0"/>
              </a:defRPr>
            </a:lvl2pPr>
            <a:lvl3pPr marL="594360" indent="-179388">
              <a:spcBef>
                <a:spcPts val="600"/>
              </a:spcBef>
              <a:buFont typeface="Century Gothic" panose="020B0502020202020204" pitchFamily="34" charset="0"/>
              <a:buChar char="–"/>
              <a:defRPr sz="1200">
                <a:latin typeface="+mn-lt"/>
                <a:sym typeface="Source Sans Pro" panose="020B0503030403020204" pitchFamily="34" charset="0"/>
              </a:defRPr>
            </a:lvl3pPr>
            <a:lvl4pPr marL="777240" indent="-180000">
              <a:spcBef>
                <a:spcPts val="600"/>
              </a:spcBef>
              <a:buFont typeface="Century Gothic" panose="020B0502020202020204" pitchFamily="34" charset="0"/>
              <a:buChar char="–"/>
              <a:defRPr sz="1200">
                <a:latin typeface="+mn-lt"/>
                <a:sym typeface="Source Sans Pro" panose="020B0503030403020204" pitchFamily="34" charset="0"/>
              </a:defRPr>
            </a:lvl4pPr>
            <a:lvl5pPr marL="914400" indent="-180000">
              <a:spcBef>
                <a:spcPts val="600"/>
              </a:spcBef>
              <a:buFont typeface="Century Gothic" panose="020B0502020202020204" pitchFamily="34" charset="0"/>
              <a:buChar char="–"/>
              <a:defRPr sz="1200">
                <a:latin typeface="+mn-lt"/>
                <a:sym typeface="Source Sans Pro" panose="020B0503030403020204"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6" name="Content Placeholder 5">
            <a:extLst>
              <a:ext uri="{FF2B5EF4-FFF2-40B4-BE49-F238E27FC236}">
                <a16:creationId xmlns:a16="http://schemas.microsoft.com/office/drawing/2014/main" id="{B2AB2582-7062-4BC6-9D19-F0253BC1B6A2}"/>
              </a:ext>
            </a:extLst>
          </p:cNvPr>
          <p:cNvSpPr>
            <a:spLocks noGrp="1"/>
          </p:cNvSpPr>
          <p:nvPr>
            <p:ph sz="quarter" idx="4"/>
          </p:nvPr>
        </p:nvSpPr>
        <p:spPr>
          <a:xfrm>
            <a:off x="4220686" y="1320800"/>
            <a:ext cx="3749040" cy="4379976"/>
          </a:xfrm>
        </p:spPr>
        <p:txBody>
          <a:bodyPr lIns="0" tIns="0" rIns="0" bIns="0">
            <a:normAutofit/>
          </a:bodyPr>
          <a:lstStyle>
            <a:lvl1pPr>
              <a:spcBef>
                <a:spcPts val="1200"/>
              </a:spcBef>
              <a:defRPr sz="1200">
                <a:latin typeface="+mn-lt"/>
                <a:sym typeface="Source Sans Pro" panose="020B0503030403020204" pitchFamily="34" charset="0"/>
              </a:defRPr>
            </a:lvl1pPr>
            <a:lvl2pPr marL="457200" indent="-180000">
              <a:spcBef>
                <a:spcPts val="600"/>
              </a:spcBef>
              <a:buFont typeface="Century Gothic" panose="020B0502020202020204" pitchFamily="34" charset="0"/>
              <a:buChar char="–"/>
              <a:defRPr sz="1200">
                <a:latin typeface="+mn-lt"/>
                <a:sym typeface="Source Sans Pro" panose="020B0503030403020204" pitchFamily="34" charset="0"/>
              </a:defRPr>
            </a:lvl2pPr>
            <a:lvl3pPr marL="594360" indent="-179388">
              <a:spcBef>
                <a:spcPts val="600"/>
              </a:spcBef>
              <a:buFont typeface="Century Gothic" panose="020B0502020202020204" pitchFamily="34" charset="0"/>
              <a:buChar char="–"/>
              <a:defRPr sz="1200">
                <a:latin typeface="+mn-lt"/>
                <a:sym typeface="Source Sans Pro" panose="020B0503030403020204" pitchFamily="34" charset="0"/>
              </a:defRPr>
            </a:lvl3pPr>
            <a:lvl4pPr marL="777240" indent="-180000">
              <a:spcBef>
                <a:spcPts val="600"/>
              </a:spcBef>
              <a:buFont typeface="Century Gothic" panose="020B0502020202020204" pitchFamily="34" charset="0"/>
              <a:buChar char="–"/>
              <a:defRPr sz="1200">
                <a:latin typeface="+mn-lt"/>
                <a:sym typeface="Source Sans Pro" panose="020B0503030403020204" pitchFamily="34" charset="0"/>
              </a:defRPr>
            </a:lvl4pPr>
            <a:lvl5pPr marL="914400" indent="-180000">
              <a:spcBef>
                <a:spcPts val="600"/>
              </a:spcBef>
              <a:buFont typeface="Century Gothic" panose="020B0502020202020204" pitchFamily="34" charset="0"/>
              <a:buChar char="–"/>
              <a:defRPr sz="1200">
                <a:latin typeface="+mn-lt"/>
                <a:sym typeface="Source Sans Pro" panose="020B0503030403020204"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3" name="Content Placeholder 5">
            <a:extLst>
              <a:ext uri="{FF2B5EF4-FFF2-40B4-BE49-F238E27FC236}">
                <a16:creationId xmlns:a16="http://schemas.microsoft.com/office/drawing/2014/main" id="{0ADB62D9-9E48-54E0-D731-A87A653E1785}"/>
              </a:ext>
            </a:extLst>
          </p:cNvPr>
          <p:cNvSpPr>
            <a:spLocks noGrp="1"/>
          </p:cNvSpPr>
          <p:nvPr>
            <p:ph sz="quarter" idx="15"/>
          </p:nvPr>
        </p:nvSpPr>
        <p:spPr>
          <a:xfrm>
            <a:off x="8261985" y="1320800"/>
            <a:ext cx="3749040" cy="4379976"/>
          </a:xfrm>
        </p:spPr>
        <p:txBody>
          <a:bodyPr lIns="0" tIns="0" rIns="0" bIns="0">
            <a:normAutofit/>
          </a:bodyPr>
          <a:lstStyle>
            <a:lvl1pPr>
              <a:spcBef>
                <a:spcPts val="1200"/>
              </a:spcBef>
              <a:defRPr sz="1200">
                <a:latin typeface="+mn-lt"/>
                <a:sym typeface="Source Sans Pro" panose="020B0503030403020204" pitchFamily="34" charset="0"/>
              </a:defRPr>
            </a:lvl1pPr>
            <a:lvl2pPr marL="457200" indent="-180000">
              <a:spcBef>
                <a:spcPts val="600"/>
              </a:spcBef>
              <a:buFont typeface="Century Gothic" panose="020B0502020202020204" pitchFamily="34" charset="0"/>
              <a:buChar char="–"/>
              <a:defRPr sz="1200">
                <a:latin typeface="+mn-lt"/>
                <a:sym typeface="Source Sans Pro" panose="020B0503030403020204" pitchFamily="34" charset="0"/>
              </a:defRPr>
            </a:lvl2pPr>
            <a:lvl3pPr marL="594360" indent="-179388">
              <a:spcBef>
                <a:spcPts val="600"/>
              </a:spcBef>
              <a:buFont typeface="Century Gothic" panose="020B0502020202020204" pitchFamily="34" charset="0"/>
              <a:buChar char="–"/>
              <a:defRPr sz="1200">
                <a:latin typeface="+mn-lt"/>
                <a:sym typeface="Source Sans Pro" panose="020B0503030403020204" pitchFamily="34" charset="0"/>
              </a:defRPr>
            </a:lvl3pPr>
            <a:lvl4pPr marL="777240" indent="-180000">
              <a:spcBef>
                <a:spcPts val="600"/>
              </a:spcBef>
              <a:buFont typeface="Century Gothic" panose="020B0502020202020204" pitchFamily="34" charset="0"/>
              <a:buChar char="–"/>
              <a:defRPr sz="1200">
                <a:latin typeface="+mn-lt"/>
                <a:sym typeface="Source Sans Pro" panose="020B0503030403020204" pitchFamily="34" charset="0"/>
              </a:defRPr>
            </a:lvl4pPr>
            <a:lvl5pPr marL="914400" indent="-180000">
              <a:spcBef>
                <a:spcPts val="600"/>
              </a:spcBef>
              <a:buFont typeface="Century Gothic" panose="020B0502020202020204" pitchFamily="34" charset="0"/>
              <a:buChar char="–"/>
              <a:defRPr sz="1200">
                <a:latin typeface="+mn-lt"/>
                <a:sym typeface="Source Sans Pro" panose="020B0503030403020204"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17" name="Text Placeholder 12">
            <a:extLst>
              <a:ext uri="{FF2B5EF4-FFF2-40B4-BE49-F238E27FC236}">
                <a16:creationId xmlns:a16="http://schemas.microsoft.com/office/drawing/2014/main" id="{C4BEFC57-743F-24B0-E06C-14A05EEE766D}"/>
              </a:ext>
            </a:extLst>
          </p:cNvPr>
          <p:cNvSpPr>
            <a:spLocks noGrp="1"/>
          </p:cNvSpPr>
          <p:nvPr>
            <p:ph type="body" sz="quarter" idx="14" hasCustomPrompt="1"/>
          </p:nvPr>
        </p:nvSpPr>
        <p:spPr>
          <a:xfrm>
            <a:off x="179387" y="880946"/>
            <a:ext cx="11831638" cy="303369"/>
          </a:xfrm>
        </p:spPr>
        <p:txBody>
          <a:bodyPr>
            <a:normAutofit/>
          </a:bodyPr>
          <a:lstStyle>
            <a:lvl1pPr marL="0" indent="0">
              <a:spcBef>
                <a:spcPts val="0"/>
              </a:spcBef>
              <a:buFont typeface="Arial" panose="020B0604020202020204" pitchFamily="34" charset="0"/>
              <a:buNone/>
              <a:defRPr sz="1600">
                <a:solidFill>
                  <a:schemeClr val="tx2"/>
                </a:solidFill>
                <a:latin typeface="+mn-lt"/>
                <a:sym typeface="Source Sans Pro" panose="020B0503030403020204" pitchFamily="34" charset="0"/>
              </a:defRPr>
            </a:lvl1pPr>
            <a:lvl2pPr marL="180000" indent="0">
              <a:buFont typeface="Arial" panose="020B0604020202020204" pitchFamily="34" charset="0"/>
              <a:buNone/>
              <a:defRPr/>
            </a:lvl2pPr>
            <a:lvl3pPr marL="360000" indent="0">
              <a:buFont typeface="Arial" panose="020B0604020202020204" pitchFamily="34" charset="0"/>
              <a:buNone/>
              <a:defRPr/>
            </a:lvl3pPr>
            <a:lvl4pPr marL="540000" indent="0">
              <a:buFont typeface="Arial" panose="020B0604020202020204" pitchFamily="34" charset="0"/>
              <a:buNone/>
              <a:defRPr/>
            </a:lvl4pPr>
            <a:lvl5pPr marL="720000" indent="0">
              <a:buFont typeface="Arial" panose="020B0604020202020204" pitchFamily="34" charset="0"/>
              <a:buNone/>
              <a:defRPr/>
            </a:lvl5pPr>
          </a:lstStyle>
          <a:p>
            <a:pPr lvl="0"/>
            <a:r>
              <a:rPr lang="en-US"/>
              <a:t>Add subtitle here</a:t>
            </a:r>
          </a:p>
        </p:txBody>
      </p:sp>
      <p:sp>
        <p:nvSpPr>
          <p:cNvPr id="2" name="Footer Placeholder 1">
            <a:extLst>
              <a:ext uri="{FF2B5EF4-FFF2-40B4-BE49-F238E27FC236}">
                <a16:creationId xmlns:a16="http://schemas.microsoft.com/office/drawing/2014/main" id="{600CEFF3-0E66-3103-807A-E115EE9F77F9}"/>
              </a:ext>
            </a:extLst>
          </p:cNvPr>
          <p:cNvSpPr>
            <a:spLocks noGrp="1"/>
          </p:cNvSpPr>
          <p:nvPr>
            <p:ph type="ftr" sz="quarter" idx="16"/>
          </p:nvPr>
        </p:nvSpPr>
        <p:spPr/>
        <p:txBody>
          <a:bodyPr/>
          <a:lstStyle>
            <a:lvl1pPr>
              <a:defRPr sz="900"/>
            </a:lvl1pPr>
          </a:lstStyle>
          <a:p>
            <a:endParaRPr lang="en-GB"/>
          </a:p>
        </p:txBody>
      </p:sp>
      <p:sp>
        <p:nvSpPr>
          <p:cNvPr id="8" name="Slide Number Placeholder 7">
            <a:extLst>
              <a:ext uri="{FF2B5EF4-FFF2-40B4-BE49-F238E27FC236}">
                <a16:creationId xmlns:a16="http://schemas.microsoft.com/office/drawing/2014/main" id="{0B66FBC8-C31A-B85D-66EC-15D75D8E53FD}"/>
              </a:ext>
            </a:extLst>
          </p:cNvPr>
          <p:cNvSpPr>
            <a:spLocks noGrp="1"/>
          </p:cNvSpPr>
          <p:nvPr>
            <p:ph type="sldNum" sz="quarter" idx="17"/>
          </p:nvPr>
        </p:nvSpPr>
        <p:spPr/>
        <p:txBody>
          <a:bodyPr/>
          <a:lstStyle>
            <a:lvl1pPr>
              <a:defRPr sz="900"/>
            </a:lvl1pPr>
          </a:lstStyle>
          <a:p>
            <a:fld id="{DDF71BC8-773F-4A54-968E-450E29C75AD4}" type="slidenum">
              <a:rPr lang="en-GB" smtClean="0"/>
              <a:pPr/>
              <a:t>‹#›</a:t>
            </a:fld>
            <a:endParaRPr lang="en-GB"/>
          </a:p>
        </p:txBody>
      </p:sp>
      <p:sp>
        <p:nvSpPr>
          <p:cNvPr id="9" name="Text Placeholder 8">
            <a:extLst>
              <a:ext uri="{FF2B5EF4-FFF2-40B4-BE49-F238E27FC236}">
                <a16:creationId xmlns:a16="http://schemas.microsoft.com/office/drawing/2014/main" id="{0363E2B5-AE62-B05A-024B-5E2BD647B9E9}"/>
              </a:ext>
            </a:extLst>
          </p:cNvPr>
          <p:cNvSpPr>
            <a:spLocks noGrp="1"/>
          </p:cNvSpPr>
          <p:nvPr>
            <p:ph type="body" sz="quarter" idx="12" hasCustomPrompt="1"/>
          </p:nvPr>
        </p:nvSpPr>
        <p:spPr>
          <a:xfrm>
            <a:off x="642796" y="5884092"/>
            <a:ext cx="9464040" cy="365760"/>
          </a:xfrm>
        </p:spPr>
        <p:txBody>
          <a:bodyPr anchor="b">
            <a:normAutofit/>
          </a:bodyPr>
          <a:lstStyle>
            <a:lvl1pPr marL="0" indent="0" algn="l">
              <a:buNone/>
              <a:defRPr sz="900">
                <a:solidFill>
                  <a:schemeClr val="bg1">
                    <a:lumMod val="50000"/>
                  </a:schemeClr>
                </a:solidFill>
              </a:defRPr>
            </a:lvl1pPr>
          </a:lstStyle>
          <a:p>
            <a:pPr lvl="0"/>
            <a:r>
              <a:rPr lang="en-US"/>
              <a:t>Source </a:t>
            </a:r>
          </a:p>
        </p:txBody>
      </p:sp>
      <p:sp>
        <p:nvSpPr>
          <p:cNvPr id="13" name="Title 12">
            <a:extLst>
              <a:ext uri="{FF2B5EF4-FFF2-40B4-BE49-F238E27FC236}">
                <a16:creationId xmlns:a16="http://schemas.microsoft.com/office/drawing/2014/main" id="{F17D492A-019F-366B-07C4-BC9D3FEDAB08}"/>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046906783"/>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6_Title Slide (Pictur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2F0D3B3-FB4D-45BC-BE2E-E0ACC1635A4F}"/>
              </a:ext>
            </a:extLst>
          </p:cNvPr>
          <p:cNvGraphicFramePr>
            <a:graphicFrameLocks noChangeAspect="1"/>
          </p:cNvGraphicFramePr>
          <p:nvPr>
            <p:custDataLst>
              <p:tags r:id="rId1"/>
            </p:custDataLst>
            <p:extLst>
              <p:ext uri="{D42A27DB-BD31-4B8C-83A1-F6EECF244321}">
                <p14:modId xmlns:p14="http://schemas.microsoft.com/office/powerpoint/2010/main" val="23849039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8" name="Object 7" hidden="1">
                        <a:extLst>
                          <a:ext uri="{FF2B5EF4-FFF2-40B4-BE49-F238E27FC236}">
                            <a16:creationId xmlns:a16="http://schemas.microsoft.com/office/drawing/2014/main" id="{82F0D3B3-FB4D-45BC-BE2E-E0ACC1635A4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0D406DB-41A2-4933-86A0-0828F55DE1B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3600" b="1" i="0" baseline="0">
              <a:latin typeface="Century Gothic" panose="020B0502020202020204" pitchFamily="34" charset="0"/>
              <a:ea typeface="+mj-ea"/>
              <a:cs typeface="+mj-cs"/>
              <a:sym typeface="Century Gothic" panose="020B0502020202020204" pitchFamily="34" charset="0"/>
            </a:endParaRPr>
          </a:p>
        </p:txBody>
      </p:sp>
      <p:sp>
        <p:nvSpPr>
          <p:cNvPr id="4" name="Rectangle 3">
            <a:extLst>
              <a:ext uri="{FF2B5EF4-FFF2-40B4-BE49-F238E27FC236}">
                <a16:creationId xmlns:a16="http://schemas.microsoft.com/office/drawing/2014/main" id="{03A9E883-9BB5-482C-A327-2D21B1564687}"/>
              </a:ext>
            </a:extLst>
          </p:cNvPr>
          <p:cNvSpPr/>
          <p:nvPr/>
        </p:nvSpPr>
        <p:spPr>
          <a:xfrm>
            <a:off x="5499096" y="0"/>
            <a:ext cx="6692904"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a:ln>
                <a:noFill/>
              </a:ln>
              <a:solidFill>
                <a:schemeClr val="bg1"/>
              </a:solidFill>
            </a:endParaRPr>
          </a:p>
        </p:txBody>
      </p:sp>
      <p:sp>
        <p:nvSpPr>
          <p:cNvPr id="2" name="Title 1">
            <a:extLst>
              <a:ext uri="{FF2B5EF4-FFF2-40B4-BE49-F238E27FC236}">
                <a16:creationId xmlns:a16="http://schemas.microsoft.com/office/drawing/2014/main" id="{08AF85F3-5290-4EBA-8B8A-DB6A01B381A6}"/>
              </a:ext>
            </a:extLst>
          </p:cNvPr>
          <p:cNvSpPr>
            <a:spLocks noGrp="1"/>
          </p:cNvSpPr>
          <p:nvPr>
            <p:ph type="ctrTitle" hasCustomPrompt="1"/>
          </p:nvPr>
        </p:nvSpPr>
        <p:spPr>
          <a:xfrm>
            <a:off x="6368133" y="3994896"/>
            <a:ext cx="4630057" cy="1801524"/>
          </a:xfrm>
        </p:spPr>
        <p:txBody>
          <a:bodyPr vert="horz" anchor="b">
            <a:noAutofit/>
          </a:bodyPr>
          <a:lstStyle>
            <a:lvl1pPr algn="l">
              <a:defRPr sz="3600">
                <a:solidFill>
                  <a:schemeClr val="bg2"/>
                </a:solidFill>
                <a:latin typeface="Century Gothic" panose="020B0502020202020204" pitchFamily="34" charset="0"/>
              </a:defRPr>
            </a:lvl1pPr>
          </a:lstStyle>
          <a:p>
            <a:r>
              <a:rPr lang="en-US" noProof="0"/>
              <a:t>Click to edit master title style</a:t>
            </a:r>
          </a:p>
        </p:txBody>
      </p:sp>
      <p:sp>
        <p:nvSpPr>
          <p:cNvPr id="3" name="Subtitle 2">
            <a:extLst>
              <a:ext uri="{FF2B5EF4-FFF2-40B4-BE49-F238E27FC236}">
                <a16:creationId xmlns:a16="http://schemas.microsoft.com/office/drawing/2014/main" id="{FC3B1678-8578-485B-ABDD-36D8CF73E2D8}"/>
              </a:ext>
            </a:extLst>
          </p:cNvPr>
          <p:cNvSpPr>
            <a:spLocks noGrp="1"/>
          </p:cNvSpPr>
          <p:nvPr>
            <p:ph type="subTitle" idx="1" hasCustomPrompt="1"/>
          </p:nvPr>
        </p:nvSpPr>
        <p:spPr>
          <a:xfrm>
            <a:off x="6368131" y="5883244"/>
            <a:ext cx="4630058" cy="349250"/>
          </a:xfrm>
        </p:spPr>
        <p:txBody>
          <a:bodyPr lIns="0" tIns="0" rIns="0" bIns="0" anchor="ctr">
            <a:noAutofit/>
          </a:bodyPr>
          <a:lstStyle>
            <a:lvl1pPr marL="0" indent="0" algn="l">
              <a:buNone/>
              <a:defRPr sz="2000">
                <a:solidFill>
                  <a:srgbClr val="95D600"/>
                </a:solidFill>
                <a:latin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pic>
        <p:nvPicPr>
          <p:cNvPr id="12" name="Picture 11" descr="A picture containing logo&#10;&#10;Description automatically generated">
            <a:extLst>
              <a:ext uri="{FF2B5EF4-FFF2-40B4-BE49-F238E27FC236}">
                <a16:creationId xmlns:a16="http://schemas.microsoft.com/office/drawing/2014/main" id="{FFB48E65-93C6-48D1-BD43-B2B468BB4B4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368131" y="348748"/>
            <a:ext cx="1856143" cy="1613595"/>
          </a:xfrm>
          <a:prstGeom prst="rect">
            <a:avLst/>
          </a:prstGeom>
        </p:spPr>
      </p:pic>
      <p:sp>
        <p:nvSpPr>
          <p:cNvPr id="10" name="Picture Placeholder 19">
            <a:extLst>
              <a:ext uri="{FF2B5EF4-FFF2-40B4-BE49-F238E27FC236}">
                <a16:creationId xmlns:a16="http://schemas.microsoft.com/office/drawing/2014/main" id="{7AAD8B0E-17EB-488A-9721-65FC583FE98A}"/>
              </a:ext>
            </a:extLst>
          </p:cNvPr>
          <p:cNvSpPr>
            <a:spLocks noGrp="1"/>
          </p:cNvSpPr>
          <p:nvPr>
            <p:ph type="pic" sz="quarter" idx="10"/>
          </p:nvPr>
        </p:nvSpPr>
        <p:spPr>
          <a:xfrm>
            <a:off x="2" y="0"/>
            <a:ext cx="5499094" cy="6858000"/>
          </a:xfrm>
          <a:solidFill>
            <a:srgbClr val="EAF7CC"/>
          </a:solidFill>
        </p:spPr>
        <p:txBody>
          <a:bodyPr/>
          <a:lstStyle>
            <a:lvl1pPr>
              <a:defRPr>
                <a:latin typeface="Century Gothic" panose="020B0502020202020204" pitchFamily="34" charset="0"/>
              </a:defRPr>
            </a:lvl1pPr>
          </a:lstStyle>
          <a:p>
            <a:r>
              <a:rPr lang="en-US"/>
              <a:t>Click icon to add picture</a:t>
            </a:r>
            <a:endParaRPr lang="ru-RU"/>
          </a:p>
        </p:txBody>
      </p:sp>
    </p:spTree>
    <p:extLst>
      <p:ext uri="{BB962C8B-B14F-4D97-AF65-F5344CB8AC3E}">
        <p14:creationId xmlns:p14="http://schemas.microsoft.com/office/powerpoint/2010/main" val="225310863"/>
      </p:ext>
    </p:extLst>
  </p:cSld>
  <p:clrMapOvr>
    <a:masterClrMapping/>
  </p:clrMapOvr>
  <p:hf hdr="0" dt="0"/>
  <p:extLst>
    <p:ext uri="{DCECCB84-F9BA-43D5-87BE-67443E8EF086}">
      <p15:sldGuideLst xmlns:p15="http://schemas.microsoft.com/office/powerpoint/2012/main">
        <p15:guide id="2" orient="horz" pos="674">
          <p15:clr>
            <a:srgbClr val="FBAE40"/>
          </p15:clr>
        </p15:guide>
        <p15:guide id="3" pos="4806">
          <p15:clr>
            <a:srgbClr val="FBAE40"/>
          </p15:clr>
        </p15:guide>
        <p15:guide id="4" pos="558">
          <p15:clr>
            <a:srgbClr val="FBAE40"/>
          </p15:clr>
        </p15:guide>
        <p15:guide id="7" orient="horz" pos="1064">
          <p15:clr>
            <a:srgbClr val="FBAE40"/>
          </p15:clr>
        </p15:guide>
        <p15:guide id="8" orient="horz" pos="257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 column Text with text boxes">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188AF8EE-35AC-49E3-9930-1BDCACEFD4B1}"/>
              </a:ext>
            </a:extLst>
          </p:cNvPr>
          <p:cNvGraphicFramePr>
            <a:graphicFrameLocks noChangeAspect="1"/>
          </p:cNvGraphicFramePr>
          <p:nvPr>
            <p:custDataLst>
              <p:tags r:id="rId1"/>
            </p:custDataLst>
            <p:extLst>
              <p:ext uri="{D42A27DB-BD31-4B8C-83A1-F6EECF244321}">
                <p14:modId xmlns:p14="http://schemas.microsoft.com/office/powerpoint/2010/main" val="24345484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11" name="Object 10" hidden="1">
                        <a:extLst>
                          <a:ext uri="{FF2B5EF4-FFF2-40B4-BE49-F238E27FC236}">
                            <a16:creationId xmlns:a16="http://schemas.microsoft.com/office/drawing/2014/main" id="{188AF8EE-35AC-49E3-9930-1BDCACEFD4B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8B4B1AF4-DDE1-4321-AD46-F0E1D9240B1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4400" b="0" i="0" baseline="0">
              <a:latin typeface="Source Sans Pro" panose="020B0503030403020204" pitchFamily="34" charset="0"/>
              <a:ea typeface="+mj-ea"/>
              <a:cs typeface="+mj-cs"/>
              <a:sym typeface="Source Sans Pro" panose="020B0503030403020204" pitchFamily="34" charset="0"/>
            </a:endParaRPr>
          </a:p>
        </p:txBody>
      </p:sp>
      <p:sp>
        <p:nvSpPr>
          <p:cNvPr id="4" name="Content Placeholder 3">
            <a:extLst>
              <a:ext uri="{FF2B5EF4-FFF2-40B4-BE49-F238E27FC236}">
                <a16:creationId xmlns:a16="http://schemas.microsoft.com/office/drawing/2014/main" id="{6F7156F0-9E20-4DB3-A7D9-421A0EEF76D6}"/>
              </a:ext>
            </a:extLst>
          </p:cNvPr>
          <p:cNvSpPr>
            <a:spLocks noGrp="1"/>
          </p:cNvSpPr>
          <p:nvPr>
            <p:ph sz="half" idx="2"/>
          </p:nvPr>
        </p:nvSpPr>
        <p:spPr>
          <a:xfrm>
            <a:off x="179388" y="1833836"/>
            <a:ext cx="3749040" cy="3008946"/>
          </a:xfrm>
        </p:spPr>
        <p:txBody>
          <a:bodyPr lIns="0" tIns="0" rIns="0" bIns="0">
            <a:normAutofit/>
          </a:bodyPr>
          <a:lstStyle>
            <a:lvl1pPr>
              <a:spcBef>
                <a:spcPts val="1200"/>
              </a:spcBef>
              <a:defRPr sz="1200">
                <a:latin typeface="+mn-lt"/>
                <a:sym typeface="Source Sans Pro" panose="020B0503030403020204" pitchFamily="34" charset="0"/>
              </a:defRPr>
            </a:lvl1pPr>
            <a:lvl2pPr marL="457200" indent="-180000">
              <a:spcBef>
                <a:spcPts val="600"/>
              </a:spcBef>
              <a:buFont typeface="Century Gothic" panose="020B0502020202020204" pitchFamily="34" charset="0"/>
              <a:buChar char="–"/>
              <a:defRPr sz="1200">
                <a:latin typeface="+mn-lt"/>
                <a:sym typeface="Source Sans Pro" panose="020B0503030403020204" pitchFamily="34" charset="0"/>
              </a:defRPr>
            </a:lvl2pPr>
            <a:lvl3pPr marL="594360" indent="-179388">
              <a:spcBef>
                <a:spcPts val="600"/>
              </a:spcBef>
              <a:buFont typeface="Century Gothic" panose="020B0502020202020204" pitchFamily="34" charset="0"/>
              <a:buChar char="–"/>
              <a:defRPr sz="1200">
                <a:latin typeface="+mn-lt"/>
                <a:sym typeface="Source Sans Pro" panose="020B0503030403020204" pitchFamily="34" charset="0"/>
              </a:defRPr>
            </a:lvl3pPr>
            <a:lvl4pPr marL="777240" indent="-180000">
              <a:spcBef>
                <a:spcPts val="600"/>
              </a:spcBef>
              <a:buFont typeface="Century Gothic" panose="020B0502020202020204" pitchFamily="34" charset="0"/>
              <a:buChar char="–"/>
              <a:defRPr sz="1200">
                <a:latin typeface="+mn-lt"/>
                <a:sym typeface="Source Sans Pro" panose="020B0503030403020204" pitchFamily="34" charset="0"/>
              </a:defRPr>
            </a:lvl4pPr>
            <a:lvl5pPr marL="914400" indent="-180000">
              <a:spcBef>
                <a:spcPts val="600"/>
              </a:spcBef>
              <a:buFont typeface="Century Gothic" panose="020B0502020202020204" pitchFamily="34" charset="0"/>
              <a:buChar char="–"/>
              <a:defRPr sz="1200">
                <a:latin typeface="+mn-lt"/>
                <a:sym typeface="Source Sans Pro" panose="020B0503030403020204"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6" name="Content Placeholder 5">
            <a:extLst>
              <a:ext uri="{FF2B5EF4-FFF2-40B4-BE49-F238E27FC236}">
                <a16:creationId xmlns:a16="http://schemas.microsoft.com/office/drawing/2014/main" id="{B2AB2582-7062-4BC6-9D19-F0253BC1B6A2}"/>
              </a:ext>
            </a:extLst>
          </p:cNvPr>
          <p:cNvSpPr>
            <a:spLocks noGrp="1"/>
          </p:cNvSpPr>
          <p:nvPr>
            <p:ph sz="quarter" idx="4"/>
          </p:nvPr>
        </p:nvSpPr>
        <p:spPr>
          <a:xfrm>
            <a:off x="4220687" y="1833836"/>
            <a:ext cx="3749040" cy="3008946"/>
          </a:xfrm>
        </p:spPr>
        <p:txBody>
          <a:bodyPr lIns="0" tIns="0" rIns="0" bIns="0">
            <a:normAutofit/>
          </a:bodyPr>
          <a:lstStyle>
            <a:lvl1pPr>
              <a:spcBef>
                <a:spcPts val="1200"/>
              </a:spcBef>
              <a:defRPr sz="1200">
                <a:latin typeface="+mn-lt"/>
                <a:sym typeface="Source Sans Pro" panose="020B0503030403020204" pitchFamily="34" charset="0"/>
              </a:defRPr>
            </a:lvl1pPr>
            <a:lvl2pPr marL="457200" indent="-180000">
              <a:spcBef>
                <a:spcPts val="600"/>
              </a:spcBef>
              <a:buFont typeface="Century Gothic" panose="020B0502020202020204" pitchFamily="34" charset="0"/>
              <a:buChar char="–"/>
              <a:defRPr sz="1200">
                <a:latin typeface="+mn-lt"/>
                <a:sym typeface="Source Sans Pro" panose="020B0503030403020204" pitchFamily="34" charset="0"/>
              </a:defRPr>
            </a:lvl2pPr>
            <a:lvl3pPr marL="594360" indent="-179388">
              <a:spcBef>
                <a:spcPts val="600"/>
              </a:spcBef>
              <a:buFont typeface="Century Gothic" panose="020B0502020202020204" pitchFamily="34" charset="0"/>
              <a:buChar char="–"/>
              <a:defRPr sz="1200">
                <a:latin typeface="+mn-lt"/>
                <a:sym typeface="Source Sans Pro" panose="020B0503030403020204" pitchFamily="34" charset="0"/>
              </a:defRPr>
            </a:lvl3pPr>
            <a:lvl4pPr marL="777240" indent="-180000">
              <a:spcBef>
                <a:spcPts val="600"/>
              </a:spcBef>
              <a:buFont typeface="Century Gothic" panose="020B0502020202020204" pitchFamily="34" charset="0"/>
              <a:buChar char="–"/>
              <a:defRPr sz="1200">
                <a:latin typeface="+mn-lt"/>
                <a:sym typeface="Source Sans Pro" panose="020B0503030403020204" pitchFamily="34" charset="0"/>
              </a:defRPr>
            </a:lvl4pPr>
            <a:lvl5pPr marL="914400" indent="-180000">
              <a:spcBef>
                <a:spcPts val="600"/>
              </a:spcBef>
              <a:buFont typeface="Century Gothic" panose="020B0502020202020204" pitchFamily="34" charset="0"/>
              <a:buChar char="–"/>
              <a:defRPr sz="1200">
                <a:latin typeface="+mn-lt"/>
                <a:sym typeface="Source Sans Pro" panose="020B0503030403020204"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21" name="Content Placeholder 5">
            <a:extLst>
              <a:ext uri="{FF2B5EF4-FFF2-40B4-BE49-F238E27FC236}">
                <a16:creationId xmlns:a16="http://schemas.microsoft.com/office/drawing/2014/main" id="{FBAA772A-E969-6C25-B785-5343E8E141D9}"/>
              </a:ext>
            </a:extLst>
          </p:cNvPr>
          <p:cNvSpPr>
            <a:spLocks noGrp="1"/>
          </p:cNvSpPr>
          <p:nvPr>
            <p:ph sz="quarter" idx="16"/>
          </p:nvPr>
        </p:nvSpPr>
        <p:spPr>
          <a:xfrm>
            <a:off x="8261986" y="1833836"/>
            <a:ext cx="3749040" cy="3008946"/>
          </a:xfrm>
        </p:spPr>
        <p:txBody>
          <a:bodyPr lIns="0" tIns="0" rIns="0" bIns="0">
            <a:normAutofit/>
          </a:bodyPr>
          <a:lstStyle>
            <a:lvl1pPr>
              <a:spcBef>
                <a:spcPts val="1200"/>
              </a:spcBef>
              <a:defRPr sz="1200">
                <a:latin typeface="+mn-lt"/>
                <a:sym typeface="Source Sans Pro" panose="020B0503030403020204" pitchFamily="34" charset="0"/>
              </a:defRPr>
            </a:lvl1pPr>
            <a:lvl2pPr marL="457200" indent="-180000">
              <a:spcBef>
                <a:spcPts val="600"/>
              </a:spcBef>
              <a:buFont typeface="Century Gothic" panose="020B0502020202020204" pitchFamily="34" charset="0"/>
              <a:buChar char="–"/>
              <a:defRPr sz="1200">
                <a:latin typeface="+mn-lt"/>
                <a:sym typeface="Source Sans Pro" panose="020B0503030403020204" pitchFamily="34" charset="0"/>
              </a:defRPr>
            </a:lvl2pPr>
            <a:lvl3pPr marL="594360" indent="-179388">
              <a:spcBef>
                <a:spcPts val="600"/>
              </a:spcBef>
              <a:buFont typeface="Century Gothic" panose="020B0502020202020204" pitchFamily="34" charset="0"/>
              <a:buChar char="–"/>
              <a:defRPr sz="1200">
                <a:latin typeface="+mn-lt"/>
                <a:sym typeface="Source Sans Pro" panose="020B0503030403020204" pitchFamily="34" charset="0"/>
              </a:defRPr>
            </a:lvl3pPr>
            <a:lvl4pPr marL="777240" indent="-180000">
              <a:spcBef>
                <a:spcPts val="600"/>
              </a:spcBef>
              <a:buFont typeface="Century Gothic" panose="020B0502020202020204" pitchFamily="34" charset="0"/>
              <a:buChar char="–"/>
              <a:defRPr sz="1200">
                <a:latin typeface="+mn-lt"/>
                <a:sym typeface="Source Sans Pro" panose="020B0503030403020204" pitchFamily="34" charset="0"/>
              </a:defRPr>
            </a:lvl4pPr>
            <a:lvl5pPr marL="914400" indent="-180000">
              <a:spcBef>
                <a:spcPts val="600"/>
              </a:spcBef>
              <a:buFont typeface="Century Gothic" panose="020B0502020202020204" pitchFamily="34" charset="0"/>
              <a:buChar char="–"/>
              <a:defRPr sz="1200">
                <a:latin typeface="+mn-lt"/>
                <a:sym typeface="Source Sans Pro" panose="020B0503030403020204"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15" name="Text Placeholder 14">
            <a:extLst>
              <a:ext uri="{FF2B5EF4-FFF2-40B4-BE49-F238E27FC236}">
                <a16:creationId xmlns:a16="http://schemas.microsoft.com/office/drawing/2014/main" id="{951BE9CA-C050-1A1D-D52B-7CBCA5F41CAB}"/>
              </a:ext>
            </a:extLst>
          </p:cNvPr>
          <p:cNvSpPr>
            <a:spLocks noGrp="1"/>
          </p:cNvSpPr>
          <p:nvPr>
            <p:ph type="body" sz="quarter" idx="17"/>
          </p:nvPr>
        </p:nvSpPr>
        <p:spPr>
          <a:xfrm>
            <a:off x="179388" y="4969256"/>
            <a:ext cx="3749040" cy="731520"/>
          </a:xfrm>
          <a:solidFill>
            <a:schemeClr val="tx2"/>
          </a:solidFill>
        </p:spPr>
        <p:txBody>
          <a:bodyPr anchor="ctr"/>
          <a:lstStyle>
            <a:lvl1pPr marL="0" indent="0" algn="ctr">
              <a:spcBef>
                <a:spcPts val="0"/>
              </a:spcBef>
              <a:buNone/>
              <a:defRPr b="1">
                <a:solidFill>
                  <a:schemeClr val="bg1"/>
                </a:solidFill>
                <a:latin typeface="+mn-lt"/>
                <a:sym typeface="Source Sans Pro" panose="020B0503030403020204" pitchFamily="34" charset="0"/>
              </a:defRPr>
            </a:lvl1pPr>
            <a:lvl2pPr marL="277812" indent="0">
              <a:buNone/>
              <a:defRPr>
                <a:solidFill>
                  <a:schemeClr val="bg1"/>
                </a:solidFill>
              </a:defRPr>
            </a:lvl2pPr>
            <a:lvl3pPr marL="392112" indent="0">
              <a:buNone/>
              <a:defRPr>
                <a:solidFill>
                  <a:schemeClr val="bg1"/>
                </a:solidFill>
              </a:defRPr>
            </a:lvl3pPr>
            <a:lvl4pPr marL="540000" indent="0">
              <a:buNone/>
              <a:defRPr>
                <a:solidFill>
                  <a:schemeClr val="bg1"/>
                </a:solidFill>
              </a:defRPr>
            </a:lvl4pPr>
            <a:lvl5pPr marL="720000" indent="0">
              <a:buNone/>
              <a:defRPr>
                <a:solidFill>
                  <a:schemeClr val="bg1"/>
                </a:solidFill>
              </a:defRPr>
            </a:lvl5pPr>
          </a:lstStyle>
          <a:p>
            <a:pPr lvl="0"/>
            <a:r>
              <a:rPr lang="en-US"/>
              <a:t>Click to edit Master text styles</a:t>
            </a:r>
          </a:p>
        </p:txBody>
      </p:sp>
      <p:sp>
        <p:nvSpPr>
          <p:cNvPr id="17" name="Text Placeholder 14">
            <a:extLst>
              <a:ext uri="{FF2B5EF4-FFF2-40B4-BE49-F238E27FC236}">
                <a16:creationId xmlns:a16="http://schemas.microsoft.com/office/drawing/2014/main" id="{1C37FF71-7A2D-6D86-ACE2-E1B0CCC3D70D}"/>
              </a:ext>
            </a:extLst>
          </p:cNvPr>
          <p:cNvSpPr>
            <a:spLocks noGrp="1"/>
          </p:cNvSpPr>
          <p:nvPr>
            <p:ph type="body" sz="quarter" idx="18"/>
          </p:nvPr>
        </p:nvSpPr>
        <p:spPr>
          <a:xfrm>
            <a:off x="4220687" y="4969256"/>
            <a:ext cx="3749040" cy="731520"/>
          </a:xfrm>
          <a:solidFill>
            <a:schemeClr val="tx2"/>
          </a:solidFill>
        </p:spPr>
        <p:txBody>
          <a:bodyPr anchor="ctr"/>
          <a:lstStyle>
            <a:lvl1pPr marL="0" indent="0" algn="ctr">
              <a:spcBef>
                <a:spcPts val="0"/>
              </a:spcBef>
              <a:buNone/>
              <a:defRPr b="1">
                <a:solidFill>
                  <a:schemeClr val="bg1"/>
                </a:solidFill>
                <a:latin typeface="+mn-lt"/>
                <a:sym typeface="Source Sans Pro" panose="020B0503030403020204" pitchFamily="34" charset="0"/>
              </a:defRPr>
            </a:lvl1pPr>
            <a:lvl2pPr marL="277812" indent="0">
              <a:buNone/>
              <a:defRPr>
                <a:solidFill>
                  <a:schemeClr val="bg1"/>
                </a:solidFill>
              </a:defRPr>
            </a:lvl2pPr>
            <a:lvl3pPr marL="392112" indent="0">
              <a:buNone/>
              <a:defRPr>
                <a:solidFill>
                  <a:schemeClr val="bg1"/>
                </a:solidFill>
              </a:defRPr>
            </a:lvl3pPr>
            <a:lvl4pPr marL="540000" indent="0">
              <a:buNone/>
              <a:defRPr>
                <a:solidFill>
                  <a:schemeClr val="bg1"/>
                </a:solidFill>
              </a:defRPr>
            </a:lvl4pPr>
            <a:lvl5pPr marL="720000" indent="0">
              <a:buNone/>
              <a:defRPr>
                <a:solidFill>
                  <a:schemeClr val="bg1"/>
                </a:solidFill>
              </a:defRPr>
            </a:lvl5pPr>
          </a:lstStyle>
          <a:p>
            <a:pPr lvl="0"/>
            <a:r>
              <a:rPr lang="en-US"/>
              <a:t>Click to edit Master text styles</a:t>
            </a:r>
          </a:p>
        </p:txBody>
      </p:sp>
      <p:sp>
        <p:nvSpPr>
          <p:cNvPr id="18" name="Text Placeholder 14">
            <a:extLst>
              <a:ext uri="{FF2B5EF4-FFF2-40B4-BE49-F238E27FC236}">
                <a16:creationId xmlns:a16="http://schemas.microsoft.com/office/drawing/2014/main" id="{3FB31D4D-D668-998B-4598-016DEFFC5BEE}"/>
              </a:ext>
            </a:extLst>
          </p:cNvPr>
          <p:cNvSpPr>
            <a:spLocks noGrp="1"/>
          </p:cNvSpPr>
          <p:nvPr>
            <p:ph type="body" sz="quarter" idx="19"/>
          </p:nvPr>
        </p:nvSpPr>
        <p:spPr>
          <a:xfrm>
            <a:off x="8261986" y="4969256"/>
            <a:ext cx="3749040" cy="731520"/>
          </a:xfrm>
          <a:solidFill>
            <a:schemeClr val="tx2"/>
          </a:solidFill>
        </p:spPr>
        <p:txBody>
          <a:bodyPr anchor="ctr"/>
          <a:lstStyle>
            <a:lvl1pPr marL="0" indent="0" algn="ctr">
              <a:spcBef>
                <a:spcPts val="0"/>
              </a:spcBef>
              <a:buNone/>
              <a:defRPr b="1">
                <a:solidFill>
                  <a:schemeClr val="bg1"/>
                </a:solidFill>
                <a:latin typeface="+mn-lt"/>
                <a:sym typeface="Source Sans Pro" panose="020B0503030403020204" pitchFamily="34" charset="0"/>
              </a:defRPr>
            </a:lvl1pPr>
            <a:lvl2pPr marL="277812" indent="0">
              <a:buNone/>
              <a:defRPr>
                <a:solidFill>
                  <a:schemeClr val="bg1"/>
                </a:solidFill>
              </a:defRPr>
            </a:lvl2pPr>
            <a:lvl3pPr marL="392112" indent="0">
              <a:buNone/>
              <a:defRPr>
                <a:solidFill>
                  <a:schemeClr val="bg1"/>
                </a:solidFill>
              </a:defRPr>
            </a:lvl3pPr>
            <a:lvl4pPr marL="540000" indent="0">
              <a:buNone/>
              <a:defRPr>
                <a:solidFill>
                  <a:schemeClr val="bg1"/>
                </a:solidFill>
              </a:defRPr>
            </a:lvl4pPr>
            <a:lvl5pPr marL="720000" indent="0">
              <a:buNone/>
              <a:defRPr>
                <a:solidFill>
                  <a:schemeClr val="bg1"/>
                </a:solidFill>
              </a:defRPr>
            </a:lvl5pPr>
          </a:lstStyle>
          <a:p>
            <a:pPr lvl="0"/>
            <a:r>
              <a:rPr lang="en-US"/>
              <a:t>Click to edit Master text styles</a:t>
            </a:r>
          </a:p>
        </p:txBody>
      </p:sp>
      <p:sp>
        <p:nvSpPr>
          <p:cNvPr id="26" name="Text Placeholder 2">
            <a:extLst>
              <a:ext uri="{FF2B5EF4-FFF2-40B4-BE49-F238E27FC236}">
                <a16:creationId xmlns:a16="http://schemas.microsoft.com/office/drawing/2014/main" id="{CEE7D1B5-817C-3C91-2BEA-CEBF838402AF}"/>
              </a:ext>
            </a:extLst>
          </p:cNvPr>
          <p:cNvSpPr>
            <a:spLocks noGrp="1"/>
          </p:cNvSpPr>
          <p:nvPr>
            <p:ph type="body" idx="1"/>
          </p:nvPr>
        </p:nvSpPr>
        <p:spPr>
          <a:xfrm>
            <a:off x="179388" y="1339911"/>
            <a:ext cx="3749040" cy="338328"/>
          </a:xfrm>
        </p:spPr>
        <p:txBody>
          <a:bodyPr lIns="0" tIns="0" rIns="0" bIns="0" anchor="b">
            <a:normAutofit/>
          </a:bodyPr>
          <a:lstStyle>
            <a:lvl1pPr marL="0" indent="0">
              <a:buNone/>
              <a:defRPr sz="1200" b="1">
                <a:solidFill>
                  <a:schemeClr val="tx1"/>
                </a:solidFill>
                <a:latin typeface="+mn-lt"/>
                <a:sym typeface="Source Sans Pro" panose="020B0503030403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27" name="Text Placeholder 4">
            <a:extLst>
              <a:ext uri="{FF2B5EF4-FFF2-40B4-BE49-F238E27FC236}">
                <a16:creationId xmlns:a16="http://schemas.microsoft.com/office/drawing/2014/main" id="{F69DB579-70DC-CF0D-467E-DA090E9F6CB9}"/>
              </a:ext>
            </a:extLst>
          </p:cNvPr>
          <p:cNvSpPr>
            <a:spLocks noGrp="1"/>
          </p:cNvSpPr>
          <p:nvPr>
            <p:ph type="body" sz="quarter" idx="3"/>
          </p:nvPr>
        </p:nvSpPr>
        <p:spPr>
          <a:xfrm>
            <a:off x="4220687" y="1339911"/>
            <a:ext cx="3749040" cy="338328"/>
          </a:xfrm>
        </p:spPr>
        <p:txBody>
          <a:bodyPr lIns="0" tIns="0" rIns="0" bIns="0" anchor="b">
            <a:normAutofit/>
          </a:bodyPr>
          <a:lstStyle>
            <a:lvl1pPr marL="0" indent="0">
              <a:buNone/>
              <a:defRPr sz="1200" b="1">
                <a:solidFill>
                  <a:schemeClr val="tx1"/>
                </a:solidFill>
                <a:latin typeface="+mn-lt"/>
                <a:sym typeface="Source Sans Pro" panose="020B0503030403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28" name="Text Placeholder 12">
            <a:extLst>
              <a:ext uri="{FF2B5EF4-FFF2-40B4-BE49-F238E27FC236}">
                <a16:creationId xmlns:a16="http://schemas.microsoft.com/office/drawing/2014/main" id="{9AC81DA1-4E27-76F3-AC44-029091919625}"/>
              </a:ext>
            </a:extLst>
          </p:cNvPr>
          <p:cNvSpPr>
            <a:spLocks noGrp="1"/>
          </p:cNvSpPr>
          <p:nvPr>
            <p:ph type="body" sz="quarter" idx="14" hasCustomPrompt="1"/>
          </p:nvPr>
        </p:nvSpPr>
        <p:spPr>
          <a:xfrm>
            <a:off x="179387" y="880946"/>
            <a:ext cx="11831638" cy="303369"/>
          </a:xfrm>
        </p:spPr>
        <p:txBody>
          <a:bodyPr>
            <a:normAutofit/>
          </a:bodyPr>
          <a:lstStyle>
            <a:lvl1pPr marL="0" indent="0">
              <a:spcBef>
                <a:spcPts val="0"/>
              </a:spcBef>
              <a:buFont typeface="Arial" panose="020B0604020202020204" pitchFamily="34" charset="0"/>
              <a:buNone/>
              <a:defRPr sz="1600">
                <a:solidFill>
                  <a:schemeClr val="tx2"/>
                </a:solidFill>
                <a:latin typeface="+mn-lt"/>
                <a:sym typeface="Source Sans Pro" panose="020B0503030403020204" pitchFamily="34" charset="0"/>
              </a:defRPr>
            </a:lvl1pPr>
            <a:lvl2pPr marL="180000" indent="0">
              <a:buFont typeface="Arial" panose="020B0604020202020204" pitchFamily="34" charset="0"/>
              <a:buNone/>
              <a:defRPr/>
            </a:lvl2pPr>
            <a:lvl3pPr marL="360000" indent="0">
              <a:buFont typeface="Arial" panose="020B0604020202020204" pitchFamily="34" charset="0"/>
              <a:buNone/>
              <a:defRPr/>
            </a:lvl3pPr>
            <a:lvl4pPr marL="540000" indent="0">
              <a:buFont typeface="Arial" panose="020B0604020202020204" pitchFamily="34" charset="0"/>
              <a:buNone/>
              <a:defRPr/>
            </a:lvl4pPr>
            <a:lvl5pPr marL="720000" indent="0">
              <a:buFont typeface="Arial" panose="020B0604020202020204" pitchFamily="34" charset="0"/>
              <a:buNone/>
              <a:defRPr/>
            </a:lvl5pPr>
          </a:lstStyle>
          <a:p>
            <a:pPr lvl="0"/>
            <a:r>
              <a:rPr lang="en-US"/>
              <a:t>Add subtitle here</a:t>
            </a:r>
          </a:p>
        </p:txBody>
      </p:sp>
      <p:cxnSp>
        <p:nvCxnSpPr>
          <p:cNvPr id="29" name="Straight Connector 28">
            <a:extLst>
              <a:ext uri="{FF2B5EF4-FFF2-40B4-BE49-F238E27FC236}">
                <a16:creationId xmlns:a16="http://schemas.microsoft.com/office/drawing/2014/main" id="{77FB3A21-269F-4421-A4FB-18C3CF251A15}"/>
              </a:ext>
            </a:extLst>
          </p:cNvPr>
          <p:cNvCxnSpPr>
            <a:cxnSpLocks/>
          </p:cNvCxnSpPr>
          <p:nvPr userDrawn="1"/>
        </p:nvCxnSpPr>
        <p:spPr>
          <a:xfrm>
            <a:off x="179386" y="1719987"/>
            <a:ext cx="3749040"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DB096995-E6BC-67E7-D665-6ADC86425D0B}"/>
              </a:ext>
            </a:extLst>
          </p:cNvPr>
          <p:cNvCxnSpPr>
            <a:cxnSpLocks/>
          </p:cNvCxnSpPr>
          <p:nvPr userDrawn="1"/>
        </p:nvCxnSpPr>
        <p:spPr>
          <a:xfrm>
            <a:off x="4220687" y="1719987"/>
            <a:ext cx="3749040"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1" name="Text Placeholder 4">
            <a:extLst>
              <a:ext uri="{FF2B5EF4-FFF2-40B4-BE49-F238E27FC236}">
                <a16:creationId xmlns:a16="http://schemas.microsoft.com/office/drawing/2014/main" id="{CDBD7EB4-34A3-6F56-57D1-E48B5FBF66A9}"/>
              </a:ext>
            </a:extLst>
          </p:cNvPr>
          <p:cNvSpPr>
            <a:spLocks noGrp="1"/>
          </p:cNvSpPr>
          <p:nvPr>
            <p:ph type="body" sz="quarter" idx="15"/>
          </p:nvPr>
        </p:nvSpPr>
        <p:spPr>
          <a:xfrm>
            <a:off x="8261986" y="1339911"/>
            <a:ext cx="3749040" cy="338328"/>
          </a:xfrm>
        </p:spPr>
        <p:txBody>
          <a:bodyPr lIns="0" tIns="0" rIns="0" bIns="0" anchor="b">
            <a:normAutofit/>
          </a:bodyPr>
          <a:lstStyle>
            <a:lvl1pPr marL="0" indent="0">
              <a:buNone/>
              <a:defRPr sz="1200" b="1">
                <a:solidFill>
                  <a:schemeClr val="tx1"/>
                </a:solidFill>
                <a:latin typeface="+mn-lt"/>
                <a:sym typeface="Source Sans Pro" panose="020B0503030403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cxnSp>
        <p:nvCxnSpPr>
          <p:cNvPr id="32" name="Straight Connector 31">
            <a:extLst>
              <a:ext uri="{FF2B5EF4-FFF2-40B4-BE49-F238E27FC236}">
                <a16:creationId xmlns:a16="http://schemas.microsoft.com/office/drawing/2014/main" id="{32B37B8D-A39D-A2A9-B089-209BA19C59B5}"/>
              </a:ext>
            </a:extLst>
          </p:cNvPr>
          <p:cNvCxnSpPr>
            <a:cxnSpLocks/>
          </p:cNvCxnSpPr>
          <p:nvPr userDrawn="1"/>
        </p:nvCxnSpPr>
        <p:spPr>
          <a:xfrm>
            <a:off x="8261986" y="1719987"/>
            <a:ext cx="3749040"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 name="Text Placeholder 8">
            <a:extLst>
              <a:ext uri="{FF2B5EF4-FFF2-40B4-BE49-F238E27FC236}">
                <a16:creationId xmlns:a16="http://schemas.microsoft.com/office/drawing/2014/main" id="{BD4F46C2-75C9-EA82-FFEC-850973C1A5A3}"/>
              </a:ext>
            </a:extLst>
          </p:cNvPr>
          <p:cNvSpPr>
            <a:spLocks noGrp="1"/>
          </p:cNvSpPr>
          <p:nvPr>
            <p:ph type="body" sz="quarter" idx="12" hasCustomPrompt="1"/>
          </p:nvPr>
        </p:nvSpPr>
        <p:spPr>
          <a:xfrm>
            <a:off x="642796" y="5884092"/>
            <a:ext cx="9464040" cy="365760"/>
          </a:xfrm>
        </p:spPr>
        <p:txBody>
          <a:bodyPr anchor="b">
            <a:normAutofit/>
          </a:bodyPr>
          <a:lstStyle>
            <a:lvl1pPr marL="0" indent="0" algn="l">
              <a:buNone/>
              <a:defRPr sz="900">
                <a:solidFill>
                  <a:schemeClr val="bg1">
                    <a:lumMod val="50000"/>
                  </a:schemeClr>
                </a:solidFill>
              </a:defRPr>
            </a:lvl1pPr>
          </a:lstStyle>
          <a:p>
            <a:pPr lvl="0"/>
            <a:r>
              <a:rPr lang="en-US"/>
              <a:t>Source </a:t>
            </a:r>
          </a:p>
        </p:txBody>
      </p:sp>
      <p:sp>
        <p:nvSpPr>
          <p:cNvPr id="5" name="Footer Placeholder 4">
            <a:extLst>
              <a:ext uri="{FF2B5EF4-FFF2-40B4-BE49-F238E27FC236}">
                <a16:creationId xmlns:a16="http://schemas.microsoft.com/office/drawing/2014/main" id="{31B88218-4246-0303-73E3-3BE17721345F}"/>
              </a:ext>
            </a:extLst>
          </p:cNvPr>
          <p:cNvSpPr>
            <a:spLocks noGrp="1"/>
          </p:cNvSpPr>
          <p:nvPr>
            <p:ph type="ftr" sz="quarter" idx="20"/>
          </p:nvPr>
        </p:nvSpPr>
        <p:spPr/>
        <p:txBody>
          <a:bodyPr/>
          <a:lstStyle>
            <a:lvl1pPr>
              <a:defRPr sz="900"/>
            </a:lvl1pPr>
          </a:lstStyle>
          <a:p>
            <a:endParaRPr lang="en-GB"/>
          </a:p>
        </p:txBody>
      </p:sp>
      <p:sp>
        <p:nvSpPr>
          <p:cNvPr id="8" name="Slide Number Placeholder 7">
            <a:extLst>
              <a:ext uri="{FF2B5EF4-FFF2-40B4-BE49-F238E27FC236}">
                <a16:creationId xmlns:a16="http://schemas.microsoft.com/office/drawing/2014/main" id="{E19FF802-245C-03F6-0F6E-6B16415498E9}"/>
              </a:ext>
            </a:extLst>
          </p:cNvPr>
          <p:cNvSpPr>
            <a:spLocks noGrp="1"/>
          </p:cNvSpPr>
          <p:nvPr>
            <p:ph type="sldNum" sz="quarter" idx="21"/>
          </p:nvPr>
        </p:nvSpPr>
        <p:spPr/>
        <p:txBody>
          <a:bodyPr/>
          <a:lstStyle>
            <a:lvl1pPr>
              <a:defRPr sz="900"/>
            </a:lvl1pPr>
          </a:lstStyle>
          <a:p>
            <a:fld id="{DDF71BC8-773F-4A54-968E-450E29C75AD4}" type="slidenum">
              <a:rPr lang="en-GB" smtClean="0"/>
              <a:pPr/>
              <a:t>‹#›</a:t>
            </a:fld>
            <a:endParaRPr lang="en-GB"/>
          </a:p>
        </p:txBody>
      </p:sp>
      <p:sp>
        <p:nvSpPr>
          <p:cNvPr id="9" name="Title 8">
            <a:extLst>
              <a:ext uri="{FF2B5EF4-FFF2-40B4-BE49-F238E27FC236}">
                <a16:creationId xmlns:a16="http://schemas.microsoft.com/office/drawing/2014/main" id="{3EBCF1F3-BBDF-9535-423E-E8B83A5E0AFB}"/>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320098238"/>
      </p:ext>
    </p:extLst>
  </p:cSld>
  <p:clrMapOvr>
    <a:masterClrMapping/>
  </p:clrMapOvr>
  <p:extLst>
    <p:ext uri="{DCECCB84-F9BA-43D5-87BE-67443E8EF086}">
      <p15:sldGuideLst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EDA45B5-5911-4386-81CD-CD96E11547C6}"/>
              </a:ext>
            </a:extLst>
          </p:cNvPr>
          <p:cNvGraphicFramePr>
            <a:graphicFrameLocks noChangeAspect="1"/>
          </p:cNvGraphicFramePr>
          <p:nvPr>
            <p:custDataLst>
              <p:tags r:id="rId1"/>
            </p:custDataLst>
            <p:extLst>
              <p:ext uri="{D42A27DB-BD31-4B8C-83A1-F6EECF244321}">
                <p14:modId xmlns:p14="http://schemas.microsoft.com/office/powerpoint/2010/main" val="37669492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8" name="Object 7" hidden="1">
                        <a:extLst>
                          <a:ext uri="{FF2B5EF4-FFF2-40B4-BE49-F238E27FC236}">
                            <a16:creationId xmlns:a16="http://schemas.microsoft.com/office/drawing/2014/main" id="{0EDA45B5-5911-4386-81CD-CD96E11547C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A31FE4A4-5895-4435-8CFD-72D5594F0E33}"/>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4400" b="0" i="0" baseline="0">
              <a:latin typeface="Source Sans Pro" panose="020B0503030403020204" pitchFamily="34" charset="0"/>
              <a:ea typeface="+mj-ea"/>
              <a:cs typeface="+mj-cs"/>
              <a:sym typeface="Source Sans Pro" panose="020B0503030403020204" pitchFamily="34" charset="0"/>
            </a:endParaRPr>
          </a:p>
        </p:txBody>
      </p:sp>
      <p:sp>
        <p:nvSpPr>
          <p:cNvPr id="10" name="Title 9">
            <a:extLst>
              <a:ext uri="{FF2B5EF4-FFF2-40B4-BE49-F238E27FC236}">
                <a16:creationId xmlns:a16="http://schemas.microsoft.com/office/drawing/2014/main" id="{198F8681-9D16-53F1-F572-C19BF3378ACD}"/>
              </a:ext>
            </a:extLst>
          </p:cNvPr>
          <p:cNvSpPr>
            <a:spLocks noGrp="1"/>
          </p:cNvSpPr>
          <p:nvPr>
            <p:ph type="title"/>
          </p:nvPr>
        </p:nvSpPr>
        <p:spPr>
          <a:xfrm>
            <a:off x="179387" y="179388"/>
            <a:ext cx="11831639" cy="640080"/>
          </a:xfrm>
        </p:spPr>
        <p:txBody>
          <a:bodyPr vert="horz"/>
          <a:lstStyle>
            <a:lvl1pPr>
              <a:defRPr>
                <a:latin typeface="+mj-lt"/>
                <a:sym typeface="Source Sans Pro" panose="020B0503030403020204" pitchFamily="34" charset="0"/>
              </a:defRPr>
            </a:lvl1pPr>
          </a:lstStyle>
          <a:p>
            <a:r>
              <a:rPr lang="en-US"/>
              <a:t>Click to edit Master title style</a:t>
            </a:r>
          </a:p>
        </p:txBody>
      </p:sp>
      <p:sp>
        <p:nvSpPr>
          <p:cNvPr id="9" name="Table Placeholder 8">
            <a:extLst>
              <a:ext uri="{FF2B5EF4-FFF2-40B4-BE49-F238E27FC236}">
                <a16:creationId xmlns:a16="http://schemas.microsoft.com/office/drawing/2014/main" id="{A440F506-F6FA-A1C5-22E8-B52B1770B045}"/>
              </a:ext>
            </a:extLst>
          </p:cNvPr>
          <p:cNvSpPr>
            <a:spLocks noGrp="1"/>
          </p:cNvSpPr>
          <p:nvPr>
            <p:ph type="tbl" sz="quarter" idx="15"/>
          </p:nvPr>
        </p:nvSpPr>
        <p:spPr>
          <a:xfrm>
            <a:off x="179387" y="1320800"/>
            <a:ext cx="11832336" cy="4379976"/>
          </a:xfrm>
        </p:spPr>
        <p:txBody>
          <a:bodyPr/>
          <a:lstStyle>
            <a:lvl1pPr marL="0" indent="0" algn="ctr">
              <a:buFontTx/>
              <a:buNone/>
              <a:defRPr>
                <a:latin typeface="+mn-lt"/>
              </a:defRPr>
            </a:lvl1pPr>
          </a:lstStyle>
          <a:p>
            <a:r>
              <a:rPr lang="en-US"/>
              <a:t>Click icon to add table</a:t>
            </a:r>
          </a:p>
        </p:txBody>
      </p:sp>
      <p:sp>
        <p:nvSpPr>
          <p:cNvPr id="12" name="Text Placeholder 12">
            <a:extLst>
              <a:ext uri="{FF2B5EF4-FFF2-40B4-BE49-F238E27FC236}">
                <a16:creationId xmlns:a16="http://schemas.microsoft.com/office/drawing/2014/main" id="{F7BF65D1-DF30-FCEB-109F-3BA39A2E4FDF}"/>
              </a:ext>
            </a:extLst>
          </p:cNvPr>
          <p:cNvSpPr>
            <a:spLocks noGrp="1"/>
          </p:cNvSpPr>
          <p:nvPr>
            <p:ph type="body" sz="quarter" idx="14" hasCustomPrompt="1"/>
          </p:nvPr>
        </p:nvSpPr>
        <p:spPr>
          <a:xfrm>
            <a:off x="179387" y="880946"/>
            <a:ext cx="11831638" cy="303369"/>
          </a:xfrm>
        </p:spPr>
        <p:txBody>
          <a:bodyPr>
            <a:normAutofit/>
          </a:bodyPr>
          <a:lstStyle>
            <a:lvl1pPr marL="0" indent="0">
              <a:spcBef>
                <a:spcPts val="0"/>
              </a:spcBef>
              <a:buFont typeface="Arial" panose="020B0604020202020204" pitchFamily="34" charset="0"/>
              <a:buNone/>
              <a:defRPr sz="1600">
                <a:solidFill>
                  <a:schemeClr val="tx2"/>
                </a:solidFill>
                <a:latin typeface="+mn-lt"/>
                <a:sym typeface="Source Sans Pro" panose="020B0503030403020204" pitchFamily="34" charset="0"/>
              </a:defRPr>
            </a:lvl1pPr>
            <a:lvl2pPr marL="180000" indent="0">
              <a:buFont typeface="Arial" panose="020B0604020202020204" pitchFamily="34" charset="0"/>
              <a:buNone/>
              <a:defRPr/>
            </a:lvl2pPr>
            <a:lvl3pPr marL="360000" indent="0">
              <a:buFont typeface="Arial" panose="020B0604020202020204" pitchFamily="34" charset="0"/>
              <a:buNone/>
              <a:defRPr/>
            </a:lvl3pPr>
            <a:lvl4pPr marL="540000" indent="0">
              <a:buFont typeface="Arial" panose="020B0604020202020204" pitchFamily="34" charset="0"/>
              <a:buNone/>
              <a:defRPr/>
            </a:lvl4pPr>
            <a:lvl5pPr marL="720000" indent="0">
              <a:buFont typeface="Arial" panose="020B0604020202020204" pitchFamily="34" charset="0"/>
              <a:buNone/>
              <a:defRPr/>
            </a:lvl5pPr>
          </a:lstStyle>
          <a:p>
            <a:pPr lvl="0"/>
            <a:r>
              <a:rPr lang="en-US"/>
              <a:t>Add subtitle here</a:t>
            </a:r>
          </a:p>
        </p:txBody>
      </p:sp>
      <p:sp>
        <p:nvSpPr>
          <p:cNvPr id="3" name="Text Placeholder 8">
            <a:extLst>
              <a:ext uri="{FF2B5EF4-FFF2-40B4-BE49-F238E27FC236}">
                <a16:creationId xmlns:a16="http://schemas.microsoft.com/office/drawing/2014/main" id="{E7DEE0B7-CE48-7D0E-8859-038A469F985A}"/>
              </a:ext>
            </a:extLst>
          </p:cNvPr>
          <p:cNvSpPr>
            <a:spLocks noGrp="1"/>
          </p:cNvSpPr>
          <p:nvPr>
            <p:ph type="body" sz="quarter" idx="12" hasCustomPrompt="1"/>
          </p:nvPr>
        </p:nvSpPr>
        <p:spPr>
          <a:xfrm>
            <a:off x="642796" y="5884092"/>
            <a:ext cx="9464040" cy="365760"/>
          </a:xfrm>
        </p:spPr>
        <p:txBody>
          <a:bodyPr anchor="b">
            <a:normAutofit/>
          </a:bodyPr>
          <a:lstStyle>
            <a:lvl1pPr marL="0" indent="0" algn="l">
              <a:buNone/>
              <a:defRPr sz="900">
                <a:solidFill>
                  <a:schemeClr val="bg1">
                    <a:lumMod val="50000"/>
                  </a:schemeClr>
                </a:solidFill>
              </a:defRPr>
            </a:lvl1pPr>
          </a:lstStyle>
          <a:p>
            <a:pPr lvl="0"/>
            <a:r>
              <a:rPr lang="en-US"/>
              <a:t>Source </a:t>
            </a:r>
          </a:p>
        </p:txBody>
      </p:sp>
      <p:sp>
        <p:nvSpPr>
          <p:cNvPr id="4" name="Footer Placeholder 3">
            <a:extLst>
              <a:ext uri="{FF2B5EF4-FFF2-40B4-BE49-F238E27FC236}">
                <a16:creationId xmlns:a16="http://schemas.microsoft.com/office/drawing/2014/main" id="{9A46302F-4075-36F2-9989-80399262B038}"/>
              </a:ext>
            </a:extLst>
          </p:cNvPr>
          <p:cNvSpPr>
            <a:spLocks noGrp="1"/>
          </p:cNvSpPr>
          <p:nvPr>
            <p:ph type="ftr" sz="quarter" idx="16"/>
          </p:nvPr>
        </p:nvSpPr>
        <p:spPr/>
        <p:txBody>
          <a:bodyPr/>
          <a:lstStyle>
            <a:lvl1pPr>
              <a:defRPr sz="900"/>
            </a:lvl1pPr>
          </a:lstStyle>
          <a:p>
            <a:endParaRPr lang="en-GB"/>
          </a:p>
        </p:txBody>
      </p:sp>
      <p:sp>
        <p:nvSpPr>
          <p:cNvPr id="6" name="Slide Number Placeholder 5">
            <a:extLst>
              <a:ext uri="{FF2B5EF4-FFF2-40B4-BE49-F238E27FC236}">
                <a16:creationId xmlns:a16="http://schemas.microsoft.com/office/drawing/2014/main" id="{6A7D61FC-01F1-D6B2-8104-03418C60E1A5}"/>
              </a:ext>
            </a:extLst>
          </p:cNvPr>
          <p:cNvSpPr>
            <a:spLocks noGrp="1"/>
          </p:cNvSpPr>
          <p:nvPr>
            <p:ph type="sldNum" sz="quarter" idx="17"/>
          </p:nvPr>
        </p:nvSpPr>
        <p:spPr/>
        <p:txBody>
          <a:bodyPr/>
          <a:lstStyle>
            <a:lvl1pPr>
              <a:defRPr sz="900"/>
            </a:lvl1pPr>
          </a:lstStyle>
          <a:p>
            <a:fld id="{DDF71BC8-773F-4A54-968E-450E29C75AD4}" type="slidenum">
              <a:rPr lang="en-GB" smtClean="0"/>
              <a:pPr/>
              <a:t>‹#›</a:t>
            </a:fld>
            <a:endParaRPr lang="en-GB"/>
          </a:p>
        </p:txBody>
      </p:sp>
    </p:spTree>
    <p:extLst>
      <p:ext uri="{BB962C8B-B14F-4D97-AF65-F5344CB8AC3E}">
        <p14:creationId xmlns:p14="http://schemas.microsoft.com/office/powerpoint/2010/main" val="3772705990"/>
      </p:ext>
    </p:extLst>
  </p:cSld>
  <p:clrMapOvr>
    <a:masterClrMapping/>
  </p:clrMapOvr>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9AE28204-D2CC-0BC8-620D-E489CA48A316}"/>
              </a:ext>
            </a:extLst>
          </p:cNvPr>
          <p:cNvSpPr>
            <a:spLocks noGrp="1"/>
          </p:cNvSpPr>
          <p:nvPr>
            <p:ph type="ftr" sz="quarter" idx="11"/>
          </p:nvPr>
        </p:nvSpPr>
        <p:spPr/>
        <p:txBody>
          <a:bodyPr/>
          <a:lstStyle>
            <a:lvl1pPr>
              <a:defRPr sz="900"/>
            </a:lvl1pPr>
          </a:lstStyle>
          <a:p>
            <a:endParaRPr lang="en-GB"/>
          </a:p>
        </p:txBody>
      </p:sp>
      <p:sp>
        <p:nvSpPr>
          <p:cNvPr id="5" name="Slide Number Placeholder 10">
            <a:extLst>
              <a:ext uri="{FF2B5EF4-FFF2-40B4-BE49-F238E27FC236}">
                <a16:creationId xmlns:a16="http://schemas.microsoft.com/office/drawing/2014/main" id="{A7F238F4-A7F9-75EB-C7F6-7950D9FB41D2}"/>
              </a:ext>
            </a:extLst>
          </p:cNvPr>
          <p:cNvSpPr>
            <a:spLocks noGrp="1"/>
          </p:cNvSpPr>
          <p:nvPr>
            <p:ph type="sldNum" sz="quarter" idx="4"/>
          </p:nvPr>
        </p:nvSpPr>
        <p:spPr>
          <a:xfrm>
            <a:off x="179386" y="6318250"/>
            <a:ext cx="366714" cy="365125"/>
          </a:xfrm>
          <a:prstGeom prst="rect">
            <a:avLst/>
          </a:prstGeom>
        </p:spPr>
        <p:txBody>
          <a:bodyPr vert="horz" lIns="0" tIns="0" rIns="0" bIns="0" rtlCol="0" anchor="b"/>
          <a:lstStyle>
            <a:lvl1pPr algn="l">
              <a:defRPr sz="900">
                <a:solidFill>
                  <a:schemeClr val="bg1">
                    <a:lumMod val="50000"/>
                  </a:schemeClr>
                </a:solidFill>
              </a:defRPr>
            </a:lvl1pPr>
          </a:lstStyle>
          <a:p>
            <a:fld id="{DDF71BC8-773F-4A54-968E-450E29C75AD4}" type="slidenum">
              <a:rPr lang="en-GB" smtClean="0"/>
              <a:pPr/>
              <a:t>‹#›</a:t>
            </a:fld>
            <a:endParaRPr lang="en-GB"/>
          </a:p>
        </p:txBody>
      </p:sp>
      <p:sp>
        <p:nvSpPr>
          <p:cNvPr id="6" name="Text Placeholder 8">
            <a:extLst>
              <a:ext uri="{FF2B5EF4-FFF2-40B4-BE49-F238E27FC236}">
                <a16:creationId xmlns:a16="http://schemas.microsoft.com/office/drawing/2014/main" id="{BA721D32-D642-54D3-E2DF-756AC6A43ABD}"/>
              </a:ext>
            </a:extLst>
          </p:cNvPr>
          <p:cNvSpPr>
            <a:spLocks noGrp="1"/>
          </p:cNvSpPr>
          <p:nvPr>
            <p:ph type="body" sz="quarter" idx="12" hasCustomPrompt="1"/>
          </p:nvPr>
        </p:nvSpPr>
        <p:spPr>
          <a:xfrm>
            <a:off x="642796" y="5884092"/>
            <a:ext cx="9464040" cy="365760"/>
          </a:xfrm>
        </p:spPr>
        <p:txBody>
          <a:bodyPr anchor="b">
            <a:normAutofit/>
          </a:bodyPr>
          <a:lstStyle>
            <a:lvl1pPr marL="0" indent="0" algn="l">
              <a:buNone/>
              <a:defRPr sz="900">
                <a:solidFill>
                  <a:schemeClr val="bg1">
                    <a:lumMod val="50000"/>
                  </a:schemeClr>
                </a:solidFill>
              </a:defRPr>
            </a:lvl1pPr>
          </a:lstStyle>
          <a:p>
            <a:pPr lvl="0"/>
            <a:r>
              <a:rPr lang="en-US"/>
              <a:t>Source </a:t>
            </a:r>
          </a:p>
        </p:txBody>
      </p:sp>
    </p:spTree>
    <p:extLst>
      <p:ext uri="{BB962C8B-B14F-4D97-AF65-F5344CB8AC3E}">
        <p14:creationId xmlns:p14="http://schemas.microsoft.com/office/powerpoint/2010/main" val="19592912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Content with Caption">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39C0BAD-83B8-19D1-B7FD-9554FBA0AAB4}"/>
              </a:ext>
            </a:extLst>
          </p:cNvPr>
          <p:cNvSpPr>
            <a:spLocks noGrp="1"/>
          </p:cNvSpPr>
          <p:nvPr>
            <p:ph idx="1"/>
          </p:nvPr>
        </p:nvSpPr>
        <p:spPr>
          <a:xfrm>
            <a:off x="6187886" y="179388"/>
            <a:ext cx="5824728" cy="5521388"/>
          </a:xfrm>
        </p:spPr>
        <p:txBody>
          <a:bodyPr>
            <a:normAutofit/>
          </a:bodyPr>
          <a:lstStyle>
            <a:lvl1pPr>
              <a:defRPr sz="1200"/>
            </a:lvl1pPr>
            <a:lvl2pPr>
              <a:defRPr sz="1200"/>
            </a:lvl2pPr>
            <a:lvl3pPr>
              <a:defRPr sz="1200"/>
            </a:lvl3pPr>
            <a:lvl4pPr>
              <a:defRPr sz="1200"/>
            </a:lvl4pPr>
            <a:lvl5pPr>
              <a:defRPr sz="12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2C606A0C-A55B-2EBC-EF8F-39EA30F372A8}"/>
              </a:ext>
            </a:extLst>
          </p:cNvPr>
          <p:cNvSpPr>
            <a:spLocks noGrp="1"/>
          </p:cNvSpPr>
          <p:nvPr>
            <p:ph type="body" sz="half" idx="2"/>
          </p:nvPr>
        </p:nvSpPr>
        <p:spPr>
          <a:xfrm>
            <a:off x="179386" y="1320800"/>
            <a:ext cx="5824728" cy="4379976"/>
          </a:xfrm>
        </p:spPr>
        <p:txBody>
          <a:bodyPr>
            <a:normAutofit/>
          </a:bodyPr>
          <a:lstStyle>
            <a:lvl1pPr marL="0" indent="0">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6" name="Footer Placeholder 5">
            <a:extLst>
              <a:ext uri="{FF2B5EF4-FFF2-40B4-BE49-F238E27FC236}">
                <a16:creationId xmlns:a16="http://schemas.microsoft.com/office/drawing/2014/main" id="{EF4C816F-72F4-CF0C-7DFE-1E78B2015813}"/>
              </a:ext>
            </a:extLst>
          </p:cNvPr>
          <p:cNvSpPr>
            <a:spLocks noGrp="1"/>
          </p:cNvSpPr>
          <p:nvPr>
            <p:ph type="ftr" sz="quarter" idx="11"/>
          </p:nvPr>
        </p:nvSpPr>
        <p:spPr/>
        <p:txBody>
          <a:bodyPr/>
          <a:lstStyle>
            <a:lvl1pPr>
              <a:defRPr sz="900"/>
            </a:lvl1pPr>
          </a:lstStyle>
          <a:p>
            <a:endParaRPr lang="en-GB"/>
          </a:p>
        </p:txBody>
      </p:sp>
      <p:sp>
        <p:nvSpPr>
          <p:cNvPr id="8" name="Slide Number Placeholder 10">
            <a:extLst>
              <a:ext uri="{FF2B5EF4-FFF2-40B4-BE49-F238E27FC236}">
                <a16:creationId xmlns:a16="http://schemas.microsoft.com/office/drawing/2014/main" id="{04E1EC17-AB7B-B43C-001C-63A857A51485}"/>
              </a:ext>
            </a:extLst>
          </p:cNvPr>
          <p:cNvSpPr>
            <a:spLocks noGrp="1"/>
          </p:cNvSpPr>
          <p:nvPr>
            <p:ph type="sldNum" sz="quarter" idx="4"/>
          </p:nvPr>
        </p:nvSpPr>
        <p:spPr>
          <a:xfrm>
            <a:off x="179386" y="6318250"/>
            <a:ext cx="366714" cy="365125"/>
          </a:xfrm>
          <a:prstGeom prst="rect">
            <a:avLst/>
          </a:prstGeom>
        </p:spPr>
        <p:txBody>
          <a:bodyPr vert="horz" lIns="0" tIns="0" rIns="0" bIns="0" rtlCol="0" anchor="b"/>
          <a:lstStyle>
            <a:lvl1pPr algn="l">
              <a:defRPr sz="900">
                <a:solidFill>
                  <a:schemeClr val="bg1">
                    <a:lumMod val="50000"/>
                  </a:schemeClr>
                </a:solidFill>
              </a:defRPr>
            </a:lvl1pPr>
          </a:lstStyle>
          <a:p>
            <a:fld id="{DDF71BC8-773F-4A54-968E-450E29C75AD4}" type="slidenum">
              <a:rPr lang="en-GB" smtClean="0"/>
              <a:pPr/>
              <a:t>‹#›</a:t>
            </a:fld>
            <a:endParaRPr lang="en-GB"/>
          </a:p>
        </p:txBody>
      </p:sp>
      <p:sp>
        <p:nvSpPr>
          <p:cNvPr id="9" name="Text Placeholder 8">
            <a:extLst>
              <a:ext uri="{FF2B5EF4-FFF2-40B4-BE49-F238E27FC236}">
                <a16:creationId xmlns:a16="http://schemas.microsoft.com/office/drawing/2014/main" id="{78C000F6-FAF0-83FC-1E25-43E3E1E43702}"/>
              </a:ext>
            </a:extLst>
          </p:cNvPr>
          <p:cNvSpPr>
            <a:spLocks noGrp="1"/>
          </p:cNvSpPr>
          <p:nvPr>
            <p:ph type="body" sz="quarter" idx="12" hasCustomPrompt="1"/>
          </p:nvPr>
        </p:nvSpPr>
        <p:spPr>
          <a:xfrm>
            <a:off x="642796" y="5884092"/>
            <a:ext cx="9464040" cy="365760"/>
          </a:xfrm>
        </p:spPr>
        <p:txBody>
          <a:bodyPr anchor="b">
            <a:normAutofit/>
          </a:bodyPr>
          <a:lstStyle>
            <a:lvl1pPr marL="0" indent="0" algn="l">
              <a:buNone/>
              <a:defRPr sz="900">
                <a:solidFill>
                  <a:schemeClr val="bg1">
                    <a:lumMod val="50000"/>
                  </a:schemeClr>
                </a:solidFill>
              </a:defRPr>
            </a:lvl1pPr>
          </a:lstStyle>
          <a:p>
            <a:pPr lvl="0"/>
            <a:r>
              <a:rPr lang="en-US"/>
              <a:t>Source </a:t>
            </a:r>
          </a:p>
        </p:txBody>
      </p:sp>
      <p:sp>
        <p:nvSpPr>
          <p:cNvPr id="11" name="Title 10">
            <a:extLst>
              <a:ext uri="{FF2B5EF4-FFF2-40B4-BE49-F238E27FC236}">
                <a16:creationId xmlns:a16="http://schemas.microsoft.com/office/drawing/2014/main" id="{787B0930-652D-E1C6-1408-7F66FFB00871}"/>
              </a:ext>
            </a:extLst>
          </p:cNvPr>
          <p:cNvSpPr>
            <a:spLocks noGrp="1"/>
          </p:cNvSpPr>
          <p:nvPr>
            <p:ph type="title"/>
          </p:nvPr>
        </p:nvSpPr>
        <p:spPr>
          <a:xfrm>
            <a:off x="179386" y="179388"/>
            <a:ext cx="5824728" cy="1004927"/>
          </a:xfrm>
        </p:spPr>
        <p:txBody>
          <a:bodyPr/>
          <a:lstStyle/>
          <a:p>
            <a:r>
              <a:rPr lang="en-US"/>
              <a:t>Click to edit Master title style</a:t>
            </a:r>
            <a:endParaRPr lang="en-GB"/>
          </a:p>
        </p:txBody>
      </p:sp>
    </p:spTree>
    <p:extLst>
      <p:ext uri="{BB962C8B-B14F-4D97-AF65-F5344CB8AC3E}">
        <p14:creationId xmlns:p14="http://schemas.microsoft.com/office/powerpoint/2010/main" val="3725409478"/>
      </p:ext>
    </p:extLst>
  </p:cSld>
  <p:clrMapOvr>
    <a:masterClrMapping/>
  </p:clrMapOvr>
  <p:extLst>
    <p:ext uri="{DCECCB84-F9BA-43D5-87BE-67443E8EF086}">
      <p15:sldGuideLst xmlns:p15="http://schemas.microsoft.com/office/powerpoint/2012/main">
        <p15:guide id="1" orient="horz" pos="1265" userDrawn="1">
          <p15:clr>
            <a:srgbClr val="FBAE40"/>
          </p15:clr>
        </p15:guide>
        <p15:guide id="2" orient="horz" pos="1158" userDrawn="1">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_Content with Caption">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CDA8D5C-4ABE-4CBA-9D0A-B520E820C1C4}"/>
              </a:ext>
            </a:extLst>
          </p:cNvPr>
          <p:cNvGraphicFramePr>
            <a:graphicFrameLocks noChangeAspect="1"/>
          </p:cNvGraphicFramePr>
          <p:nvPr>
            <p:custDataLst>
              <p:tags r:id="rId1"/>
            </p:custDataLst>
            <p:extLst>
              <p:ext uri="{D42A27DB-BD31-4B8C-83A1-F6EECF244321}">
                <p14:modId xmlns:p14="http://schemas.microsoft.com/office/powerpoint/2010/main" val="4844246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9" name="Object 8" hidden="1">
                        <a:extLst>
                          <a:ext uri="{FF2B5EF4-FFF2-40B4-BE49-F238E27FC236}">
                            <a16:creationId xmlns:a16="http://schemas.microsoft.com/office/drawing/2014/main" id="{DCDA8D5C-4ABE-4CBA-9D0A-B520E820C1C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30DE0B9-1D37-413A-9F14-DFA5702F739F}"/>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4400" b="0" i="0" baseline="0">
              <a:latin typeface="Source Sans Pro" panose="020B0503030403020204" pitchFamily="34" charset="0"/>
              <a:ea typeface="+mj-ea"/>
              <a:cs typeface="+mj-cs"/>
              <a:sym typeface="Source Sans Pro" panose="020B0503030403020204" pitchFamily="34" charset="0"/>
            </a:endParaRPr>
          </a:p>
        </p:txBody>
      </p:sp>
      <p:sp>
        <p:nvSpPr>
          <p:cNvPr id="3" name="Content Placeholder 2">
            <a:extLst>
              <a:ext uri="{FF2B5EF4-FFF2-40B4-BE49-F238E27FC236}">
                <a16:creationId xmlns:a16="http://schemas.microsoft.com/office/drawing/2014/main" id="{B15D8B6A-7A61-408F-BDB0-38567CF8EC11}"/>
              </a:ext>
            </a:extLst>
          </p:cNvPr>
          <p:cNvSpPr>
            <a:spLocks noGrp="1"/>
          </p:cNvSpPr>
          <p:nvPr>
            <p:ph idx="1"/>
          </p:nvPr>
        </p:nvSpPr>
        <p:spPr>
          <a:xfrm>
            <a:off x="6187886" y="179388"/>
            <a:ext cx="5824728" cy="5521388"/>
          </a:xfrm>
        </p:spPr>
        <p:txBody>
          <a:bodyPr lIns="0" tIns="0" rIns="0" bIns="0">
            <a:normAutofit/>
          </a:bodyPr>
          <a:lstStyle>
            <a:lvl1pPr>
              <a:defRPr sz="1200">
                <a:latin typeface="+mn-lt"/>
                <a:sym typeface="Source Sans Pro" panose="020B0503030403020204" pitchFamily="34" charset="0"/>
              </a:defRPr>
            </a:lvl1pPr>
            <a:lvl2pPr>
              <a:defRPr sz="1200">
                <a:latin typeface="+mn-lt"/>
                <a:sym typeface="Source Sans Pro" panose="020B0503030403020204" pitchFamily="34" charset="0"/>
              </a:defRPr>
            </a:lvl2pPr>
            <a:lvl3pPr>
              <a:defRPr sz="1200">
                <a:latin typeface="+mn-lt"/>
                <a:sym typeface="Source Sans Pro" panose="020B0503030403020204" pitchFamily="34" charset="0"/>
              </a:defRPr>
            </a:lvl3pPr>
            <a:lvl4pPr>
              <a:defRPr sz="1200">
                <a:latin typeface="+mn-lt"/>
                <a:sym typeface="Source Sans Pro" panose="020B0503030403020204" pitchFamily="34" charset="0"/>
              </a:defRPr>
            </a:lvl4pPr>
            <a:lvl5pPr>
              <a:defRPr sz="1200">
                <a:latin typeface="+mn-lt"/>
                <a:sym typeface="Source Sans Pro" panose="020B0503030403020204" pitchFamily="34" charset="0"/>
              </a:defRPr>
            </a:lvl5pPr>
            <a:lvl6pPr>
              <a:defRPr sz="2000"/>
            </a:lvl6pPr>
            <a:lvl7pPr>
              <a:defRPr sz="2000"/>
            </a:lvl7pPr>
            <a:lvl8pPr>
              <a:defRPr sz="2000"/>
            </a:lvl8pPr>
            <a:lvl9pPr>
              <a:defRPr sz="20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11" name="Content Placeholder 10">
            <a:extLst>
              <a:ext uri="{FF2B5EF4-FFF2-40B4-BE49-F238E27FC236}">
                <a16:creationId xmlns:a16="http://schemas.microsoft.com/office/drawing/2014/main" id="{20D821C3-DF30-3E43-6A0D-D595E5CF73D0}"/>
              </a:ext>
            </a:extLst>
          </p:cNvPr>
          <p:cNvSpPr>
            <a:spLocks noGrp="1"/>
          </p:cNvSpPr>
          <p:nvPr>
            <p:ph sz="quarter" idx="15" hasCustomPrompt="1"/>
          </p:nvPr>
        </p:nvSpPr>
        <p:spPr>
          <a:xfrm>
            <a:off x="179386" y="1790127"/>
            <a:ext cx="5824728" cy="3910649"/>
          </a:xfrm>
        </p:spPr>
        <p:txBody>
          <a:bodyPr/>
          <a:lstStyle>
            <a:lvl1pPr marL="0" indent="0">
              <a:buNone/>
              <a:defRPr>
                <a:latin typeface="+mn-lt"/>
                <a:sym typeface="Source Sans Pro" panose="020B0503030403020204" pitchFamily="34" charset="0"/>
              </a:defRPr>
            </a:lvl1pPr>
            <a:lvl2pPr marL="277812" indent="0">
              <a:buNone/>
              <a:defRPr/>
            </a:lvl2pPr>
            <a:lvl3pPr marL="392112" indent="0">
              <a:buNone/>
              <a:defRPr/>
            </a:lvl3pPr>
            <a:lvl4pPr marL="540000" indent="0">
              <a:buNone/>
              <a:defRPr/>
            </a:lvl4pPr>
            <a:lvl5pPr marL="720000" indent="0">
              <a:buNone/>
              <a:defRPr/>
            </a:lvl5pPr>
          </a:lstStyle>
          <a:p>
            <a:pPr marL="0" marR="0" lvl="0" indent="0" algn="l" defTabSz="914400" rtl="0" eaLnBrk="1" fontAlgn="auto" latinLnBrk="0" hangingPunct="1">
              <a:lnSpc>
                <a:spcPct val="90000"/>
              </a:lnSpc>
              <a:spcBef>
                <a:spcPts val="1800"/>
              </a:spcBef>
              <a:spcAft>
                <a:spcPts val="0"/>
              </a:spcAft>
              <a:buClr>
                <a:schemeClr val="tx2"/>
              </a:buClr>
              <a:buSzTx/>
              <a:buFont typeface="Wingdings" panose="05000000000000000000" pitchFamily="2" charset="2"/>
              <a:buNone/>
              <a:tabLst/>
              <a:defRPr/>
            </a:pPr>
            <a:r>
              <a:rPr lang="en-GB" noProof="0"/>
              <a:t>To add Visual click on any of the icons below</a:t>
            </a:r>
          </a:p>
        </p:txBody>
      </p:sp>
      <p:sp>
        <p:nvSpPr>
          <p:cNvPr id="15" name="Text Placeholder 12">
            <a:extLst>
              <a:ext uri="{FF2B5EF4-FFF2-40B4-BE49-F238E27FC236}">
                <a16:creationId xmlns:a16="http://schemas.microsoft.com/office/drawing/2014/main" id="{DD0108B2-04D5-89C3-D0B4-4835C318CA8C}"/>
              </a:ext>
            </a:extLst>
          </p:cNvPr>
          <p:cNvSpPr>
            <a:spLocks noGrp="1"/>
          </p:cNvSpPr>
          <p:nvPr>
            <p:ph type="body" sz="quarter" idx="14" hasCustomPrompt="1"/>
          </p:nvPr>
        </p:nvSpPr>
        <p:spPr>
          <a:xfrm>
            <a:off x="179387" y="1324849"/>
            <a:ext cx="5824728" cy="303369"/>
          </a:xfrm>
        </p:spPr>
        <p:txBody>
          <a:bodyPr>
            <a:normAutofit/>
          </a:bodyPr>
          <a:lstStyle>
            <a:lvl1pPr marL="0" indent="0">
              <a:spcBef>
                <a:spcPts val="0"/>
              </a:spcBef>
              <a:buFont typeface="Arial" panose="020B0604020202020204" pitchFamily="34" charset="0"/>
              <a:buNone/>
              <a:defRPr sz="1600">
                <a:solidFill>
                  <a:schemeClr val="tx2"/>
                </a:solidFill>
                <a:latin typeface="+mn-lt"/>
                <a:sym typeface="Source Sans Pro" panose="020B0503030403020204" pitchFamily="34" charset="0"/>
              </a:defRPr>
            </a:lvl1pPr>
            <a:lvl2pPr marL="180000" indent="0">
              <a:buFont typeface="Arial" panose="020B0604020202020204" pitchFamily="34" charset="0"/>
              <a:buNone/>
              <a:defRPr/>
            </a:lvl2pPr>
            <a:lvl3pPr marL="360000" indent="0">
              <a:buFont typeface="Arial" panose="020B0604020202020204" pitchFamily="34" charset="0"/>
              <a:buNone/>
              <a:defRPr/>
            </a:lvl3pPr>
            <a:lvl4pPr marL="540000" indent="0">
              <a:buFont typeface="Arial" panose="020B0604020202020204" pitchFamily="34" charset="0"/>
              <a:buNone/>
              <a:defRPr/>
            </a:lvl4pPr>
            <a:lvl5pPr marL="720000" indent="0">
              <a:buFont typeface="Arial" panose="020B0604020202020204" pitchFamily="34" charset="0"/>
              <a:buNone/>
              <a:defRPr/>
            </a:lvl5pPr>
          </a:lstStyle>
          <a:p>
            <a:pPr lvl="0"/>
            <a:r>
              <a:rPr lang="en-US"/>
              <a:t>Add subtitle here</a:t>
            </a:r>
          </a:p>
        </p:txBody>
      </p:sp>
      <p:sp>
        <p:nvSpPr>
          <p:cNvPr id="4" name="Title 3">
            <a:extLst>
              <a:ext uri="{FF2B5EF4-FFF2-40B4-BE49-F238E27FC236}">
                <a16:creationId xmlns:a16="http://schemas.microsoft.com/office/drawing/2014/main" id="{FB477057-A1B5-D41E-AD10-FFCBEA88607B}"/>
              </a:ext>
            </a:extLst>
          </p:cNvPr>
          <p:cNvSpPr>
            <a:spLocks noGrp="1"/>
          </p:cNvSpPr>
          <p:nvPr>
            <p:ph type="title"/>
          </p:nvPr>
        </p:nvSpPr>
        <p:spPr>
          <a:xfrm>
            <a:off x="179386" y="179388"/>
            <a:ext cx="5824728" cy="1005840"/>
          </a:xfrm>
        </p:spPr>
        <p:txBody>
          <a:bodyPr/>
          <a:lstStyle/>
          <a:p>
            <a:r>
              <a:rPr lang="en-US"/>
              <a:t>Click to edit Master title style</a:t>
            </a:r>
            <a:endParaRPr lang="en-GB"/>
          </a:p>
        </p:txBody>
      </p:sp>
      <p:sp>
        <p:nvSpPr>
          <p:cNvPr id="13" name="Footer Placeholder 12">
            <a:extLst>
              <a:ext uri="{FF2B5EF4-FFF2-40B4-BE49-F238E27FC236}">
                <a16:creationId xmlns:a16="http://schemas.microsoft.com/office/drawing/2014/main" id="{F5B85007-02C0-74E6-904B-EE1AE51CE5CB}"/>
              </a:ext>
            </a:extLst>
          </p:cNvPr>
          <p:cNvSpPr>
            <a:spLocks noGrp="1"/>
          </p:cNvSpPr>
          <p:nvPr>
            <p:ph type="ftr" sz="quarter" idx="16"/>
          </p:nvPr>
        </p:nvSpPr>
        <p:spPr/>
        <p:txBody>
          <a:bodyPr/>
          <a:lstStyle>
            <a:lvl1pPr>
              <a:defRPr sz="900"/>
            </a:lvl1pPr>
          </a:lstStyle>
          <a:p>
            <a:endParaRPr lang="en-GB"/>
          </a:p>
        </p:txBody>
      </p:sp>
      <p:sp>
        <p:nvSpPr>
          <p:cNvPr id="16" name="Slide Number Placeholder 15">
            <a:extLst>
              <a:ext uri="{FF2B5EF4-FFF2-40B4-BE49-F238E27FC236}">
                <a16:creationId xmlns:a16="http://schemas.microsoft.com/office/drawing/2014/main" id="{072125CD-849A-5480-66F5-563D9BBEC4BD}"/>
              </a:ext>
            </a:extLst>
          </p:cNvPr>
          <p:cNvSpPr>
            <a:spLocks noGrp="1"/>
          </p:cNvSpPr>
          <p:nvPr>
            <p:ph type="sldNum" sz="quarter" idx="17"/>
          </p:nvPr>
        </p:nvSpPr>
        <p:spPr/>
        <p:txBody>
          <a:bodyPr/>
          <a:lstStyle>
            <a:lvl1pPr>
              <a:defRPr sz="900"/>
            </a:lvl1pPr>
          </a:lstStyle>
          <a:p>
            <a:fld id="{DDF71BC8-773F-4A54-968E-450E29C75AD4}" type="slidenum">
              <a:rPr lang="en-GB" smtClean="0"/>
              <a:pPr/>
              <a:t>‹#›</a:t>
            </a:fld>
            <a:endParaRPr lang="en-GB"/>
          </a:p>
        </p:txBody>
      </p:sp>
      <p:sp>
        <p:nvSpPr>
          <p:cNvPr id="17" name="Text Placeholder 8">
            <a:extLst>
              <a:ext uri="{FF2B5EF4-FFF2-40B4-BE49-F238E27FC236}">
                <a16:creationId xmlns:a16="http://schemas.microsoft.com/office/drawing/2014/main" id="{A7A1A9E3-4195-8B1A-95A3-CC97B9216D3D}"/>
              </a:ext>
            </a:extLst>
          </p:cNvPr>
          <p:cNvSpPr>
            <a:spLocks noGrp="1"/>
          </p:cNvSpPr>
          <p:nvPr>
            <p:ph type="body" sz="quarter" idx="12" hasCustomPrompt="1"/>
          </p:nvPr>
        </p:nvSpPr>
        <p:spPr>
          <a:xfrm>
            <a:off x="642796" y="5884092"/>
            <a:ext cx="9464040" cy="365760"/>
          </a:xfrm>
        </p:spPr>
        <p:txBody>
          <a:bodyPr anchor="b">
            <a:normAutofit/>
          </a:bodyPr>
          <a:lstStyle>
            <a:lvl1pPr marL="0" indent="0" algn="l">
              <a:buNone/>
              <a:defRPr sz="900">
                <a:solidFill>
                  <a:schemeClr val="bg1">
                    <a:lumMod val="50000"/>
                  </a:schemeClr>
                </a:solidFill>
              </a:defRPr>
            </a:lvl1pPr>
          </a:lstStyle>
          <a:p>
            <a:pPr lvl="0"/>
            <a:r>
              <a:rPr lang="en-US"/>
              <a:t>Source </a:t>
            </a:r>
          </a:p>
        </p:txBody>
      </p:sp>
    </p:spTree>
    <p:extLst>
      <p:ext uri="{BB962C8B-B14F-4D97-AF65-F5344CB8AC3E}">
        <p14:creationId xmlns:p14="http://schemas.microsoft.com/office/powerpoint/2010/main" val="1791292599"/>
      </p:ext>
    </p:extLst>
  </p:cSld>
  <p:clrMapOvr>
    <a:masterClrMapping/>
  </p:clrMapOvr>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Picture with Caption">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C14F6A19-DA36-BBCD-0851-13284A044C86}"/>
              </a:ext>
            </a:extLst>
          </p:cNvPr>
          <p:cNvSpPr>
            <a:spLocks noGrp="1"/>
          </p:cNvSpPr>
          <p:nvPr>
            <p:ph type="pic" sz="quarter" idx="13" hasCustomPrompt="1"/>
          </p:nvPr>
        </p:nvSpPr>
        <p:spPr>
          <a:xfrm>
            <a:off x="6187886" y="177800"/>
            <a:ext cx="5824728" cy="5522976"/>
          </a:xfrm>
        </p:spPr>
        <p:txBody>
          <a:bodyPr anchor="ctr"/>
          <a:lstStyle>
            <a:lvl1pPr marL="0" indent="0" algn="ctr">
              <a:buNone/>
              <a:defRPr/>
            </a:lvl1pPr>
          </a:lstStyle>
          <a:p>
            <a:r>
              <a:rPr lang="en-US"/>
              <a:t>Click to select placeholder - insert picture from the </a:t>
            </a:r>
            <a:r>
              <a:rPr lang="en-US" err="1"/>
              <a:t>Templafy</a:t>
            </a:r>
            <a:r>
              <a:rPr lang="en-US"/>
              <a:t> library</a:t>
            </a:r>
          </a:p>
        </p:txBody>
      </p:sp>
      <p:sp>
        <p:nvSpPr>
          <p:cNvPr id="4" name="Text Placeholder 3">
            <a:extLst>
              <a:ext uri="{FF2B5EF4-FFF2-40B4-BE49-F238E27FC236}">
                <a16:creationId xmlns:a16="http://schemas.microsoft.com/office/drawing/2014/main" id="{2C606A0C-A55B-2EBC-EF8F-39EA30F372A8}"/>
              </a:ext>
            </a:extLst>
          </p:cNvPr>
          <p:cNvSpPr>
            <a:spLocks noGrp="1"/>
          </p:cNvSpPr>
          <p:nvPr>
            <p:ph type="body" sz="half" idx="2"/>
          </p:nvPr>
        </p:nvSpPr>
        <p:spPr>
          <a:xfrm>
            <a:off x="179386" y="1320800"/>
            <a:ext cx="5824728" cy="4379976"/>
          </a:xfrm>
        </p:spPr>
        <p:txBody>
          <a:bodyPr>
            <a:normAutofit/>
          </a:bodyPr>
          <a:lstStyle>
            <a:lvl1pPr marL="0" indent="0">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6" name="Footer Placeholder 5">
            <a:extLst>
              <a:ext uri="{FF2B5EF4-FFF2-40B4-BE49-F238E27FC236}">
                <a16:creationId xmlns:a16="http://schemas.microsoft.com/office/drawing/2014/main" id="{EF4C816F-72F4-CF0C-7DFE-1E78B2015813}"/>
              </a:ext>
            </a:extLst>
          </p:cNvPr>
          <p:cNvSpPr>
            <a:spLocks noGrp="1"/>
          </p:cNvSpPr>
          <p:nvPr>
            <p:ph type="ftr" sz="quarter" idx="11"/>
          </p:nvPr>
        </p:nvSpPr>
        <p:spPr/>
        <p:txBody>
          <a:bodyPr/>
          <a:lstStyle>
            <a:lvl1pPr>
              <a:defRPr sz="900"/>
            </a:lvl1pPr>
          </a:lstStyle>
          <a:p>
            <a:endParaRPr lang="en-GB"/>
          </a:p>
        </p:txBody>
      </p:sp>
      <p:sp>
        <p:nvSpPr>
          <p:cNvPr id="8" name="Slide Number Placeholder 10">
            <a:extLst>
              <a:ext uri="{FF2B5EF4-FFF2-40B4-BE49-F238E27FC236}">
                <a16:creationId xmlns:a16="http://schemas.microsoft.com/office/drawing/2014/main" id="{04E1EC17-AB7B-B43C-001C-63A857A51485}"/>
              </a:ext>
            </a:extLst>
          </p:cNvPr>
          <p:cNvSpPr>
            <a:spLocks noGrp="1"/>
          </p:cNvSpPr>
          <p:nvPr>
            <p:ph type="sldNum" sz="quarter" idx="4"/>
          </p:nvPr>
        </p:nvSpPr>
        <p:spPr>
          <a:xfrm>
            <a:off x="179386" y="6318250"/>
            <a:ext cx="366714" cy="365125"/>
          </a:xfrm>
          <a:prstGeom prst="rect">
            <a:avLst/>
          </a:prstGeom>
        </p:spPr>
        <p:txBody>
          <a:bodyPr vert="horz" lIns="0" tIns="0" rIns="0" bIns="0" rtlCol="0" anchor="b"/>
          <a:lstStyle>
            <a:lvl1pPr algn="l">
              <a:defRPr sz="900">
                <a:solidFill>
                  <a:schemeClr val="bg1">
                    <a:lumMod val="50000"/>
                  </a:schemeClr>
                </a:solidFill>
              </a:defRPr>
            </a:lvl1pPr>
          </a:lstStyle>
          <a:p>
            <a:fld id="{DDF71BC8-773F-4A54-968E-450E29C75AD4}" type="slidenum">
              <a:rPr lang="en-GB" smtClean="0"/>
              <a:pPr/>
              <a:t>‹#›</a:t>
            </a:fld>
            <a:endParaRPr lang="en-GB"/>
          </a:p>
        </p:txBody>
      </p:sp>
      <p:sp>
        <p:nvSpPr>
          <p:cNvPr id="9" name="Text Placeholder 8">
            <a:extLst>
              <a:ext uri="{FF2B5EF4-FFF2-40B4-BE49-F238E27FC236}">
                <a16:creationId xmlns:a16="http://schemas.microsoft.com/office/drawing/2014/main" id="{78C000F6-FAF0-83FC-1E25-43E3E1E43702}"/>
              </a:ext>
            </a:extLst>
          </p:cNvPr>
          <p:cNvSpPr>
            <a:spLocks noGrp="1"/>
          </p:cNvSpPr>
          <p:nvPr>
            <p:ph type="body" sz="quarter" idx="12" hasCustomPrompt="1"/>
          </p:nvPr>
        </p:nvSpPr>
        <p:spPr>
          <a:xfrm>
            <a:off x="642796" y="5884092"/>
            <a:ext cx="9464040" cy="365760"/>
          </a:xfrm>
        </p:spPr>
        <p:txBody>
          <a:bodyPr anchor="b">
            <a:normAutofit/>
          </a:bodyPr>
          <a:lstStyle>
            <a:lvl1pPr marL="0" indent="0" algn="l">
              <a:buNone/>
              <a:defRPr sz="900">
                <a:solidFill>
                  <a:schemeClr val="bg1">
                    <a:lumMod val="50000"/>
                  </a:schemeClr>
                </a:solidFill>
              </a:defRPr>
            </a:lvl1pPr>
          </a:lstStyle>
          <a:p>
            <a:pPr lvl="0"/>
            <a:r>
              <a:rPr lang="en-US"/>
              <a:t>Source </a:t>
            </a:r>
          </a:p>
        </p:txBody>
      </p:sp>
      <p:sp>
        <p:nvSpPr>
          <p:cNvPr id="7" name="Title 6">
            <a:extLst>
              <a:ext uri="{FF2B5EF4-FFF2-40B4-BE49-F238E27FC236}">
                <a16:creationId xmlns:a16="http://schemas.microsoft.com/office/drawing/2014/main" id="{A8F80EDD-4098-1270-00AB-B429E0E2F861}"/>
              </a:ext>
            </a:extLst>
          </p:cNvPr>
          <p:cNvSpPr>
            <a:spLocks noGrp="1"/>
          </p:cNvSpPr>
          <p:nvPr>
            <p:ph type="title"/>
          </p:nvPr>
        </p:nvSpPr>
        <p:spPr>
          <a:xfrm>
            <a:off x="179386" y="179388"/>
            <a:ext cx="5824728" cy="1005840"/>
          </a:xfrm>
        </p:spPr>
        <p:txBody>
          <a:bodyPr/>
          <a:lstStyle/>
          <a:p>
            <a:r>
              <a:rPr lang="en-US"/>
              <a:t>Click to edit Master title style</a:t>
            </a:r>
            <a:endParaRPr lang="en-GB"/>
          </a:p>
        </p:txBody>
      </p:sp>
    </p:spTree>
    <p:extLst>
      <p:ext uri="{BB962C8B-B14F-4D97-AF65-F5344CB8AC3E}">
        <p14:creationId xmlns:p14="http://schemas.microsoft.com/office/powerpoint/2010/main" val="2851021020"/>
      </p:ext>
    </p:extLst>
  </p:cSld>
  <p:clrMapOvr>
    <a:masterClrMapping/>
  </p:clrMapOvr>
  <p:extLst>
    <p:ext uri="{DCECCB84-F9BA-43D5-87BE-67443E8EF086}">
      <p15:sldGuideLst xmlns:p15="http://schemas.microsoft.com/office/powerpoint/2012/main">
        <p15:guide id="1" orient="horz" pos="1265" userDrawn="1">
          <p15:clr>
            <a:srgbClr val="FBAE40"/>
          </p15:clr>
        </p15:guide>
        <p15:guide id="2" orient="horz" pos="1158" userDrawn="1">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2_Picture with Caption">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FD9A1697-4A4F-4D02-A31B-17F65E09F600}"/>
              </a:ext>
            </a:extLst>
          </p:cNvPr>
          <p:cNvGraphicFramePr>
            <a:graphicFrameLocks noChangeAspect="1"/>
          </p:cNvGraphicFramePr>
          <p:nvPr>
            <p:custDataLst>
              <p:tags r:id="rId1"/>
            </p:custDataLst>
            <p:extLst>
              <p:ext uri="{D42A27DB-BD31-4B8C-83A1-F6EECF244321}">
                <p14:modId xmlns:p14="http://schemas.microsoft.com/office/powerpoint/2010/main" val="4501776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9" name="Object 8" hidden="1">
                        <a:extLst>
                          <a:ext uri="{FF2B5EF4-FFF2-40B4-BE49-F238E27FC236}">
                            <a16:creationId xmlns:a16="http://schemas.microsoft.com/office/drawing/2014/main" id="{FD9A1697-4A4F-4D02-A31B-17F65E09F60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4326DCA2-1872-4334-AB48-F6ED42935B5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4400" b="0" i="0" baseline="0">
              <a:latin typeface="Source Sans Pro" panose="020B0503030403020204" pitchFamily="34" charset="0"/>
              <a:ea typeface="+mj-ea"/>
              <a:cs typeface="+mj-cs"/>
              <a:sym typeface="Source Sans Pro" panose="020B0503030403020204" pitchFamily="34" charset="0"/>
            </a:endParaRPr>
          </a:p>
        </p:txBody>
      </p:sp>
      <p:sp>
        <p:nvSpPr>
          <p:cNvPr id="15" name="Text Placeholder 14">
            <a:extLst>
              <a:ext uri="{FF2B5EF4-FFF2-40B4-BE49-F238E27FC236}">
                <a16:creationId xmlns:a16="http://schemas.microsoft.com/office/drawing/2014/main" id="{F24CB0F5-07E9-5625-6BFB-71BCC3E2AA78}"/>
              </a:ext>
            </a:extLst>
          </p:cNvPr>
          <p:cNvSpPr>
            <a:spLocks noGrp="1"/>
          </p:cNvSpPr>
          <p:nvPr>
            <p:ph type="body" sz="quarter" idx="18"/>
          </p:nvPr>
        </p:nvSpPr>
        <p:spPr>
          <a:xfrm>
            <a:off x="179385" y="1787144"/>
            <a:ext cx="5824728" cy="3913632"/>
          </a:xfrm>
        </p:spPr>
        <p:txBody>
          <a:bodyPr/>
          <a:lstStyle>
            <a:lvl1pPr>
              <a:defRPr>
                <a:latin typeface="+mn-lt"/>
                <a:sym typeface="Source Sans Pro" panose="020B0503030403020204" pitchFamily="34" charset="0"/>
              </a:defRPr>
            </a:lvl1pPr>
            <a:lvl2pPr>
              <a:defRPr>
                <a:latin typeface="+mn-lt"/>
                <a:sym typeface="Source Sans Pro" panose="020B0503030403020204" pitchFamily="34" charset="0"/>
              </a:defRPr>
            </a:lvl2pPr>
            <a:lvl3pPr>
              <a:defRPr>
                <a:latin typeface="+mn-lt"/>
                <a:sym typeface="Source Sans Pro" panose="020B0503030403020204" pitchFamily="34" charset="0"/>
              </a:defRPr>
            </a:lvl3pPr>
            <a:lvl4pPr>
              <a:defRPr>
                <a:latin typeface="+mn-lt"/>
                <a:sym typeface="Source Sans Pro" panose="020B0503030403020204" pitchFamily="34" charset="0"/>
              </a:defRPr>
            </a:lvl4pPr>
            <a:lvl5pPr>
              <a:defRPr>
                <a:latin typeface="+mn-lt"/>
                <a:sym typeface="Source Sans Pro" panose="020B0503030403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Picture Placeholder 19">
            <a:extLst>
              <a:ext uri="{FF2B5EF4-FFF2-40B4-BE49-F238E27FC236}">
                <a16:creationId xmlns:a16="http://schemas.microsoft.com/office/drawing/2014/main" id="{A878717E-F77F-22A7-B612-0051C38F5584}"/>
              </a:ext>
            </a:extLst>
          </p:cNvPr>
          <p:cNvSpPr>
            <a:spLocks noGrp="1"/>
          </p:cNvSpPr>
          <p:nvPr>
            <p:ph type="pic" sz="quarter" idx="19" hasCustomPrompt="1"/>
          </p:nvPr>
        </p:nvSpPr>
        <p:spPr>
          <a:xfrm>
            <a:off x="6187886" y="179388"/>
            <a:ext cx="5824728" cy="5521388"/>
          </a:xfrm>
        </p:spPr>
        <p:txBody>
          <a:bodyPr/>
          <a:lstStyle>
            <a:lvl1pPr marL="0" indent="0" algn="ctr">
              <a:buNone/>
              <a:defRPr>
                <a:latin typeface="+mn-lt"/>
                <a:sym typeface="Source Sans Pro" panose="020B0503030403020204" pitchFamily="34" charset="0"/>
              </a:defRPr>
            </a:lvl1pPr>
          </a:lstStyle>
          <a:p>
            <a:r>
              <a:rPr lang="en-US"/>
              <a:t>click on the icons below to add picture</a:t>
            </a:r>
          </a:p>
        </p:txBody>
      </p:sp>
      <p:sp>
        <p:nvSpPr>
          <p:cNvPr id="12" name="Text Placeholder 12">
            <a:extLst>
              <a:ext uri="{FF2B5EF4-FFF2-40B4-BE49-F238E27FC236}">
                <a16:creationId xmlns:a16="http://schemas.microsoft.com/office/drawing/2014/main" id="{A48D686B-02AD-E0C4-22B2-9A5CB28AF6CA}"/>
              </a:ext>
            </a:extLst>
          </p:cNvPr>
          <p:cNvSpPr>
            <a:spLocks noGrp="1"/>
          </p:cNvSpPr>
          <p:nvPr>
            <p:ph type="body" sz="quarter" idx="14" hasCustomPrompt="1"/>
          </p:nvPr>
        </p:nvSpPr>
        <p:spPr>
          <a:xfrm>
            <a:off x="179387" y="1324849"/>
            <a:ext cx="5824728" cy="303369"/>
          </a:xfrm>
        </p:spPr>
        <p:txBody>
          <a:bodyPr>
            <a:normAutofit/>
          </a:bodyPr>
          <a:lstStyle>
            <a:lvl1pPr marL="0" indent="0">
              <a:spcBef>
                <a:spcPts val="0"/>
              </a:spcBef>
              <a:buFont typeface="Arial" panose="020B0604020202020204" pitchFamily="34" charset="0"/>
              <a:buNone/>
              <a:defRPr sz="1600">
                <a:solidFill>
                  <a:schemeClr val="tx2"/>
                </a:solidFill>
                <a:latin typeface="+mn-lt"/>
                <a:sym typeface="Source Sans Pro" panose="020B0503030403020204" pitchFamily="34" charset="0"/>
              </a:defRPr>
            </a:lvl1pPr>
            <a:lvl2pPr marL="180000" indent="0">
              <a:buFont typeface="Arial" panose="020B0604020202020204" pitchFamily="34" charset="0"/>
              <a:buNone/>
              <a:defRPr/>
            </a:lvl2pPr>
            <a:lvl3pPr marL="360000" indent="0">
              <a:buFont typeface="Arial" panose="020B0604020202020204" pitchFamily="34" charset="0"/>
              <a:buNone/>
              <a:defRPr/>
            </a:lvl3pPr>
            <a:lvl4pPr marL="540000" indent="0">
              <a:buFont typeface="Arial" panose="020B0604020202020204" pitchFamily="34" charset="0"/>
              <a:buNone/>
              <a:defRPr/>
            </a:lvl4pPr>
            <a:lvl5pPr marL="720000" indent="0">
              <a:buFont typeface="Arial" panose="020B0604020202020204" pitchFamily="34" charset="0"/>
              <a:buNone/>
              <a:defRPr/>
            </a:lvl5pPr>
          </a:lstStyle>
          <a:p>
            <a:pPr lvl="0"/>
            <a:r>
              <a:rPr lang="en-US"/>
              <a:t>Add subtitle here</a:t>
            </a:r>
          </a:p>
        </p:txBody>
      </p:sp>
      <p:sp>
        <p:nvSpPr>
          <p:cNvPr id="2" name="Title 1">
            <a:extLst>
              <a:ext uri="{FF2B5EF4-FFF2-40B4-BE49-F238E27FC236}">
                <a16:creationId xmlns:a16="http://schemas.microsoft.com/office/drawing/2014/main" id="{52677B1D-C5F3-7657-C502-4BEF50474EA2}"/>
              </a:ext>
            </a:extLst>
          </p:cNvPr>
          <p:cNvSpPr>
            <a:spLocks noGrp="1"/>
          </p:cNvSpPr>
          <p:nvPr>
            <p:ph type="title"/>
          </p:nvPr>
        </p:nvSpPr>
        <p:spPr>
          <a:xfrm>
            <a:off x="179386" y="179388"/>
            <a:ext cx="5824728" cy="1005840"/>
          </a:xfrm>
        </p:spPr>
        <p:txBody>
          <a:bodyPr/>
          <a:lstStyle/>
          <a:p>
            <a:r>
              <a:rPr lang="en-US"/>
              <a:t>Click to edit Master title style</a:t>
            </a:r>
            <a:endParaRPr lang="en-GB"/>
          </a:p>
        </p:txBody>
      </p:sp>
      <p:sp>
        <p:nvSpPr>
          <p:cNvPr id="6" name="Footer Placeholder 5">
            <a:extLst>
              <a:ext uri="{FF2B5EF4-FFF2-40B4-BE49-F238E27FC236}">
                <a16:creationId xmlns:a16="http://schemas.microsoft.com/office/drawing/2014/main" id="{2BA5FE7F-A636-5077-A65C-6C38AE025F25}"/>
              </a:ext>
            </a:extLst>
          </p:cNvPr>
          <p:cNvSpPr>
            <a:spLocks noGrp="1"/>
          </p:cNvSpPr>
          <p:nvPr>
            <p:ph type="ftr" sz="quarter" idx="20"/>
          </p:nvPr>
        </p:nvSpPr>
        <p:spPr/>
        <p:txBody>
          <a:bodyPr/>
          <a:lstStyle>
            <a:lvl1pPr>
              <a:defRPr sz="900"/>
            </a:lvl1pPr>
          </a:lstStyle>
          <a:p>
            <a:endParaRPr lang="en-GB"/>
          </a:p>
        </p:txBody>
      </p:sp>
      <p:sp>
        <p:nvSpPr>
          <p:cNvPr id="7" name="Slide Number Placeholder 6">
            <a:extLst>
              <a:ext uri="{FF2B5EF4-FFF2-40B4-BE49-F238E27FC236}">
                <a16:creationId xmlns:a16="http://schemas.microsoft.com/office/drawing/2014/main" id="{542B8592-4155-F0B6-C175-2CAF67AF9731}"/>
              </a:ext>
            </a:extLst>
          </p:cNvPr>
          <p:cNvSpPr>
            <a:spLocks noGrp="1"/>
          </p:cNvSpPr>
          <p:nvPr>
            <p:ph type="sldNum" sz="quarter" idx="21"/>
          </p:nvPr>
        </p:nvSpPr>
        <p:spPr/>
        <p:txBody>
          <a:bodyPr/>
          <a:lstStyle>
            <a:lvl1pPr>
              <a:defRPr sz="900"/>
            </a:lvl1pPr>
          </a:lstStyle>
          <a:p>
            <a:fld id="{DDF71BC8-773F-4A54-968E-450E29C75AD4}" type="slidenum">
              <a:rPr lang="en-GB" smtClean="0"/>
              <a:pPr/>
              <a:t>‹#›</a:t>
            </a:fld>
            <a:endParaRPr lang="en-GB"/>
          </a:p>
        </p:txBody>
      </p:sp>
      <p:sp>
        <p:nvSpPr>
          <p:cNvPr id="10" name="Text Placeholder 8">
            <a:extLst>
              <a:ext uri="{FF2B5EF4-FFF2-40B4-BE49-F238E27FC236}">
                <a16:creationId xmlns:a16="http://schemas.microsoft.com/office/drawing/2014/main" id="{7CD37418-B455-FE92-50DB-95F1C72288DD}"/>
              </a:ext>
            </a:extLst>
          </p:cNvPr>
          <p:cNvSpPr>
            <a:spLocks noGrp="1"/>
          </p:cNvSpPr>
          <p:nvPr>
            <p:ph type="body" sz="quarter" idx="12" hasCustomPrompt="1"/>
          </p:nvPr>
        </p:nvSpPr>
        <p:spPr>
          <a:xfrm>
            <a:off x="642796" y="5884092"/>
            <a:ext cx="9464040" cy="365760"/>
          </a:xfrm>
        </p:spPr>
        <p:txBody>
          <a:bodyPr anchor="b">
            <a:normAutofit/>
          </a:bodyPr>
          <a:lstStyle>
            <a:lvl1pPr marL="0" indent="0" algn="l">
              <a:buNone/>
              <a:defRPr sz="900">
                <a:solidFill>
                  <a:schemeClr val="bg1">
                    <a:lumMod val="50000"/>
                  </a:schemeClr>
                </a:solidFill>
              </a:defRPr>
            </a:lvl1pPr>
          </a:lstStyle>
          <a:p>
            <a:pPr lvl="0"/>
            <a:r>
              <a:rPr lang="en-US"/>
              <a:t>Source </a:t>
            </a:r>
          </a:p>
        </p:txBody>
      </p:sp>
    </p:spTree>
    <p:extLst>
      <p:ext uri="{BB962C8B-B14F-4D97-AF65-F5344CB8AC3E}">
        <p14:creationId xmlns:p14="http://schemas.microsoft.com/office/powerpoint/2010/main" val="3607497367"/>
      </p:ext>
    </p:extLst>
  </p:cSld>
  <p:clrMapOvr>
    <a:masterClrMapping/>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Internal Legal Disclaimer ">
    <p:spTree>
      <p:nvGrpSpPr>
        <p:cNvPr id="1" name=""/>
        <p:cNvGrpSpPr/>
        <p:nvPr/>
      </p:nvGrpSpPr>
      <p:grpSpPr>
        <a:xfrm>
          <a:off x="0" y="0"/>
          <a:ext cx="0" cy="0"/>
          <a:chOff x="0" y="0"/>
          <a:chExt cx="0" cy="0"/>
        </a:xfrm>
      </p:grpSpPr>
      <p:sp>
        <p:nvSpPr>
          <p:cNvPr id="5" name="text" descr="{&quot;templafy&quot;:{&quot;id&quot;:&quot;73195096-35c0-413e-9fdc-dc643feb0d1e&quot;}}" title="UserProfile.LegalEntity.DisclaimerPowerPoint_{{Form.Audience.Audience}}">
            <a:extLst>
              <a:ext uri="{FF2B5EF4-FFF2-40B4-BE49-F238E27FC236}">
                <a16:creationId xmlns:a16="http://schemas.microsoft.com/office/drawing/2014/main" id="{C29D54A5-BB86-3F92-24C7-1F327E04FF9E}"/>
              </a:ext>
            </a:extLst>
          </p:cNvPr>
          <p:cNvSpPr/>
          <p:nvPr userDrawn="1"/>
        </p:nvSpPr>
        <p:spPr>
          <a:xfrm>
            <a:off x="539750" y="5378450"/>
            <a:ext cx="4968000" cy="3921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algn="l"/>
            <a:r>
              <a:rPr lang="en-GB" sz="900" noProof="0">
                <a:solidFill>
                  <a:schemeClr val="tx1"/>
                </a:solidFill>
              </a:rPr>
              <a:t>© 2024 </a:t>
            </a:r>
            <a:r>
              <a:rPr lang="en-GB" sz="900" noProof="0" err="1">
                <a:solidFill>
                  <a:schemeClr val="tx1"/>
                </a:solidFill>
              </a:rPr>
              <a:t>Systemiq</a:t>
            </a:r>
            <a:r>
              <a:rPr lang="en-GB" sz="900" noProof="0">
                <a:solidFill>
                  <a:schemeClr val="tx1"/>
                </a:solidFill>
              </a:rPr>
              <a:t> Ltd. All rights reserved.
This is an internal document which provides confidential advice and guidance to partners and staff of </a:t>
            </a:r>
            <a:r>
              <a:rPr lang="en-GB" sz="900" noProof="0" err="1">
                <a:solidFill>
                  <a:schemeClr val="tx1"/>
                </a:solidFill>
              </a:rPr>
              <a:t>Systemiq</a:t>
            </a:r>
            <a:r>
              <a:rPr lang="en-GB" sz="900" noProof="0">
                <a:solidFill>
                  <a:schemeClr val="tx1"/>
                </a:solidFill>
              </a:rPr>
              <a:t> Ltd. and its subsidiaries. It is not to be copied or made available to any other party without prior written approval.</a:t>
            </a:r>
          </a:p>
        </p:txBody>
      </p:sp>
      <p:pic>
        <p:nvPicPr>
          <p:cNvPr id="6" name="Picture 5">
            <a:extLst>
              <a:ext uri="{FF2B5EF4-FFF2-40B4-BE49-F238E27FC236}">
                <a16:creationId xmlns:a16="http://schemas.microsoft.com/office/drawing/2014/main" id="{253C2779-C15C-6DBD-9A6C-6374BA8F16C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39749" y="556390"/>
            <a:ext cx="3193619" cy="870073"/>
          </a:xfrm>
          <a:prstGeom prst="rect">
            <a:avLst/>
          </a:prstGeom>
        </p:spPr>
      </p:pic>
    </p:spTree>
    <p:extLst>
      <p:ext uri="{BB962C8B-B14F-4D97-AF65-F5344CB8AC3E}">
        <p14:creationId xmlns:p14="http://schemas.microsoft.com/office/powerpoint/2010/main" val="255564849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External Legal Disclaimer ">
    <p:spTree>
      <p:nvGrpSpPr>
        <p:cNvPr id="1" name=""/>
        <p:cNvGrpSpPr/>
        <p:nvPr/>
      </p:nvGrpSpPr>
      <p:grpSpPr>
        <a:xfrm>
          <a:off x="0" y="0"/>
          <a:ext cx="0" cy="0"/>
          <a:chOff x="0" y="0"/>
          <a:chExt cx="0" cy="0"/>
        </a:xfrm>
      </p:grpSpPr>
      <p:sp>
        <p:nvSpPr>
          <p:cNvPr id="5" name="text" descr="{&quot;templafy&quot;:{&quot;id&quot;:&quot;73195096-35c0-413e-9fdc-dc643feb0d1e&quot;}}" title="UserProfile.LegalEntity.DisclaimerPowerPoint_{{Form.Audience.Audience}}">
            <a:extLst>
              <a:ext uri="{FF2B5EF4-FFF2-40B4-BE49-F238E27FC236}">
                <a16:creationId xmlns:a16="http://schemas.microsoft.com/office/drawing/2014/main" id="{C29D54A5-BB86-3F92-24C7-1F327E04FF9E}"/>
              </a:ext>
            </a:extLst>
          </p:cNvPr>
          <p:cNvSpPr/>
          <p:nvPr userDrawn="1"/>
        </p:nvSpPr>
        <p:spPr>
          <a:xfrm>
            <a:off x="539750" y="5378450"/>
            <a:ext cx="10341864" cy="3921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a:lnSpc>
                <a:spcPts val="1200"/>
              </a:lnSpc>
              <a:spcAft>
                <a:spcPts val="600"/>
              </a:spcAft>
            </a:pPr>
            <a:r>
              <a:rPr lang="en-GB" sz="900" noProof="0">
                <a:solidFill>
                  <a:schemeClr val="tx1"/>
                </a:solidFill>
              </a:rPr>
              <a:t>© 2024</a:t>
            </a:r>
            <a:r>
              <a:rPr lang="en-US" sz="900" kern="1200">
                <a:solidFill>
                  <a:schemeClr val="tx1"/>
                </a:solidFill>
                <a:latin typeface="+mn-lt"/>
                <a:ea typeface="+mn-ea"/>
                <a:cs typeface="+mn-cs"/>
              </a:rPr>
              <a:t> </a:t>
            </a:r>
            <a:r>
              <a:rPr lang="en-US" sz="900" kern="1200" err="1">
                <a:solidFill>
                  <a:schemeClr val="tx1"/>
                </a:solidFill>
                <a:latin typeface="+mn-lt"/>
                <a:ea typeface="+mn-ea"/>
                <a:cs typeface="+mn-cs"/>
              </a:rPr>
              <a:t>Systemiq</a:t>
            </a:r>
            <a:r>
              <a:rPr lang="en-US" sz="900" kern="1200">
                <a:solidFill>
                  <a:schemeClr val="tx1"/>
                </a:solidFill>
                <a:latin typeface="+mn-lt"/>
                <a:ea typeface="+mn-ea"/>
                <a:cs typeface="+mn-cs"/>
              </a:rPr>
              <a:t> Ltd. All rights reserved.</a:t>
            </a:r>
          </a:p>
          <a:p>
            <a:pPr>
              <a:lnSpc>
                <a:spcPts val="1200"/>
              </a:lnSpc>
              <a:spcAft>
                <a:spcPts val="600"/>
              </a:spcAft>
            </a:pPr>
            <a:r>
              <a:rPr lang="en-US" sz="900" kern="1200">
                <a:solidFill>
                  <a:schemeClr val="tx1"/>
                </a:solidFill>
                <a:latin typeface="+mn-lt"/>
                <a:ea typeface="+mn-ea"/>
                <a:cs typeface="+mn-cs"/>
              </a:rPr>
              <a:t>This document (the “Document”) is for informational purposes only and is being made available to you by </a:t>
            </a:r>
            <a:r>
              <a:rPr lang="en-US" sz="900" kern="1200" err="1">
                <a:solidFill>
                  <a:schemeClr val="tx1"/>
                </a:solidFill>
                <a:latin typeface="+mn-lt"/>
                <a:ea typeface="+mn-ea"/>
                <a:cs typeface="+mn-cs"/>
              </a:rPr>
              <a:t>Systemiq</a:t>
            </a:r>
            <a:r>
              <a:rPr lang="en-US" sz="900" kern="1200">
                <a:solidFill>
                  <a:schemeClr val="tx1"/>
                </a:solidFill>
                <a:latin typeface="+mn-lt"/>
                <a:ea typeface="+mn-ea"/>
                <a:cs typeface="+mn-cs"/>
              </a:rPr>
              <a:t>. </a:t>
            </a:r>
            <a:endParaRPr lang="en-GB" sz="900" kern="1200">
              <a:solidFill>
                <a:schemeClr val="tx1"/>
              </a:solidFill>
              <a:latin typeface="+mn-lt"/>
              <a:ea typeface="+mn-ea"/>
              <a:cs typeface="+mn-cs"/>
            </a:endParaRPr>
          </a:p>
          <a:p>
            <a:pPr>
              <a:lnSpc>
                <a:spcPts val="1200"/>
              </a:lnSpc>
              <a:spcAft>
                <a:spcPts val="600"/>
              </a:spcAft>
            </a:pPr>
            <a:r>
              <a:rPr lang="en-US" sz="900" kern="1200">
                <a:solidFill>
                  <a:schemeClr val="tx1"/>
                </a:solidFill>
                <a:latin typeface="+mn-lt"/>
                <a:ea typeface="+mn-ea"/>
                <a:cs typeface="+mn-cs"/>
              </a:rPr>
              <a:t>This Document is published by </a:t>
            </a:r>
            <a:r>
              <a:rPr lang="en-US" sz="900" kern="1200" err="1">
                <a:solidFill>
                  <a:schemeClr val="tx1"/>
                </a:solidFill>
                <a:latin typeface="+mn-lt"/>
                <a:ea typeface="+mn-ea"/>
                <a:cs typeface="+mn-cs"/>
              </a:rPr>
              <a:t>Systemiq</a:t>
            </a:r>
            <a:r>
              <a:rPr lang="en-US" sz="900" kern="1200">
                <a:solidFill>
                  <a:schemeClr val="tx1"/>
                </a:solidFill>
                <a:latin typeface="+mn-lt"/>
                <a:ea typeface="+mn-ea"/>
                <a:cs typeface="+mn-cs"/>
              </a:rPr>
              <a:t> and contains information that has been or may have been provided by a number of sources. </a:t>
            </a:r>
            <a:r>
              <a:rPr lang="en-US" sz="900" kern="1200" err="1">
                <a:solidFill>
                  <a:schemeClr val="tx1"/>
                </a:solidFill>
                <a:latin typeface="+mn-lt"/>
                <a:ea typeface="+mn-ea"/>
                <a:cs typeface="+mn-cs"/>
              </a:rPr>
              <a:t>Systemiq</a:t>
            </a:r>
            <a:r>
              <a:rPr lang="en-US" sz="900" kern="1200">
                <a:solidFill>
                  <a:schemeClr val="tx1"/>
                </a:solidFill>
                <a:latin typeface="+mn-lt"/>
                <a:ea typeface="+mn-ea"/>
                <a:cs typeface="+mn-cs"/>
              </a:rPr>
              <a:t> has not separately verified the information provided from outside sources and cannot take responsibility if any of these statements misrepresent a stakeholder position or if positions evolve over time. </a:t>
            </a:r>
            <a:endParaRPr lang="en-GB" sz="900" kern="1200">
              <a:solidFill>
                <a:schemeClr val="tx1"/>
              </a:solidFill>
              <a:latin typeface="+mn-lt"/>
              <a:ea typeface="+mn-ea"/>
              <a:cs typeface="+mn-cs"/>
            </a:endParaRPr>
          </a:p>
          <a:p>
            <a:pPr>
              <a:lnSpc>
                <a:spcPts val="1200"/>
              </a:lnSpc>
              <a:spcAft>
                <a:spcPts val="600"/>
              </a:spcAft>
            </a:pPr>
            <a:r>
              <a:rPr lang="en-US" sz="900" kern="1200">
                <a:solidFill>
                  <a:schemeClr val="tx1"/>
                </a:solidFill>
                <a:latin typeface="+mn-lt"/>
                <a:ea typeface="+mn-ea"/>
                <a:cs typeface="+mn-cs"/>
              </a:rPr>
              <a:t>To the extent permitted by law, nothing contained herein shall constitute any representation or warranty and no responsibility or liability is accepted by </a:t>
            </a:r>
            <a:r>
              <a:rPr lang="en-US" sz="900" kern="1200" err="1">
                <a:solidFill>
                  <a:schemeClr val="tx1"/>
                </a:solidFill>
                <a:latin typeface="+mn-lt"/>
                <a:ea typeface="+mn-ea"/>
                <a:cs typeface="+mn-cs"/>
              </a:rPr>
              <a:t>Systemiq</a:t>
            </a:r>
            <a:r>
              <a:rPr lang="en-US" sz="900" kern="1200">
                <a:solidFill>
                  <a:schemeClr val="tx1"/>
                </a:solidFill>
                <a:latin typeface="+mn-lt"/>
                <a:ea typeface="+mn-ea"/>
                <a:cs typeface="+mn-cs"/>
              </a:rPr>
              <a:t> as to the accuracy or completeness of any information supplied herein. Recipients of this Document are advised to perform independent verification of information and conduct their own analysis in relation to any of the material set out. </a:t>
            </a:r>
            <a:endParaRPr lang="en-GB" sz="900" kern="1200">
              <a:solidFill>
                <a:schemeClr val="tx1"/>
              </a:solidFill>
              <a:latin typeface="+mn-lt"/>
              <a:ea typeface="+mn-ea"/>
              <a:cs typeface="+mn-cs"/>
            </a:endParaRPr>
          </a:p>
          <a:p>
            <a:pPr>
              <a:lnSpc>
                <a:spcPts val="1200"/>
              </a:lnSpc>
              <a:spcAft>
                <a:spcPts val="600"/>
              </a:spcAft>
            </a:pPr>
            <a:r>
              <a:rPr lang="en-US" sz="900" kern="1200">
                <a:solidFill>
                  <a:schemeClr val="tx1"/>
                </a:solidFill>
                <a:latin typeface="+mn-lt"/>
                <a:ea typeface="+mn-ea"/>
                <a:cs typeface="+mn-cs"/>
              </a:rPr>
              <a:t>The statements contained herein are made as at the date of the Document. </a:t>
            </a:r>
            <a:r>
              <a:rPr lang="en-US" sz="900" kern="1200" err="1">
                <a:solidFill>
                  <a:schemeClr val="tx1"/>
                </a:solidFill>
                <a:latin typeface="+mn-lt"/>
                <a:ea typeface="+mn-ea"/>
                <a:cs typeface="+mn-cs"/>
              </a:rPr>
              <a:t>Systemiq</a:t>
            </a:r>
            <a:r>
              <a:rPr lang="en-US" sz="900" kern="1200">
                <a:solidFill>
                  <a:schemeClr val="tx1"/>
                </a:solidFill>
                <a:latin typeface="+mn-lt"/>
                <a:ea typeface="+mn-ea"/>
                <a:cs typeface="+mn-cs"/>
              </a:rPr>
              <a:t> or any member, employee, counsel, officer, director, representative, agent or affiliate of </a:t>
            </a:r>
            <a:r>
              <a:rPr lang="en-US" sz="900" kern="1200" err="1">
                <a:solidFill>
                  <a:schemeClr val="tx1"/>
                </a:solidFill>
                <a:latin typeface="+mn-lt"/>
                <a:ea typeface="+mn-ea"/>
                <a:cs typeface="+mn-cs"/>
              </a:rPr>
              <a:t>Systemiq</a:t>
            </a:r>
            <a:r>
              <a:rPr lang="en-US" sz="900" kern="1200">
                <a:solidFill>
                  <a:schemeClr val="tx1"/>
                </a:solidFill>
                <a:latin typeface="+mn-lt"/>
                <a:ea typeface="+mn-ea"/>
                <a:cs typeface="+mn-cs"/>
              </a:rPr>
              <a:t> does not have any obligation to update or otherwise revise any statements reflecting circumstances arising after the date of this Document. </a:t>
            </a:r>
            <a:endParaRPr lang="en-GB" sz="900" kern="1200">
              <a:solidFill>
                <a:schemeClr val="tx1"/>
              </a:solidFill>
              <a:latin typeface="+mn-lt"/>
              <a:ea typeface="+mn-ea"/>
              <a:cs typeface="+mn-cs"/>
            </a:endParaRPr>
          </a:p>
          <a:p>
            <a:pPr>
              <a:lnSpc>
                <a:spcPts val="1200"/>
              </a:lnSpc>
              <a:spcAft>
                <a:spcPts val="600"/>
              </a:spcAft>
            </a:pPr>
            <a:r>
              <a:rPr lang="en-US" sz="900" kern="1200">
                <a:solidFill>
                  <a:schemeClr val="tx1"/>
                </a:solidFill>
                <a:latin typeface="+mn-lt"/>
                <a:ea typeface="+mn-ea"/>
                <a:cs typeface="+mn-cs"/>
              </a:rPr>
              <a:t>This Document shall not be treated as tax, regulatory, accounting, legal, investment or any other advice in relation to the recipient of this information and this information should not and cannot be relied upon as such.</a:t>
            </a:r>
            <a:endParaRPr lang="en-GB" sz="900" kern="1200">
              <a:solidFill>
                <a:schemeClr val="tx1"/>
              </a:solidFill>
              <a:latin typeface="+mn-lt"/>
              <a:ea typeface="+mn-ea"/>
              <a:cs typeface="+mn-cs"/>
            </a:endParaRPr>
          </a:p>
          <a:p>
            <a:pPr>
              <a:lnSpc>
                <a:spcPts val="1200"/>
              </a:lnSpc>
              <a:spcAft>
                <a:spcPts val="600"/>
              </a:spcAft>
            </a:pPr>
            <a:r>
              <a:rPr lang="en-US" sz="900" kern="1200">
                <a:solidFill>
                  <a:schemeClr val="tx1"/>
                </a:solidFill>
                <a:latin typeface="+mn-lt"/>
                <a:ea typeface="+mn-ea"/>
                <a:cs typeface="+mn-cs"/>
              </a:rPr>
              <a:t>If you are in any doubt about the potential purpose to which this communication relates you should consult an </a:t>
            </a:r>
            <a:r>
              <a:rPr lang="en-US" sz="900" kern="1200" err="1">
                <a:solidFill>
                  <a:schemeClr val="tx1"/>
                </a:solidFill>
                <a:latin typeface="+mn-lt"/>
                <a:ea typeface="+mn-ea"/>
                <a:cs typeface="+mn-cs"/>
              </a:rPr>
              <a:t>authorised</a:t>
            </a:r>
            <a:r>
              <a:rPr lang="en-US" sz="900" kern="1200">
                <a:solidFill>
                  <a:schemeClr val="tx1"/>
                </a:solidFill>
                <a:latin typeface="+mn-lt"/>
                <a:ea typeface="+mn-ea"/>
                <a:cs typeface="+mn-cs"/>
              </a:rPr>
              <a:t> person who </a:t>
            </a:r>
            <a:r>
              <a:rPr lang="en-US" sz="900" kern="1200" err="1">
                <a:solidFill>
                  <a:schemeClr val="tx1"/>
                </a:solidFill>
                <a:latin typeface="+mn-lt"/>
                <a:ea typeface="+mn-ea"/>
                <a:cs typeface="+mn-cs"/>
              </a:rPr>
              <a:t>specialises</a:t>
            </a:r>
            <a:r>
              <a:rPr lang="en-US" sz="900" kern="1200">
                <a:solidFill>
                  <a:schemeClr val="tx1"/>
                </a:solidFill>
                <a:latin typeface="+mn-lt"/>
                <a:ea typeface="+mn-ea"/>
                <a:cs typeface="+mn-cs"/>
              </a:rPr>
              <a:t> in advising on business to which it relates.</a:t>
            </a:r>
            <a:endParaRPr lang="en-GB" sz="900" kern="1200">
              <a:solidFill>
                <a:schemeClr val="tx1"/>
              </a:solidFill>
              <a:latin typeface="+mn-lt"/>
              <a:ea typeface="+mn-ea"/>
              <a:cs typeface="+mn-cs"/>
            </a:endParaRPr>
          </a:p>
        </p:txBody>
      </p:sp>
      <p:pic>
        <p:nvPicPr>
          <p:cNvPr id="6" name="Picture 5">
            <a:extLst>
              <a:ext uri="{FF2B5EF4-FFF2-40B4-BE49-F238E27FC236}">
                <a16:creationId xmlns:a16="http://schemas.microsoft.com/office/drawing/2014/main" id="{253C2779-C15C-6DBD-9A6C-6374BA8F16C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39749" y="556390"/>
            <a:ext cx="3193619" cy="870073"/>
          </a:xfrm>
          <a:prstGeom prst="rect">
            <a:avLst/>
          </a:prstGeom>
        </p:spPr>
      </p:pic>
    </p:spTree>
    <p:extLst>
      <p:ext uri="{BB962C8B-B14F-4D97-AF65-F5344CB8AC3E}">
        <p14:creationId xmlns:p14="http://schemas.microsoft.com/office/powerpoint/2010/main" val="427644990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EDA45B5-5911-4386-81CD-CD96E11547C6}"/>
              </a:ext>
            </a:extLst>
          </p:cNvPr>
          <p:cNvGraphicFramePr>
            <a:graphicFrameLocks noChangeAspect="1"/>
          </p:cNvGraphicFramePr>
          <p:nvPr>
            <p:custDataLst>
              <p:tags r:id="rId1"/>
            </p:custDataLst>
            <p:extLst>
              <p:ext uri="{D42A27DB-BD31-4B8C-83A1-F6EECF244321}">
                <p14:modId xmlns:p14="http://schemas.microsoft.com/office/powerpoint/2010/main" val="40565012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8" name="Object 7" hidden="1">
                        <a:extLst>
                          <a:ext uri="{FF2B5EF4-FFF2-40B4-BE49-F238E27FC236}">
                            <a16:creationId xmlns:a16="http://schemas.microsoft.com/office/drawing/2014/main" id="{0EDA45B5-5911-4386-81CD-CD96E11547C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A31FE4A4-5895-4435-8CFD-72D5594F0E33}"/>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4400" b="0" i="0" baseline="0">
              <a:latin typeface="Verdana" panose="020B0604030504040204" pitchFamily="34" charset="0"/>
              <a:ea typeface="+mj-ea"/>
              <a:cs typeface="+mj-cs"/>
              <a:sym typeface="Museo Sans 100"/>
            </a:endParaRPr>
          </a:p>
        </p:txBody>
      </p:sp>
      <p:sp>
        <p:nvSpPr>
          <p:cNvPr id="2" name="Title 1">
            <a:extLst>
              <a:ext uri="{FF2B5EF4-FFF2-40B4-BE49-F238E27FC236}">
                <a16:creationId xmlns:a16="http://schemas.microsoft.com/office/drawing/2014/main" id="{B46FDA69-D678-4682-B1B6-2ABA033D11F0}"/>
              </a:ext>
            </a:extLst>
          </p:cNvPr>
          <p:cNvSpPr>
            <a:spLocks noGrp="1"/>
          </p:cNvSpPr>
          <p:nvPr>
            <p:ph type="title" hasCustomPrompt="1"/>
          </p:nvPr>
        </p:nvSpPr>
        <p:spPr>
          <a:xfrm>
            <a:off x="366779" y="179388"/>
            <a:ext cx="11446626" cy="708715"/>
          </a:xfrm>
        </p:spPr>
        <p:txBody>
          <a:bodyPr vert="horz" lIns="0" tIns="0" rIns="0" bIns="0">
            <a:noAutofit/>
          </a:bodyPr>
          <a:lstStyle>
            <a:lvl1pPr>
              <a:defRPr cap="none"/>
            </a:lvl1pPr>
          </a:lstStyle>
          <a:p>
            <a:r>
              <a:rPr lang="en-US" noProof="0"/>
              <a:t>Click to edit master title style </a:t>
            </a:r>
          </a:p>
        </p:txBody>
      </p:sp>
      <p:sp>
        <p:nvSpPr>
          <p:cNvPr id="3" name="Content Placeholder 2">
            <a:extLst>
              <a:ext uri="{FF2B5EF4-FFF2-40B4-BE49-F238E27FC236}">
                <a16:creationId xmlns:a16="http://schemas.microsoft.com/office/drawing/2014/main" id="{3EF08657-4C6B-414C-8E67-76B6E91427A6}"/>
              </a:ext>
            </a:extLst>
          </p:cNvPr>
          <p:cNvSpPr>
            <a:spLocks noGrp="1"/>
          </p:cNvSpPr>
          <p:nvPr>
            <p:ph idx="1"/>
          </p:nvPr>
        </p:nvSpPr>
        <p:spPr>
          <a:xfrm>
            <a:off x="366779" y="1247775"/>
            <a:ext cx="11446626" cy="4691062"/>
          </a:xfrm>
        </p:spPr>
        <p:txBody>
          <a:bodyPr lIns="72000" tIns="72000" rIns="72000" bIns="72000">
            <a:noAutofit/>
          </a:bodyPr>
          <a:lstStyle>
            <a:lvl1pPr>
              <a:buFont typeface="Arial" panose="020B0604020202020204" pitchFamily="34" charset="0"/>
              <a:buChar char="•"/>
              <a:defRPr/>
            </a:lvl1pPr>
            <a:lvl2pPr marL="360000" indent="-180000">
              <a:buFont typeface="Lato" panose="020F0502020204030203" pitchFamily="34" charset="0"/>
              <a:buChar char="-"/>
              <a:defRPr/>
            </a:lvl2pPr>
            <a:lvl3pPr>
              <a:buFont typeface="Arial" panose="020B0604020202020204" pitchFamily="34" charset="0"/>
              <a:buChar char="•"/>
              <a:defRPr/>
            </a:lvl3pPr>
            <a:lvl4pPr marL="720000" indent="-180000">
              <a:buFont typeface="Lato" panose="020F0502020204030203" pitchFamily="34" charset="0"/>
              <a:buChar char="-"/>
              <a:defRPr/>
            </a:lvl4pPr>
            <a:lvl5pPr>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Slide Number Placeholder 5">
            <a:extLst>
              <a:ext uri="{FF2B5EF4-FFF2-40B4-BE49-F238E27FC236}">
                <a16:creationId xmlns:a16="http://schemas.microsoft.com/office/drawing/2014/main" id="{E6F7DE21-2FF0-4DAB-B87A-6AEB184B3024}"/>
              </a:ext>
            </a:extLst>
          </p:cNvPr>
          <p:cNvSpPr>
            <a:spLocks noGrp="1"/>
          </p:cNvSpPr>
          <p:nvPr>
            <p:ph type="sldNum" sz="quarter" idx="12"/>
          </p:nvPr>
        </p:nvSpPr>
        <p:spPr/>
        <p:txBody>
          <a:bodyPr lIns="0" tIns="0" rIns="0" bIns="0"/>
          <a:lstStyle/>
          <a:p>
            <a:fld id="{ABB6D191-819E-455F-BC39-F2381519C0C1}" type="slidenum">
              <a:rPr lang="en-US" noProof="0" smtClean="0"/>
              <a:t>‹#›</a:t>
            </a:fld>
            <a:endParaRPr lang="en-US" noProof="0"/>
          </a:p>
        </p:txBody>
      </p:sp>
      <p:sp>
        <p:nvSpPr>
          <p:cNvPr id="4" name="Footer Placeholder 3">
            <a:extLst>
              <a:ext uri="{FF2B5EF4-FFF2-40B4-BE49-F238E27FC236}">
                <a16:creationId xmlns:a16="http://schemas.microsoft.com/office/drawing/2014/main" id="{963821AE-37CF-466E-BCB1-CCC8CBD926C0}"/>
              </a:ext>
            </a:extLst>
          </p:cNvPr>
          <p:cNvSpPr>
            <a:spLocks noGrp="1"/>
          </p:cNvSpPr>
          <p:nvPr>
            <p:ph type="ftr" sz="quarter" idx="13"/>
          </p:nvPr>
        </p:nvSpPr>
        <p:spPr/>
        <p:txBody>
          <a:bodyPr/>
          <a:lstStyle/>
          <a:p>
            <a:r>
              <a:rPr lang="en-US"/>
              <a:t>Footer</a:t>
            </a:r>
          </a:p>
        </p:txBody>
      </p:sp>
    </p:spTree>
    <p:extLst>
      <p:ext uri="{BB962C8B-B14F-4D97-AF65-F5344CB8AC3E}">
        <p14:creationId xmlns:p14="http://schemas.microsoft.com/office/powerpoint/2010/main" val="1307026042"/>
      </p:ext>
    </p:extLst>
  </p:cSld>
  <p:clrMapOvr>
    <a:masterClrMapping/>
  </p:clrMapOvr>
  <p:extLst>
    <p:ext uri="{DCECCB84-F9BA-43D5-87BE-67443E8EF086}">
      <p15:sldGuideLst xmlns:p15="http://schemas.microsoft.com/office/powerpoint/2012/main">
        <p15:guide id="1" orient="horz" pos="113">
          <p15:clr>
            <a:srgbClr val="FBAE40"/>
          </p15:clr>
        </p15:guide>
        <p15:guide id="2" orient="horz" pos="786">
          <p15:clr>
            <a:srgbClr val="FBAE40"/>
          </p15:clr>
        </p15:guide>
        <p15:guide id="3" orient="horz" pos="3741">
          <p15:clr>
            <a:srgbClr val="FBAE40"/>
          </p15:clr>
        </p15:guide>
        <p15:guide id="4" orient="horz" pos="1272">
          <p15:clr>
            <a:srgbClr val="FBAE40"/>
          </p15:clr>
        </p15:guide>
        <p15:guide id="5" orient="horz" pos="1158">
          <p15:clr>
            <a:srgbClr val="FBAE40"/>
          </p15:clr>
        </p15:guide>
        <p15:guide id="6" pos="3784">
          <p15:clr>
            <a:srgbClr val="FBAE40"/>
          </p15:clr>
        </p15:guide>
        <p15:guide id="7" pos="3896">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5_Title Slide (Picture)">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2DA6B1DC-3F65-4906-A23F-38A69DBB3B6F}"/>
              </a:ext>
            </a:extLst>
          </p:cNvPr>
          <p:cNvSpPr>
            <a:spLocks noGrp="1"/>
          </p:cNvSpPr>
          <p:nvPr>
            <p:ph type="pic" sz="quarter" idx="10"/>
          </p:nvPr>
        </p:nvSpPr>
        <p:spPr>
          <a:xfrm>
            <a:off x="5499100" y="0"/>
            <a:ext cx="6692900" cy="6858000"/>
          </a:xfrm>
          <a:solidFill>
            <a:srgbClr val="004876"/>
          </a:solidFill>
          <a:ln>
            <a:noFill/>
          </a:ln>
        </p:spPr>
        <p:txBody>
          <a:bodyPr/>
          <a:lstStyle>
            <a:lvl1pPr>
              <a:defRPr>
                <a:solidFill>
                  <a:schemeClr val="bg1"/>
                </a:solidFill>
                <a:latin typeface="Century Gothic" panose="020B0502020202020204" pitchFamily="34" charset="0"/>
              </a:defRPr>
            </a:lvl1pPr>
          </a:lstStyle>
          <a:p>
            <a:r>
              <a:rPr lang="en-US"/>
              <a:t>Click icon to add picture</a:t>
            </a:r>
            <a:endParaRPr lang="ru-RU"/>
          </a:p>
        </p:txBody>
      </p:sp>
      <p:pic>
        <p:nvPicPr>
          <p:cNvPr id="6" name="Graphic 5">
            <a:extLst>
              <a:ext uri="{FF2B5EF4-FFF2-40B4-BE49-F238E27FC236}">
                <a16:creationId xmlns:a16="http://schemas.microsoft.com/office/drawing/2014/main" id="{2930B4C9-DB67-4F49-879D-B1ED7C3C60A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48341" y="348749"/>
            <a:ext cx="1856143" cy="1613138"/>
          </a:xfrm>
          <a:prstGeom prst="rect">
            <a:avLst/>
          </a:prstGeom>
        </p:spPr>
      </p:pic>
      <p:graphicFrame>
        <p:nvGraphicFramePr>
          <p:cNvPr id="8" name="Object 7" hidden="1">
            <a:extLst>
              <a:ext uri="{FF2B5EF4-FFF2-40B4-BE49-F238E27FC236}">
                <a16:creationId xmlns:a16="http://schemas.microsoft.com/office/drawing/2014/main" id="{82F0D3B3-FB4D-45BC-BE2E-E0ACC1635A4F}"/>
              </a:ext>
            </a:extLst>
          </p:cNvPr>
          <p:cNvGraphicFramePr>
            <a:graphicFrameLocks noChangeAspect="1"/>
          </p:cNvGraphicFramePr>
          <p:nvPr>
            <p:custDataLst>
              <p:tags r:id="rId1"/>
            </p:custDataLst>
            <p:extLst>
              <p:ext uri="{D42A27DB-BD31-4B8C-83A1-F6EECF244321}">
                <p14:modId xmlns:p14="http://schemas.microsoft.com/office/powerpoint/2010/main" val="2914543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7" imgH="348" progId="TCLayout.ActiveDocument.1">
                  <p:embed/>
                </p:oleObj>
              </mc:Choice>
              <mc:Fallback>
                <p:oleObj name="think-cell Slide" r:id="rId6" imgW="347" imgH="348" progId="TCLayout.ActiveDocument.1">
                  <p:embed/>
                  <p:pic>
                    <p:nvPicPr>
                      <p:cNvPr id="8" name="Object 7" hidden="1">
                        <a:extLst>
                          <a:ext uri="{FF2B5EF4-FFF2-40B4-BE49-F238E27FC236}">
                            <a16:creationId xmlns:a16="http://schemas.microsoft.com/office/drawing/2014/main" id="{82F0D3B3-FB4D-45BC-BE2E-E0ACC1635A4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0D406DB-41A2-4933-86A0-0828F55DE1B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3600" b="1" i="0" baseline="0">
              <a:latin typeface="Century Gothic" panose="020B0502020202020204" pitchFamily="34" charset="0"/>
              <a:ea typeface="+mj-ea"/>
              <a:cs typeface="+mj-cs"/>
              <a:sym typeface="Century Gothic" panose="020B0502020202020204" pitchFamily="34" charset="0"/>
            </a:endParaRPr>
          </a:p>
        </p:txBody>
      </p:sp>
      <p:pic>
        <p:nvPicPr>
          <p:cNvPr id="5" name="Graphic 4">
            <a:extLst>
              <a:ext uri="{FF2B5EF4-FFF2-40B4-BE49-F238E27FC236}">
                <a16:creationId xmlns:a16="http://schemas.microsoft.com/office/drawing/2014/main" id="{3E561662-0D0B-4AED-AB04-D1AE3501D593}"/>
              </a:ext>
            </a:extLst>
          </p:cNvPr>
          <p:cNvPicPr>
            <a:picLocks noChangeAspect="1"/>
          </p:cNvPicPr>
          <p:nvPr/>
        </p:nvPicPr>
        <p:blipFill rotWithShape="1">
          <a:blip r:embed="rId8">
            <a:extLst>
              <a:ext uri="{96DAC541-7B7A-43D3-8B79-37D633B846F1}">
                <asvg:svgBlip xmlns:asvg="http://schemas.microsoft.com/office/drawing/2016/SVG/main" r:embed="rId9"/>
              </a:ext>
            </a:extLst>
          </a:blip>
          <a:srcRect l="-39" t="12642" r="50000" b="14589"/>
          <a:stretch/>
        </p:blipFill>
        <p:spPr>
          <a:xfrm>
            <a:off x="5499100" y="348749"/>
            <a:ext cx="6692900" cy="6509251"/>
          </a:xfrm>
          <a:prstGeom prst="rect">
            <a:avLst/>
          </a:prstGeom>
        </p:spPr>
      </p:pic>
      <p:sp>
        <p:nvSpPr>
          <p:cNvPr id="15" name="Title 1">
            <a:extLst>
              <a:ext uri="{FF2B5EF4-FFF2-40B4-BE49-F238E27FC236}">
                <a16:creationId xmlns:a16="http://schemas.microsoft.com/office/drawing/2014/main" id="{4C412A92-9519-4519-A789-640A2F67C6AB}"/>
              </a:ext>
            </a:extLst>
          </p:cNvPr>
          <p:cNvSpPr>
            <a:spLocks noGrp="1"/>
          </p:cNvSpPr>
          <p:nvPr>
            <p:ph type="ctrTitle" hasCustomPrompt="1"/>
          </p:nvPr>
        </p:nvSpPr>
        <p:spPr>
          <a:xfrm>
            <a:off x="348343" y="3880691"/>
            <a:ext cx="4642757" cy="1801524"/>
          </a:xfrm>
        </p:spPr>
        <p:txBody>
          <a:bodyPr vert="horz" anchor="b">
            <a:noAutofit/>
          </a:bodyPr>
          <a:lstStyle>
            <a:lvl1pPr algn="l">
              <a:defRPr sz="3600">
                <a:solidFill>
                  <a:srgbClr val="004876"/>
                </a:solidFill>
                <a:latin typeface="Century Gothic" panose="020B0502020202020204" pitchFamily="34" charset="0"/>
              </a:defRPr>
            </a:lvl1pPr>
          </a:lstStyle>
          <a:p>
            <a:r>
              <a:rPr lang="en-US" noProof="0"/>
              <a:t>Click to edit master title style</a:t>
            </a:r>
          </a:p>
        </p:txBody>
      </p:sp>
      <p:sp>
        <p:nvSpPr>
          <p:cNvPr id="16" name="Subtitle 2">
            <a:extLst>
              <a:ext uri="{FF2B5EF4-FFF2-40B4-BE49-F238E27FC236}">
                <a16:creationId xmlns:a16="http://schemas.microsoft.com/office/drawing/2014/main" id="{3521ED30-FE02-4A6F-8451-4CBC28F63926}"/>
              </a:ext>
            </a:extLst>
          </p:cNvPr>
          <p:cNvSpPr>
            <a:spLocks noGrp="1"/>
          </p:cNvSpPr>
          <p:nvPr>
            <p:ph type="subTitle" idx="1" hasCustomPrompt="1"/>
          </p:nvPr>
        </p:nvSpPr>
        <p:spPr>
          <a:xfrm>
            <a:off x="348341" y="5769039"/>
            <a:ext cx="4642757" cy="349250"/>
          </a:xfrm>
        </p:spPr>
        <p:txBody>
          <a:bodyPr lIns="0" tIns="0" rIns="0" bIns="0" anchor="ctr">
            <a:noAutofit/>
          </a:bodyPr>
          <a:lstStyle>
            <a:lvl1pPr marL="0" indent="0" algn="l">
              <a:buNone/>
              <a:defRPr sz="2000">
                <a:solidFill>
                  <a:srgbClr val="00A5B5"/>
                </a:solidFill>
                <a:latin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spTree>
    <p:extLst>
      <p:ext uri="{BB962C8B-B14F-4D97-AF65-F5344CB8AC3E}">
        <p14:creationId xmlns:p14="http://schemas.microsoft.com/office/powerpoint/2010/main" val="748803923"/>
      </p:ext>
    </p:extLst>
  </p:cSld>
  <p:clrMapOvr>
    <a:masterClrMapping/>
  </p:clrMapOvr>
  <p:hf hdr="0" dt="0"/>
  <p:extLst>
    <p:ext uri="{DCECCB84-F9BA-43D5-87BE-67443E8EF086}">
      <p15:sldGuideLst xmlns:p15="http://schemas.microsoft.com/office/powerpoint/2012/main">
        <p15:guide id="2" orient="horz" pos="674">
          <p15:clr>
            <a:srgbClr val="FBAE40"/>
          </p15:clr>
        </p15:guide>
        <p15:guide id="3" pos="4806">
          <p15:clr>
            <a:srgbClr val="FBAE40"/>
          </p15:clr>
        </p15:guide>
        <p15:guide id="4" pos="558">
          <p15:clr>
            <a:srgbClr val="FBAE40"/>
          </p15:clr>
        </p15:guide>
        <p15:guide id="7" orient="horz" pos="1064">
          <p15:clr>
            <a:srgbClr val="FBAE40"/>
          </p15:clr>
        </p15:guide>
        <p15:guide id="8" orient="horz" pos="257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F3E268D-AB50-4521-85B1-C1387B18D756}"/>
              </a:ext>
            </a:extLst>
          </p:cNvPr>
          <p:cNvGraphicFramePr>
            <a:graphicFrameLocks noChangeAspect="1"/>
          </p:cNvGraphicFramePr>
          <p:nvPr>
            <p:custDataLst>
              <p:tags r:id="rId1"/>
            </p:custDataLst>
            <p:extLst>
              <p:ext uri="{D42A27DB-BD31-4B8C-83A1-F6EECF244321}">
                <p14:modId xmlns:p14="http://schemas.microsoft.com/office/powerpoint/2010/main" val="39768973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26" imgH="526" progId="TCLayout.ActiveDocument.1">
                  <p:embed/>
                </p:oleObj>
              </mc:Choice>
              <mc:Fallback>
                <p:oleObj name="think-cell Slide" r:id="rId4" imgW="526" imgH="526" progId="TCLayout.ActiveDocument.1">
                  <p:embed/>
                  <p:pic>
                    <p:nvPicPr>
                      <p:cNvPr id="6" name="Object 5" hidden="1">
                        <a:extLst>
                          <a:ext uri="{FF2B5EF4-FFF2-40B4-BE49-F238E27FC236}">
                            <a16:creationId xmlns:a16="http://schemas.microsoft.com/office/drawing/2014/main" id="{BF3E268D-AB50-4521-85B1-C1387B18D75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EAD2561-9FF3-4C8F-B41A-88E05A00BB28}"/>
              </a:ext>
            </a:extLst>
          </p:cNvPr>
          <p:cNvSpPr>
            <a:spLocks noGrp="1"/>
          </p:cNvSpPr>
          <p:nvPr>
            <p:ph type="title"/>
          </p:nvPr>
        </p:nvSpPr>
        <p:spPr/>
        <p:txBody>
          <a:bodyPr vert="horz">
            <a:noAutofit/>
          </a:bodyPr>
          <a:lstStyle/>
          <a:p>
            <a:r>
              <a:rPr lang="en-US"/>
              <a:t>Click to edit Master title style</a:t>
            </a:r>
            <a:endParaRPr lang="en-GB"/>
          </a:p>
        </p:txBody>
      </p:sp>
      <p:sp>
        <p:nvSpPr>
          <p:cNvPr id="4" name="Slide Number Placeholder 3">
            <a:extLst>
              <a:ext uri="{FF2B5EF4-FFF2-40B4-BE49-F238E27FC236}">
                <a16:creationId xmlns:a16="http://schemas.microsoft.com/office/drawing/2014/main" id="{5303DA3F-89CD-4D41-9AF0-FDBCD3B3BB2E}"/>
              </a:ext>
            </a:extLst>
          </p:cNvPr>
          <p:cNvSpPr>
            <a:spLocks noGrp="1"/>
          </p:cNvSpPr>
          <p:nvPr>
            <p:ph type="sldNum" sz="quarter" idx="11"/>
          </p:nvPr>
        </p:nvSpPr>
        <p:spPr/>
        <p:txBody>
          <a:bodyPr/>
          <a:lstStyle/>
          <a:p>
            <a:fld id="{ABB6D191-819E-455F-BC39-F2381519C0C1}" type="slidenum">
              <a:rPr lang="en-US" noProof="0" smtClean="0"/>
              <a:t>‹#›</a:t>
            </a:fld>
            <a:endParaRPr lang="en-US" noProof="0"/>
          </a:p>
        </p:txBody>
      </p:sp>
      <p:graphicFrame>
        <p:nvGraphicFramePr>
          <p:cNvPr id="7" name="Object 6" hidden="1">
            <a:extLst>
              <a:ext uri="{FF2B5EF4-FFF2-40B4-BE49-F238E27FC236}">
                <a16:creationId xmlns:a16="http://schemas.microsoft.com/office/drawing/2014/main" id="{9070EB65-B7B2-447E-B10E-4D5693F060E0}"/>
              </a:ext>
            </a:extLst>
          </p:cNvPr>
          <p:cNvGraphicFramePr>
            <a:graphicFrameLocks noChangeAspect="1"/>
          </p:cNvGraphicFramePr>
          <p:nvPr>
            <p:custDataLst>
              <p:tags r:id="rId2"/>
            </p:custDataLst>
            <p:extLst>
              <p:ext uri="{D42A27DB-BD31-4B8C-83A1-F6EECF244321}">
                <p14:modId xmlns:p14="http://schemas.microsoft.com/office/powerpoint/2010/main" val="32435657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26" imgH="526" progId="TCLayout.ActiveDocument.1">
                  <p:embed/>
                </p:oleObj>
              </mc:Choice>
              <mc:Fallback>
                <p:oleObj name="think-cell Slide" r:id="rId6" imgW="526" imgH="526" progId="TCLayout.ActiveDocument.1">
                  <p:embed/>
                  <p:pic>
                    <p:nvPicPr>
                      <p:cNvPr id="7" name="Object 6" hidden="1">
                        <a:extLst>
                          <a:ext uri="{FF2B5EF4-FFF2-40B4-BE49-F238E27FC236}">
                            <a16:creationId xmlns:a16="http://schemas.microsoft.com/office/drawing/2014/main" id="{9070EB65-B7B2-447E-B10E-4D5693F060E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Footer Placeholder 3">
            <a:extLst>
              <a:ext uri="{FF2B5EF4-FFF2-40B4-BE49-F238E27FC236}">
                <a16:creationId xmlns:a16="http://schemas.microsoft.com/office/drawing/2014/main" id="{ACC16D01-A71A-4FF2-971A-6DE2E8C2085F}"/>
              </a:ext>
            </a:extLst>
          </p:cNvPr>
          <p:cNvSpPr>
            <a:spLocks noGrp="1"/>
          </p:cNvSpPr>
          <p:nvPr>
            <p:ph type="ftr" sz="quarter" idx="13"/>
          </p:nvPr>
        </p:nvSpPr>
        <p:spPr>
          <a:xfrm>
            <a:off x="1520890" y="6342890"/>
            <a:ext cx="9675845" cy="374690"/>
          </a:xfrm>
        </p:spPr>
        <p:txBody>
          <a:bodyPr/>
          <a:lstStyle/>
          <a:p>
            <a:r>
              <a:rPr lang="en-US"/>
              <a:t>Footer</a:t>
            </a:r>
          </a:p>
        </p:txBody>
      </p:sp>
    </p:spTree>
    <p:extLst>
      <p:ext uri="{BB962C8B-B14F-4D97-AF65-F5344CB8AC3E}">
        <p14:creationId xmlns:p14="http://schemas.microsoft.com/office/powerpoint/2010/main" val="75823652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itle_without_logo">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6D541D8-B4A5-48BD-92C0-ACCAE7D71056}"/>
              </a:ext>
            </a:extLst>
          </p:cNvPr>
          <p:cNvGraphicFramePr>
            <a:graphicFrameLocks noChangeAspect="1"/>
          </p:cNvGraphicFramePr>
          <p:nvPr>
            <p:custDataLst>
              <p:tags r:id="rId1"/>
            </p:custDataLst>
            <p:extLst>
              <p:ext uri="{D42A27DB-BD31-4B8C-83A1-F6EECF244321}">
                <p14:modId xmlns:p14="http://schemas.microsoft.com/office/powerpoint/2010/main" val="31965506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26" imgH="526" progId="TCLayout.ActiveDocument.1">
                  <p:embed/>
                </p:oleObj>
              </mc:Choice>
              <mc:Fallback>
                <p:oleObj name="think-cell Slide" r:id="rId4" imgW="526" imgH="526" progId="TCLayout.ActiveDocument.1">
                  <p:embed/>
                  <p:pic>
                    <p:nvPicPr>
                      <p:cNvPr id="7" name="Object 6" hidden="1">
                        <a:extLst>
                          <a:ext uri="{FF2B5EF4-FFF2-40B4-BE49-F238E27FC236}">
                            <a16:creationId xmlns:a16="http://schemas.microsoft.com/office/drawing/2014/main" id="{26D541D8-B4A5-48BD-92C0-ACCAE7D7105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EAD2561-9FF3-4C8F-B41A-88E05A00BB28}"/>
              </a:ext>
            </a:extLst>
          </p:cNvPr>
          <p:cNvSpPr>
            <a:spLocks noGrp="1"/>
          </p:cNvSpPr>
          <p:nvPr>
            <p:ph type="title"/>
          </p:nvPr>
        </p:nvSpPr>
        <p:spPr/>
        <p:txBody>
          <a:bodyPr vert="horz">
            <a:noAutofit/>
          </a:bodyPr>
          <a:lstStyle/>
          <a:p>
            <a:r>
              <a:rPr lang="en-US"/>
              <a:t>Click to edit Master title style</a:t>
            </a:r>
            <a:endParaRPr lang="en-GB"/>
          </a:p>
        </p:txBody>
      </p:sp>
      <p:sp>
        <p:nvSpPr>
          <p:cNvPr id="4" name="Slide Number Placeholder 3">
            <a:extLst>
              <a:ext uri="{FF2B5EF4-FFF2-40B4-BE49-F238E27FC236}">
                <a16:creationId xmlns:a16="http://schemas.microsoft.com/office/drawing/2014/main" id="{5303DA3F-89CD-4D41-9AF0-FDBCD3B3BB2E}"/>
              </a:ext>
            </a:extLst>
          </p:cNvPr>
          <p:cNvSpPr>
            <a:spLocks noGrp="1"/>
          </p:cNvSpPr>
          <p:nvPr>
            <p:ph type="sldNum" sz="quarter" idx="11"/>
          </p:nvPr>
        </p:nvSpPr>
        <p:spPr/>
        <p:txBody>
          <a:bodyPr/>
          <a:lstStyle/>
          <a:p>
            <a:fld id="{ABB6D191-819E-455F-BC39-F2381519C0C1}" type="slidenum">
              <a:rPr lang="en-US" noProof="0" smtClean="0"/>
              <a:t>‹#›</a:t>
            </a:fld>
            <a:endParaRPr lang="en-US" noProof="0"/>
          </a:p>
        </p:txBody>
      </p:sp>
      <p:graphicFrame>
        <p:nvGraphicFramePr>
          <p:cNvPr id="8" name="Object 7" hidden="1">
            <a:extLst>
              <a:ext uri="{FF2B5EF4-FFF2-40B4-BE49-F238E27FC236}">
                <a16:creationId xmlns:a16="http://schemas.microsoft.com/office/drawing/2014/main" id="{1E9D6F4F-7526-41F1-93D3-A7F742659C60}"/>
              </a:ext>
            </a:extLst>
          </p:cNvPr>
          <p:cNvGraphicFramePr>
            <a:graphicFrameLocks noChangeAspect="1"/>
          </p:cNvGraphicFramePr>
          <p:nvPr>
            <p:custDataLst>
              <p:tags r:id="rId2"/>
            </p:custDataLst>
            <p:extLst>
              <p:ext uri="{D42A27DB-BD31-4B8C-83A1-F6EECF244321}">
                <p14:modId xmlns:p14="http://schemas.microsoft.com/office/powerpoint/2010/main" val="29712665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26" imgH="526" progId="TCLayout.ActiveDocument.1">
                  <p:embed/>
                </p:oleObj>
              </mc:Choice>
              <mc:Fallback>
                <p:oleObj name="think-cell Slide" r:id="rId6" imgW="526" imgH="526" progId="TCLayout.ActiveDocument.1">
                  <p:embed/>
                  <p:pic>
                    <p:nvPicPr>
                      <p:cNvPr id="8" name="Object 7" hidden="1">
                        <a:extLst>
                          <a:ext uri="{FF2B5EF4-FFF2-40B4-BE49-F238E27FC236}">
                            <a16:creationId xmlns:a16="http://schemas.microsoft.com/office/drawing/2014/main" id="{1E9D6F4F-7526-41F1-93D3-A7F742659C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Footer Placeholder 3">
            <a:extLst>
              <a:ext uri="{FF2B5EF4-FFF2-40B4-BE49-F238E27FC236}">
                <a16:creationId xmlns:a16="http://schemas.microsoft.com/office/drawing/2014/main" id="{144D420A-42E6-400B-ACBC-8E93B28958A4}"/>
              </a:ext>
            </a:extLst>
          </p:cNvPr>
          <p:cNvSpPr>
            <a:spLocks noGrp="1"/>
          </p:cNvSpPr>
          <p:nvPr>
            <p:ph type="ftr" sz="quarter" idx="13"/>
          </p:nvPr>
        </p:nvSpPr>
        <p:spPr>
          <a:xfrm>
            <a:off x="1520890" y="6342890"/>
            <a:ext cx="9675845" cy="374690"/>
          </a:xfrm>
        </p:spPr>
        <p:txBody>
          <a:bodyPr/>
          <a:lstStyle/>
          <a:p>
            <a:r>
              <a:rPr lang="en-US"/>
              <a:t>Footer</a:t>
            </a:r>
          </a:p>
        </p:txBody>
      </p:sp>
    </p:spTree>
    <p:extLst>
      <p:ext uri="{BB962C8B-B14F-4D97-AF65-F5344CB8AC3E}">
        <p14:creationId xmlns:p14="http://schemas.microsoft.com/office/powerpoint/2010/main" val="132613856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EDA45B5-5911-4386-81CD-CD96E11547C6}"/>
              </a:ext>
            </a:extLst>
          </p:cNvPr>
          <p:cNvGraphicFramePr>
            <a:graphicFrameLocks noChangeAspect="1"/>
          </p:cNvGraphicFramePr>
          <p:nvPr>
            <p:custDataLst>
              <p:tags r:id="rId1"/>
            </p:custDataLst>
            <p:extLst>
              <p:ext uri="{D42A27DB-BD31-4B8C-83A1-F6EECF244321}">
                <p14:modId xmlns:p14="http://schemas.microsoft.com/office/powerpoint/2010/main" val="5476774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8" name="Object 7" hidden="1">
                        <a:extLst>
                          <a:ext uri="{FF2B5EF4-FFF2-40B4-BE49-F238E27FC236}">
                            <a16:creationId xmlns:a16="http://schemas.microsoft.com/office/drawing/2014/main" id="{0EDA45B5-5911-4386-81CD-CD96E11547C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A31FE4A4-5895-4435-8CFD-72D5594F0E33}"/>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4400" b="0" i="0" baseline="0">
              <a:latin typeface="Verdana" panose="020B0604030504040204" pitchFamily="34" charset="0"/>
              <a:ea typeface="+mj-ea"/>
              <a:cs typeface="+mj-cs"/>
              <a:sym typeface="Museo Sans 100"/>
            </a:endParaRPr>
          </a:p>
        </p:txBody>
      </p:sp>
      <p:sp>
        <p:nvSpPr>
          <p:cNvPr id="3" name="Content Placeholder 2">
            <a:extLst>
              <a:ext uri="{FF2B5EF4-FFF2-40B4-BE49-F238E27FC236}">
                <a16:creationId xmlns:a16="http://schemas.microsoft.com/office/drawing/2014/main" id="{3EF08657-4C6B-414C-8E67-76B6E91427A6}"/>
              </a:ext>
            </a:extLst>
          </p:cNvPr>
          <p:cNvSpPr>
            <a:spLocks noGrp="1"/>
          </p:cNvSpPr>
          <p:nvPr>
            <p:ph idx="1"/>
          </p:nvPr>
        </p:nvSpPr>
        <p:spPr>
          <a:xfrm>
            <a:off x="382384" y="2267339"/>
            <a:ext cx="11438313" cy="3671497"/>
          </a:xfrm>
        </p:spPr>
        <p:txBody>
          <a:bodyPr lIns="72000" tIns="72000" rIns="72000" bIns="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Slide Number Placeholder 5">
            <a:extLst>
              <a:ext uri="{FF2B5EF4-FFF2-40B4-BE49-F238E27FC236}">
                <a16:creationId xmlns:a16="http://schemas.microsoft.com/office/drawing/2014/main" id="{E6F7DE21-2FF0-4DAB-B87A-6AEB184B3024}"/>
              </a:ext>
            </a:extLst>
          </p:cNvPr>
          <p:cNvSpPr>
            <a:spLocks noGrp="1"/>
          </p:cNvSpPr>
          <p:nvPr>
            <p:ph type="sldNum" sz="quarter" idx="12"/>
          </p:nvPr>
        </p:nvSpPr>
        <p:spPr/>
        <p:txBody>
          <a:bodyPr lIns="0" tIns="0" rIns="0" bIns="0"/>
          <a:lstStyle/>
          <a:p>
            <a:fld id="{ABB6D191-819E-455F-BC39-F2381519C0C1}" type="slidenum">
              <a:rPr lang="en-US" noProof="0" smtClean="0"/>
              <a:t>‹#›</a:t>
            </a:fld>
            <a:endParaRPr lang="en-US" noProof="0"/>
          </a:p>
        </p:txBody>
      </p:sp>
      <p:cxnSp>
        <p:nvCxnSpPr>
          <p:cNvPr id="10" name="Straight Connector 9">
            <a:extLst>
              <a:ext uri="{FF2B5EF4-FFF2-40B4-BE49-F238E27FC236}">
                <a16:creationId xmlns:a16="http://schemas.microsoft.com/office/drawing/2014/main" id="{4E243F5E-8A96-4415-A63C-DE79FA080002}"/>
              </a:ext>
            </a:extLst>
          </p:cNvPr>
          <p:cNvCxnSpPr>
            <a:cxnSpLocks/>
          </p:cNvCxnSpPr>
          <p:nvPr/>
        </p:nvCxnSpPr>
        <p:spPr>
          <a:xfrm>
            <a:off x="382384" y="2050239"/>
            <a:ext cx="11438313" cy="0"/>
          </a:xfrm>
          <a:prstGeom prst="line">
            <a:avLst/>
          </a:prstGeom>
          <a:ln w="12700" cap="flat" cmpd="sng" algn="ctr">
            <a:solidFill>
              <a:schemeClr val="tx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 name="Footer Placeholder 3">
            <a:extLst>
              <a:ext uri="{FF2B5EF4-FFF2-40B4-BE49-F238E27FC236}">
                <a16:creationId xmlns:a16="http://schemas.microsoft.com/office/drawing/2014/main" id="{63D956E4-8C81-475D-AA2E-DABCBC5C6D2F}"/>
              </a:ext>
            </a:extLst>
          </p:cNvPr>
          <p:cNvSpPr>
            <a:spLocks noGrp="1"/>
          </p:cNvSpPr>
          <p:nvPr>
            <p:ph type="ftr" sz="quarter" idx="13"/>
          </p:nvPr>
        </p:nvSpPr>
        <p:spPr>
          <a:xfrm>
            <a:off x="1520890" y="6342890"/>
            <a:ext cx="9675845" cy="374690"/>
          </a:xfrm>
        </p:spPr>
        <p:txBody>
          <a:bodyPr/>
          <a:lstStyle/>
          <a:p>
            <a:r>
              <a:rPr lang="en-US"/>
              <a:t>Footer</a:t>
            </a:r>
          </a:p>
        </p:txBody>
      </p:sp>
      <p:sp>
        <p:nvSpPr>
          <p:cNvPr id="12" name="Title 1">
            <a:extLst>
              <a:ext uri="{FF2B5EF4-FFF2-40B4-BE49-F238E27FC236}">
                <a16:creationId xmlns:a16="http://schemas.microsoft.com/office/drawing/2014/main" id="{3C303821-D798-4C23-BE9B-79AE89635880}"/>
              </a:ext>
            </a:extLst>
          </p:cNvPr>
          <p:cNvSpPr>
            <a:spLocks noGrp="1"/>
          </p:cNvSpPr>
          <p:nvPr>
            <p:ph type="title"/>
          </p:nvPr>
        </p:nvSpPr>
        <p:spPr>
          <a:xfrm>
            <a:off x="382384" y="179388"/>
            <a:ext cx="11438313" cy="708715"/>
          </a:xfrm>
        </p:spPr>
        <p:txBody>
          <a:bodyPr vert="horz">
            <a:noAutofit/>
          </a:bodyPr>
          <a:lstStyle/>
          <a:p>
            <a:r>
              <a:rPr lang="en-US"/>
              <a:t>Click to edit Master title style</a:t>
            </a:r>
            <a:endParaRPr lang="en-GB"/>
          </a:p>
        </p:txBody>
      </p:sp>
      <p:sp>
        <p:nvSpPr>
          <p:cNvPr id="19" name="Text Placeholder 18">
            <a:extLst>
              <a:ext uri="{FF2B5EF4-FFF2-40B4-BE49-F238E27FC236}">
                <a16:creationId xmlns:a16="http://schemas.microsoft.com/office/drawing/2014/main" id="{8EE6BF96-7976-424A-B837-25D6A742C0C6}"/>
              </a:ext>
            </a:extLst>
          </p:cNvPr>
          <p:cNvSpPr>
            <a:spLocks noGrp="1"/>
          </p:cNvSpPr>
          <p:nvPr>
            <p:ph type="body" sz="quarter" idx="14" hasCustomPrompt="1"/>
          </p:nvPr>
        </p:nvSpPr>
        <p:spPr>
          <a:xfrm>
            <a:off x="382588" y="1471903"/>
            <a:ext cx="11437937" cy="433387"/>
          </a:xfrm>
        </p:spPr>
        <p:txBody>
          <a:bodyPr anchor="b"/>
          <a:lstStyle>
            <a:lvl1pPr marL="0" indent="0">
              <a:buNone/>
              <a:defRPr>
                <a:solidFill>
                  <a:schemeClr val="tx1"/>
                </a:solidFill>
              </a:defRPr>
            </a:lvl1pPr>
          </a:lstStyle>
          <a:p>
            <a:pPr lvl="0"/>
            <a:r>
              <a:rPr lang="en-US"/>
              <a:t>Click to edit Master title style</a:t>
            </a:r>
            <a:endParaRPr lang="ru-RU"/>
          </a:p>
        </p:txBody>
      </p:sp>
    </p:spTree>
    <p:extLst>
      <p:ext uri="{BB962C8B-B14F-4D97-AF65-F5344CB8AC3E}">
        <p14:creationId xmlns:p14="http://schemas.microsoft.com/office/powerpoint/2010/main" val="4194256306"/>
      </p:ext>
    </p:extLst>
  </p:cSld>
  <p:clrMapOvr>
    <a:masterClrMapping/>
  </p:clrMapOvr>
  <p:extLst>
    <p:ext uri="{DCECCB84-F9BA-43D5-87BE-67443E8EF086}">
      <p15:sldGuideLst xmlns:p15="http://schemas.microsoft.com/office/powerpoint/2012/main">
        <p15:guide id="1" orient="horz" pos="113">
          <p15:clr>
            <a:srgbClr val="FBAE40"/>
          </p15:clr>
        </p15:guide>
        <p15:guide id="2" orient="horz" pos="786">
          <p15:clr>
            <a:srgbClr val="FBAE40"/>
          </p15:clr>
        </p15:guide>
        <p15:guide id="3" orient="horz" pos="3741">
          <p15:clr>
            <a:srgbClr val="FBAE40"/>
          </p15:clr>
        </p15:guide>
        <p15:guide id="4" orient="horz" pos="1272">
          <p15:clr>
            <a:srgbClr val="FBAE40"/>
          </p15:clr>
        </p15:guide>
        <p15:guide id="5" orient="horz" pos="1158">
          <p15:clr>
            <a:srgbClr val="FBAE40"/>
          </p15:clr>
        </p15:guide>
        <p15:guide id="6" pos="3784">
          <p15:clr>
            <a:srgbClr val="FBAE40"/>
          </p15:clr>
        </p15:guide>
        <p15:guide id="7" pos="3896">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p:cSld name="2_Title Slide (Pictur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0EC0E1E-A8F5-4DF8-9FD0-5E4DC243975C}"/>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r="22493"/>
          <a:stretch/>
        </p:blipFill>
        <p:spPr>
          <a:xfrm>
            <a:off x="2630735" y="0"/>
            <a:ext cx="9561266" cy="6858000"/>
          </a:xfrm>
          <a:prstGeom prst="rect">
            <a:avLst/>
          </a:prstGeom>
        </p:spPr>
      </p:pic>
      <p:sp>
        <p:nvSpPr>
          <p:cNvPr id="14" name="Rectangle 13">
            <a:extLst>
              <a:ext uri="{FF2B5EF4-FFF2-40B4-BE49-F238E27FC236}">
                <a16:creationId xmlns:a16="http://schemas.microsoft.com/office/drawing/2014/main" id="{F7799E56-D252-47DF-8820-3D69946D2BBF}"/>
              </a:ext>
            </a:extLst>
          </p:cNvPr>
          <p:cNvSpPr/>
          <p:nvPr/>
        </p:nvSpPr>
        <p:spPr>
          <a:xfrm>
            <a:off x="0" y="0"/>
            <a:ext cx="2630734"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a:ln>
                <a:noFill/>
              </a:ln>
              <a:solidFill>
                <a:schemeClr val="bg1"/>
              </a:solidFill>
            </a:endParaRPr>
          </a:p>
        </p:txBody>
      </p:sp>
      <p:graphicFrame>
        <p:nvGraphicFramePr>
          <p:cNvPr id="8" name="Object 7" hidden="1">
            <a:extLst>
              <a:ext uri="{FF2B5EF4-FFF2-40B4-BE49-F238E27FC236}">
                <a16:creationId xmlns:a16="http://schemas.microsoft.com/office/drawing/2014/main" id="{82F0D3B3-FB4D-45BC-BE2E-E0ACC1635A4F}"/>
              </a:ext>
            </a:extLst>
          </p:cNvPr>
          <p:cNvGraphicFramePr>
            <a:graphicFrameLocks noChangeAspect="1"/>
          </p:cNvGraphicFramePr>
          <p:nvPr>
            <p:custDataLst>
              <p:tags r:id="rId1"/>
            </p:custDataLst>
            <p:extLst>
              <p:ext uri="{D42A27DB-BD31-4B8C-83A1-F6EECF244321}">
                <p14:modId xmlns:p14="http://schemas.microsoft.com/office/powerpoint/2010/main" val="7599066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8" name="Object 7" hidden="1">
                        <a:extLst>
                          <a:ext uri="{FF2B5EF4-FFF2-40B4-BE49-F238E27FC236}">
                            <a16:creationId xmlns:a16="http://schemas.microsoft.com/office/drawing/2014/main" id="{82F0D3B3-FB4D-45BC-BE2E-E0ACC1635A4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0D406DB-41A2-4933-86A0-0828F55DE1B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3600" b="1" i="0" baseline="0">
              <a:latin typeface="Century Gothic" panose="020B0502020202020204" pitchFamily="34" charset="0"/>
              <a:ea typeface="+mj-ea"/>
              <a:cs typeface="+mj-cs"/>
              <a:sym typeface="Century Gothic" panose="020B0502020202020204" pitchFamily="34" charset="0"/>
            </a:endParaRPr>
          </a:p>
        </p:txBody>
      </p:sp>
      <p:pic>
        <p:nvPicPr>
          <p:cNvPr id="11" name="Picture 10">
            <a:extLst>
              <a:ext uri="{FF2B5EF4-FFF2-40B4-BE49-F238E27FC236}">
                <a16:creationId xmlns:a16="http://schemas.microsoft.com/office/drawing/2014/main" id="{C3120233-AEF6-42E0-9CF1-0F9E8F091DE4}"/>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r="22493"/>
          <a:stretch/>
        </p:blipFill>
        <p:spPr>
          <a:xfrm>
            <a:off x="2630735" y="0"/>
            <a:ext cx="9561266" cy="6858000"/>
          </a:xfrm>
          <a:prstGeom prst="rect">
            <a:avLst/>
          </a:prstGeom>
        </p:spPr>
      </p:pic>
      <p:sp>
        <p:nvSpPr>
          <p:cNvPr id="9" name="Rectangle 8">
            <a:extLst>
              <a:ext uri="{FF2B5EF4-FFF2-40B4-BE49-F238E27FC236}">
                <a16:creationId xmlns:a16="http://schemas.microsoft.com/office/drawing/2014/main" id="{4E7F325B-F942-4209-8D57-CAA2C7E6C91F}"/>
              </a:ext>
            </a:extLst>
          </p:cNvPr>
          <p:cNvSpPr/>
          <p:nvPr/>
        </p:nvSpPr>
        <p:spPr>
          <a:xfrm>
            <a:off x="2007020" y="436074"/>
            <a:ext cx="4549724" cy="18923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a:ln>
                <a:noFill/>
              </a:ln>
              <a:solidFill>
                <a:schemeClr val="bg1"/>
              </a:solidFill>
            </a:endParaRPr>
          </a:p>
        </p:txBody>
      </p:sp>
      <p:sp>
        <p:nvSpPr>
          <p:cNvPr id="4" name="Rectangle 3">
            <a:extLst>
              <a:ext uri="{FF2B5EF4-FFF2-40B4-BE49-F238E27FC236}">
                <a16:creationId xmlns:a16="http://schemas.microsoft.com/office/drawing/2014/main" id="{03A9E883-9BB5-482C-A327-2D21B1564687}"/>
              </a:ext>
            </a:extLst>
          </p:cNvPr>
          <p:cNvSpPr/>
          <p:nvPr/>
        </p:nvSpPr>
        <p:spPr>
          <a:xfrm>
            <a:off x="0" y="0"/>
            <a:ext cx="2630734"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a:ln>
                <a:noFill/>
              </a:ln>
              <a:solidFill>
                <a:schemeClr val="bg1"/>
              </a:solidFill>
            </a:endParaRPr>
          </a:p>
        </p:txBody>
      </p:sp>
      <p:sp>
        <p:nvSpPr>
          <p:cNvPr id="2" name="Title 1">
            <a:extLst>
              <a:ext uri="{FF2B5EF4-FFF2-40B4-BE49-F238E27FC236}">
                <a16:creationId xmlns:a16="http://schemas.microsoft.com/office/drawing/2014/main" id="{08AF85F3-5290-4EBA-8B8A-DB6A01B381A6}"/>
              </a:ext>
            </a:extLst>
          </p:cNvPr>
          <p:cNvSpPr>
            <a:spLocks noGrp="1"/>
          </p:cNvSpPr>
          <p:nvPr>
            <p:ph type="ctrTitle" hasCustomPrompt="1"/>
          </p:nvPr>
        </p:nvSpPr>
        <p:spPr>
          <a:xfrm>
            <a:off x="348343" y="2051891"/>
            <a:ext cx="6371436" cy="1801524"/>
          </a:xfrm>
        </p:spPr>
        <p:txBody>
          <a:bodyPr vert="horz" anchor="b">
            <a:noAutofit/>
          </a:bodyPr>
          <a:lstStyle>
            <a:lvl1pPr algn="l">
              <a:defRPr sz="4000">
                <a:solidFill>
                  <a:schemeClr val="bg2"/>
                </a:solidFill>
                <a:latin typeface="Century Gothic" panose="020B0502020202020204" pitchFamily="34" charset="0"/>
              </a:defRPr>
            </a:lvl1pPr>
          </a:lstStyle>
          <a:p>
            <a:r>
              <a:rPr lang="en-US" noProof="0"/>
              <a:t>Click to edit master title style</a:t>
            </a:r>
          </a:p>
        </p:txBody>
      </p:sp>
      <p:sp>
        <p:nvSpPr>
          <p:cNvPr id="3" name="Subtitle 2">
            <a:extLst>
              <a:ext uri="{FF2B5EF4-FFF2-40B4-BE49-F238E27FC236}">
                <a16:creationId xmlns:a16="http://schemas.microsoft.com/office/drawing/2014/main" id="{FC3B1678-8578-485B-ABDD-36D8CF73E2D8}"/>
              </a:ext>
            </a:extLst>
          </p:cNvPr>
          <p:cNvSpPr>
            <a:spLocks noGrp="1"/>
          </p:cNvSpPr>
          <p:nvPr>
            <p:ph type="subTitle" idx="1" hasCustomPrompt="1"/>
          </p:nvPr>
        </p:nvSpPr>
        <p:spPr>
          <a:xfrm>
            <a:off x="348341" y="3940239"/>
            <a:ext cx="6371438" cy="349250"/>
          </a:xfrm>
        </p:spPr>
        <p:txBody>
          <a:bodyPr lIns="0" tIns="0" rIns="0" bIns="0" anchor="ctr">
            <a:noAutofit/>
          </a:bodyPr>
          <a:lstStyle>
            <a:lvl1pPr marL="0" indent="0" algn="l">
              <a:buNone/>
              <a:defRPr sz="2000">
                <a:solidFill>
                  <a:schemeClr val="bg2"/>
                </a:solidFill>
                <a:latin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pic>
        <p:nvPicPr>
          <p:cNvPr id="12" name="Picture 11" descr="A picture containing logo&#10;&#10;Description automatically generated">
            <a:extLst>
              <a:ext uri="{FF2B5EF4-FFF2-40B4-BE49-F238E27FC236}">
                <a16:creationId xmlns:a16="http://schemas.microsoft.com/office/drawing/2014/main" id="{FFB48E65-93C6-48D1-BD43-B2B468BB4B48}"/>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48341" y="348748"/>
            <a:ext cx="1856143" cy="1613595"/>
          </a:xfrm>
          <a:prstGeom prst="rect">
            <a:avLst/>
          </a:prstGeom>
        </p:spPr>
      </p:pic>
      <p:pic>
        <p:nvPicPr>
          <p:cNvPr id="15" name="Picture 14" descr="A picture containing logo&#10;&#10;Description automatically generated">
            <a:extLst>
              <a:ext uri="{FF2B5EF4-FFF2-40B4-BE49-F238E27FC236}">
                <a16:creationId xmlns:a16="http://schemas.microsoft.com/office/drawing/2014/main" id="{0B4AB395-0DA8-484D-9995-6ED3892C58F7}"/>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48341" y="348748"/>
            <a:ext cx="1856143" cy="1613595"/>
          </a:xfrm>
          <a:prstGeom prst="rect">
            <a:avLst/>
          </a:prstGeom>
        </p:spPr>
      </p:pic>
    </p:spTree>
    <p:extLst>
      <p:ext uri="{BB962C8B-B14F-4D97-AF65-F5344CB8AC3E}">
        <p14:creationId xmlns:p14="http://schemas.microsoft.com/office/powerpoint/2010/main" val="58483404"/>
      </p:ext>
    </p:extLst>
  </p:cSld>
  <p:clrMapOvr>
    <a:masterClrMapping/>
  </p:clrMapOvr>
  <p:extLst>
    <p:ext uri="{DCECCB84-F9BA-43D5-87BE-67443E8EF086}">
      <p15:sldGuideLst xmlns:p15="http://schemas.microsoft.com/office/powerpoint/2012/main">
        <p15:guide id="2" orient="horz" pos="674">
          <p15:clr>
            <a:srgbClr val="FBAE40"/>
          </p15:clr>
        </p15:guide>
        <p15:guide id="3" pos="4806">
          <p15:clr>
            <a:srgbClr val="FBAE40"/>
          </p15:clr>
        </p15:guide>
        <p15:guide id="4" pos="558">
          <p15:clr>
            <a:srgbClr val="FBAE40"/>
          </p15:clr>
        </p15:guide>
        <p15:guide id="7" orient="horz" pos="1064">
          <p15:clr>
            <a:srgbClr val="FBAE40"/>
          </p15:clr>
        </p15:guide>
        <p15:guide id="8" orient="horz" pos="2570">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p:cSld name="6_Title Slide (Pictur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2F0D3B3-FB4D-45BC-BE2E-E0ACC1635A4F}"/>
              </a:ext>
            </a:extLst>
          </p:cNvPr>
          <p:cNvGraphicFramePr>
            <a:graphicFrameLocks noChangeAspect="1"/>
          </p:cNvGraphicFramePr>
          <p:nvPr>
            <p:custDataLst>
              <p:tags r:id="rId1"/>
            </p:custDataLst>
            <p:extLst>
              <p:ext uri="{D42A27DB-BD31-4B8C-83A1-F6EECF244321}">
                <p14:modId xmlns:p14="http://schemas.microsoft.com/office/powerpoint/2010/main" val="23849039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8" name="Object 7" hidden="1">
                        <a:extLst>
                          <a:ext uri="{FF2B5EF4-FFF2-40B4-BE49-F238E27FC236}">
                            <a16:creationId xmlns:a16="http://schemas.microsoft.com/office/drawing/2014/main" id="{82F0D3B3-FB4D-45BC-BE2E-E0ACC1635A4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0D406DB-41A2-4933-86A0-0828F55DE1B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3600" b="1" i="0" baseline="0">
              <a:latin typeface="Century Gothic" panose="020B0502020202020204" pitchFamily="34" charset="0"/>
              <a:ea typeface="+mj-ea"/>
              <a:cs typeface="+mj-cs"/>
              <a:sym typeface="Century Gothic" panose="020B0502020202020204" pitchFamily="34" charset="0"/>
            </a:endParaRPr>
          </a:p>
        </p:txBody>
      </p:sp>
      <p:sp>
        <p:nvSpPr>
          <p:cNvPr id="4" name="Rectangle 3">
            <a:extLst>
              <a:ext uri="{FF2B5EF4-FFF2-40B4-BE49-F238E27FC236}">
                <a16:creationId xmlns:a16="http://schemas.microsoft.com/office/drawing/2014/main" id="{03A9E883-9BB5-482C-A327-2D21B1564687}"/>
              </a:ext>
            </a:extLst>
          </p:cNvPr>
          <p:cNvSpPr/>
          <p:nvPr/>
        </p:nvSpPr>
        <p:spPr>
          <a:xfrm>
            <a:off x="5499096" y="0"/>
            <a:ext cx="6692904"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a:ln>
                <a:noFill/>
              </a:ln>
              <a:solidFill>
                <a:schemeClr val="bg1"/>
              </a:solidFill>
            </a:endParaRPr>
          </a:p>
        </p:txBody>
      </p:sp>
      <p:sp>
        <p:nvSpPr>
          <p:cNvPr id="2" name="Title 1">
            <a:extLst>
              <a:ext uri="{FF2B5EF4-FFF2-40B4-BE49-F238E27FC236}">
                <a16:creationId xmlns:a16="http://schemas.microsoft.com/office/drawing/2014/main" id="{08AF85F3-5290-4EBA-8B8A-DB6A01B381A6}"/>
              </a:ext>
            </a:extLst>
          </p:cNvPr>
          <p:cNvSpPr>
            <a:spLocks noGrp="1"/>
          </p:cNvSpPr>
          <p:nvPr>
            <p:ph type="ctrTitle" hasCustomPrompt="1"/>
          </p:nvPr>
        </p:nvSpPr>
        <p:spPr>
          <a:xfrm>
            <a:off x="6368133" y="3994896"/>
            <a:ext cx="4630057" cy="1801524"/>
          </a:xfrm>
        </p:spPr>
        <p:txBody>
          <a:bodyPr vert="horz" anchor="b">
            <a:noAutofit/>
          </a:bodyPr>
          <a:lstStyle>
            <a:lvl1pPr algn="l">
              <a:defRPr sz="3600">
                <a:solidFill>
                  <a:schemeClr val="bg2"/>
                </a:solidFill>
                <a:latin typeface="Century Gothic" panose="020B0502020202020204" pitchFamily="34" charset="0"/>
              </a:defRPr>
            </a:lvl1pPr>
          </a:lstStyle>
          <a:p>
            <a:r>
              <a:rPr lang="en-US" noProof="0"/>
              <a:t>Click to edit master title style</a:t>
            </a:r>
          </a:p>
        </p:txBody>
      </p:sp>
      <p:sp>
        <p:nvSpPr>
          <p:cNvPr id="3" name="Subtitle 2">
            <a:extLst>
              <a:ext uri="{FF2B5EF4-FFF2-40B4-BE49-F238E27FC236}">
                <a16:creationId xmlns:a16="http://schemas.microsoft.com/office/drawing/2014/main" id="{FC3B1678-8578-485B-ABDD-36D8CF73E2D8}"/>
              </a:ext>
            </a:extLst>
          </p:cNvPr>
          <p:cNvSpPr>
            <a:spLocks noGrp="1"/>
          </p:cNvSpPr>
          <p:nvPr>
            <p:ph type="subTitle" idx="1" hasCustomPrompt="1"/>
          </p:nvPr>
        </p:nvSpPr>
        <p:spPr>
          <a:xfrm>
            <a:off x="6368131" y="5883244"/>
            <a:ext cx="4630058" cy="349250"/>
          </a:xfrm>
        </p:spPr>
        <p:txBody>
          <a:bodyPr lIns="0" tIns="0" rIns="0" bIns="0" anchor="ctr">
            <a:noAutofit/>
          </a:bodyPr>
          <a:lstStyle>
            <a:lvl1pPr marL="0" indent="0" algn="l">
              <a:buNone/>
              <a:defRPr sz="2000">
                <a:solidFill>
                  <a:srgbClr val="95D600"/>
                </a:solidFill>
                <a:latin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pic>
        <p:nvPicPr>
          <p:cNvPr id="12" name="Picture 11" descr="A picture containing logo&#10;&#10;Description automatically generated">
            <a:extLst>
              <a:ext uri="{FF2B5EF4-FFF2-40B4-BE49-F238E27FC236}">
                <a16:creationId xmlns:a16="http://schemas.microsoft.com/office/drawing/2014/main" id="{FFB48E65-93C6-48D1-BD43-B2B468BB4B48}"/>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368131" y="348748"/>
            <a:ext cx="1856143" cy="1613595"/>
          </a:xfrm>
          <a:prstGeom prst="rect">
            <a:avLst/>
          </a:prstGeom>
        </p:spPr>
      </p:pic>
      <p:sp>
        <p:nvSpPr>
          <p:cNvPr id="10" name="Picture Placeholder 19">
            <a:extLst>
              <a:ext uri="{FF2B5EF4-FFF2-40B4-BE49-F238E27FC236}">
                <a16:creationId xmlns:a16="http://schemas.microsoft.com/office/drawing/2014/main" id="{7AAD8B0E-17EB-488A-9721-65FC583FE98A}"/>
              </a:ext>
            </a:extLst>
          </p:cNvPr>
          <p:cNvSpPr>
            <a:spLocks noGrp="1"/>
          </p:cNvSpPr>
          <p:nvPr>
            <p:ph type="pic" sz="quarter" idx="10"/>
          </p:nvPr>
        </p:nvSpPr>
        <p:spPr>
          <a:xfrm>
            <a:off x="2" y="0"/>
            <a:ext cx="5499094" cy="6858000"/>
          </a:xfrm>
          <a:solidFill>
            <a:srgbClr val="EAF7CC"/>
          </a:solidFill>
        </p:spPr>
        <p:txBody>
          <a:bodyPr/>
          <a:lstStyle>
            <a:lvl1pPr>
              <a:defRPr>
                <a:latin typeface="Century Gothic" panose="020B0502020202020204" pitchFamily="34" charset="0"/>
              </a:defRPr>
            </a:lvl1pPr>
          </a:lstStyle>
          <a:p>
            <a:r>
              <a:rPr lang="en-US"/>
              <a:t>Click icon to add picture</a:t>
            </a:r>
            <a:endParaRPr lang="ru-RU"/>
          </a:p>
        </p:txBody>
      </p:sp>
    </p:spTree>
    <p:extLst>
      <p:ext uri="{BB962C8B-B14F-4D97-AF65-F5344CB8AC3E}">
        <p14:creationId xmlns:p14="http://schemas.microsoft.com/office/powerpoint/2010/main" val="1799885180"/>
      </p:ext>
    </p:extLst>
  </p:cSld>
  <p:clrMapOvr>
    <a:masterClrMapping/>
  </p:clrMapOvr>
  <p:hf hdr="0" dt="0"/>
  <p:extLst>
    <p:ext uri="{DCECCB84-F9BA-43D5-87BE-67443E8EF086}">
      <p15:sldGuideLst xmlns:p15="http://schemas.microsoft.com/office/powerpoint/2012/main">
        <p15:guide id="2" orient="horz" pos="674">
          <p15:clr>
            <a:srgbClr val="FBAE40"/>
          </p15:clr>
        </p15:guide>
        <p15:guide id="3" pos="4806">
          <p15:clr>
            <a:srgbClr val="FBAE40"/>
          </p15:clr>
        </p15:guide>
        <p15:guide id="4" pos="558">
          <p15:clr>
            <a:srgbClr val="FBAE40"/>
          </p15:clr>
        </p15:guide>
        <p15:guide id="7" orient="horz" pos="1064">
          <p15:clr>
            <a:srgbClr val="FBAE40"/>
          </p15:clr>
        </p15:guide>
        <p15:guide id="8" orient="horz" pos="2570">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p:cSld name="3_Title Slide (Pictur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0EC0E1E-A8F5-4DF8-9FD0-5E4DC243975C}"/>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r="22493"/>
          <a:stretch/>
        </p:blipFill>
        <p:spPr>
          <a:xfrm>
            <a:off x="2630735" y="0"/>
            <a:ext cx="9561266" cy="6858000"/>
          </a:xfrm>
          <a:prstGeom prst="rect">
            <a:avLst/>
          </a:prstGeom>
        </p:spPr>
      </p:pic>
      <p:sp>
        <p:nvSpPr>
          <p:cNvPr id="14" name="Rectangle 13">
            <a:extLst>
              <a:ext uri="{FF2B5EF4-FFF2-40B4-BE49-F238E27FC236}">
                <a16:creationId xmlns:a16="http://schemas.microsoft.com/office/drawing/2014/main" id="{F7799E56-D252-47DF-8820-3D69946D2BBF}"/>
              </a:ext>
            </a:extLst>
          </p:cNvPr>
          <p:cNvSpPr/>
          <p:nvPr/>
        </p:nvSpPr>
        <p:spPr>
          <a:xfrm>
            <a:off x="0" y="0"/>
            <a:ext cx="2630734"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a:ln>
                <a:noFill/>
              </a:ln>
              <a:solidFill>
                <a:schemeClr val="bg1"/>
              </a:solidFill>
            </a:endParaRPr>
          </a:p>
        </p:txBody>
      </p:sp>
      <p:graphicFrame>
        <p:nvGraphicFramePr>
          <p:cNvPr id="8" name="Object 7" hidden="1">
            <a:extLst>
              <a:ext uri="{FF2B5EF4-FFF2-40B4-BE49-F238E27FC236}">
                <a16:creationId xmlns:a16="http://schemas.microsoft.com/office/drawing/2014/main" id="{82F0D3B3-FB4D-45BC-BE2E-E0ACC1635A4F}"/>
              </a:ext>
            </a:extLst>
          </p:cNvPr>
          <p:cNvGraphicFramePr>
            <a:graphicFrameLocks noChangeAspect="1"/>
          </p:cNvGraphicFramePr>
          <p:nvPr>
            <p:custDataLst>
              <p:tags r:id="rId1"/>
            </p:custDataLst>
            <p:extLst>
              <p:ext uri="{D42A27DB-BD31-4B8C-83A1-F6EECF244321}">
                <p14:modId xmlns:p14="http://schemas.microsoft.com/office/powerpoint/2010/main" val="7599066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8" name="Object 7" hidden="1">
                        <a:extLst>
                          <a:ext uri="{FF2B5EF4-FFF2-40B4-BE49-F238E27FC236}">
                            <a16:creationId xmlns:a16="http://schemas.microsoft.com/office/drawing/2014/main" id="{82F0D3B3-FB4D-45BC-BE2E-E0ACC1635A4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0D406DB-41A2-4933-86A0-0828F55DE1B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3600" b="1" i="0" baseline="0">
              <a:latin typeface="Century Gothic" panose="020B0502020202020204" pitchFamily="34" charset="0"/>
              <a:ea typeface="+mj-ea"/>
              <a:cs typeface="+mj-cs"/>
              <a:sym typeface="Century Gothic" panose="020B0502020202020204" pitchFamily="34" charset="0"/>
            </a:endParaRPr>
          </a:p>
        </p:txBody>
      </p:sp>
      <p:pic>
        <p:nvPicPr>
          <p:cNvPr id="11" name="Picture 10">
            <a:extLst>
              <a:ext uri="{FF2B5EF4-FFF2-40B4-BE49-F238E27FC236}">
                <a16:creationId xmlns:a16="http://schemas.microsoft.com/office/drawing/2014/main" id="{C3120233-AEF6-42E0-9CF1-0F9E8F091DE4}"/>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r="22493"/>
          <a:stretch/>
        </p:blipFill>
        <p:spPr>
          <a:xfrm>
            <a:off x="2630735" y="0"/>
            <a:ext cx="9561266" cy="6858000"/>
          </a:xfrm>
          <a:prstGeom prst="rect">
            <a:avLst/>
          </a:prstGeom>
        </p:spPr>
      </p:pic>
      <p:sp>
        <p:nvSpPr>
          <p:cNvPr id="9" name="Rectangle 8">
            <a:extLst>
              <a:ext uri="{FF2B5EF4-FFF2-40B4-BE49-F238E27FC236}">
                <a16:creationId xmlns:a16="http://schemas.microsoft.com/office/drawing/2014/main" id="{4E7F325B-F942-4209-8D57-CAA2C7E6C91F}"/>
              </a:ext>
            </a:extLst>
          </p:cNvPr>
          <p:cNvSpPr/>
          <p:nvPr/>
        </p:nvSpPr>
        <p:spPr>
          <a:xfrm>
            <a:off x="2007020" y="436074"/>
            <a:ext cx="4549724" cy="18923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a:ln>
                <a:noFill/>
              </a:ln>
              <a:solidFill>
                <a:schemeClr val="bg1"/>
              </a:solidFill>
            </a:endParaRPr>
          </a:p>
        </p:txBody>
      </p:sp>
      <p:sp>
        <p:nvSpPr>
          <p:cNvPr id="4" name="Rectangle 3">
            <a:extLst>
              <a:ext uri="{FF2B5EF4-FFF2-40B4-BE49-F238E27FC236}">
                <a16:creationId xmlns:a16="http://schemas.microsoft.com/office/drawing/2014/main" id="{03A9E883-9BB5-482C-A327-2D21B1564687}"/>
              </a:ext>
            </a:extLst>
          </p:cNvPr>
          <p:cNvSpPr/>
          <p:nvPr/>
        </p:nvSpPr>
        <p:spPr>
          <a:xfrm>
            <a:off x="0" y="0"/>
            <a:ext cx="2630734"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a:ln>
                <a:noFill/>
              </a:ln>
              <a:solidFill>
                <a:schemeClr val="bg1"/>
              </a:solidFill>
            </a:endParaRPr>
          </a:p>
        </p:txBody>
      </p:sp>
      <p:sp>
        <p:nvSpPr>
          <p:cNvPr id="2" name="Title 1">
            <a:extLst>
              <a:ext uri="{FF2B5EF4-FFF2-40B4-BE49-F238E27FC236}">
                <a16:creationId xmlns:a16="http://schemas.microsoft.com/office/drawing/2014/main" id="{08AF85F3-5290-4EBA-8B8A-DB6A01B381A6}"/>
              </a:ext>
            </a:extLst>
          </p:cNvPr>
          <p:cNvSpPr>
            <a:spLocks noGrp="1"/>
          </p:cNvSpPr>
          <p:nvPr>
            <p:ph type="ctrTitle" hasCustomPrompt="1"/>
          </p:nvPr>
        </p:nvSpPr>
        <p:spPr>
          <a:xfrm>
            <a:off x="348343" y="2051891"/>
            <a:ext cx="6371436" cy="1801524"/>
          </a:xfrm>
        </p:spPr>
        <p:txBody>
          <a:bodyPr vert="horz" anchor="b">
            <a:noAutofit/>
          </a:bodyPr>
          <a:lstStyle>
            <a:lvl1pPr algn="l">
              <a:defRPr sz="4000">
                <a:solidFill>
                  <a:schemeClr val="bg2"/>
                </a:solidFill>
                <a:latin typeface="Century Gothic" panose="020B0502020202020204" pitchFamily="34" charset="0"/>
              </a:defRPr>
            </a:lvl1pPr>
          </a:lstStyle>
          <a:p>
            <a:r>
              <a:rPr lang="en-US" noProof="0"/>
              <a:t>Click to edit master title style</a:t>
            </a:r>
          </a:p>
        </p:txBody>
      </p:sp>
      <p:sp>
        <p:nvSpPr>
          <p:cNvPr id="3" name="Subtitle 2">
            <a:extLst>
              <a:ext uri="{FF2B5EF4-FFF2-40B4-BE49-F238E27FC236}">
                <a16:creationId xmlns:a16="http://schemas.microsoft.com/office/drawing/2014/main" id="{FC3B1678-8578-485B-ABDD-36D8CF73E2D8}"/>
              </a:ext>
            </a:extLst>
          </p:cNvPr>
          <p:cNvSpPr>
            <a:spLocks noGrp="1"/>
          </p:cNvSpPr>
          <p:nvPr>
            <p:ph type="subTitle" idx="1" hasCustomPrompt="1"/>
          </p:nvPr>
        </p:nvSpPr>
        <p:spPr>
          <a:xfrm>
            <a:off x="348341" y="3940239"/>
            <a:ext cx="6371438" cy="349250"/>
          </a:xfrm>
        </p:spPr>
        <p:txBody>
          <a:bodyPr lIns="0" tIns="0" rIns="0" bIns="0" anchor="ctr">
            <a:noAutofit/>
          </a:bodyPr>
          <a:lstStyle>
            <a:lvl1pPr marL="0" indent="0" algn="l">
              <a:buNone/>
              <a:defRPr sz="2000">
                <a:solidFill>
                  <a:schemeClr val="bg2"/>
                </a:solidFill>
                <a:latin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pic>
        <p:nvPicPr>
          <p:cNvPr id="12" name="Picture 11" descr="A picture containing logo&#10;&#10;Description automatically generated">
            <a:extLst>
              <a:ext uri="{FF2B5EF4-FFF2-40B4-BE49-F238E27FC236}">
                <a16:creationId xmlns:a16="http://schemas.microsoft.com/office/drawing/2014/main" id="{FFB48E65-93C6-48D1-BD43-B2B468BB4B4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48341" y="348748"/>
            <a:ext cx="1856143" cy="1613595"/>
          </a:xfrm>
          <a:prstGeom prst="rect">
            <a:avLst/>
          </a:prstGeom>
        </p:spPr>
      </p:pic>
      <p:pic>
        <p:nvPicPr>
          <p:cNvPr id="15" name="Picture 14" descr="A picture containing logo&#10;&#10;Description automatically generated">
            <a:extLst>
              <a:ext uri="{FF2B5EF4-FFF2-40B4-BE49-F238E27FC236}">
                <a16:creationId xmlns:a16="http://schemas.microsoft.com/office/drawing/2014/main" id="{0B4AB395-0DA8-484D-9995-6ED3892C58F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48341" y="348748"/>
            <a:ext cx="1856143" cy="1613595"/>
          </a:xfrm>
          <a:prstGeom prst="rect">
            <a:avLst/>
          </a:prstGeom>
        </p:spPr>
      </p:pic>
    </p:spTree>
    <p:extLst>
      <p:ext uri="{BB962C8B-B14F-4D97-AF65-F5344CB8AC3E}">
        <p14:creationId xmlns:p14="http://schemas.microsoft.com/office/powerpoint/2010/main" val="970118658"/>
      </p:ext>
    </p:extLst>
  </p:cSld>
  <p:clrMapOvr>
    <a:masterClrMapping/>
  </p:clrMapOvr>
  <p:extLst>
    <p:ext uri="{DCECCB84-F9BA-43D5-87BE-67443E8EF086}">
      <p15:sldGuideLst xmlns:p15="http://schemas.microsoft.com/office/powerpoint/2012/main">
        <p15:guide id="2" orient="horz" pos="674">
          <p15:clr>
            <a:srgbClr val="FBAE40"/>
          </p15:clr>
        </p15:guide>
        <p15:guide id="3" pos="4806">
          <p15:clr>
            <a:srgbClr val="FBAE40"/>
          </p15:clr>
        </p15:guide>
        <p15:guide id="4" pos="558">
          <p15:clr>
            <a:srgbClr val="FBAE40"/>
          </p15:clr>
        </p15:guide>
        <p15:guide id="7" orient="horz" pos="1064">
          <p15:clr>
            <a:srgbClr val="FBAE40"/>
          </p15:clr>
        </p15:guide>
        <p15:guide id="8" orient="horz" pos="2570">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p:cSld name="7_Title Slide (Pictur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2F0D3B3-FB4D-45BC-BE2E-E0ACC1635A4F}"/>
              </a:ext>
            </a:extLst>
          </p:cNvPr>
          <p:cNvGraphicFramePr>
            <a:graphicFrameLocks noChangeAspect="1"/>
          </p:cNvGraphicFramePr>
          <p:nvPr>
            <p:custDataLst>
              <p:tags r:id="rId1"/>
            </p:custDataLst>
            <p:extLst>
              <p:ext uri="{D42A27DB-BD31-4B8C-83A1-F6EECF244321}">
                <p14:modId xmlns:p14="http://schemas.microsoft.com/office/powerpoint/2010/main" val="23849039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8" name="Object 7" hidden="1">
                        <a:extLst>
                          <a:ext uri="{FF2B5EF4-FFF2-40B4-BE49-F238E27FC236}">
                            <a16:creationId xmlns:a16="http://schemas.microsoft.com/office/drawing/2014/main" id="{82F0D3B3-FB4D-45BC-BE2E-E0ACC1635A4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0D406DB-41A2-4933-86A0-0828F55DE1B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3600" b="1" i="0" baseline="0">
              <a:latin typeface="Century Gothic" panose="020B0502020202020204" pitchFamily="34" charset="0"/>
              <a:ea typeface="+mj-ea"/>
              <a:cs typeface="+mj-cs"/>
              <a:sym typeface="Century Gothic" panose="020B0502020202020204" pitchFamily="34" charset="0"/>
            </a:endParaRPr>
          </a:p>
        </p:txBody>
      </p:sp>
      <p:sp>
        <p:nvSpPr>
          <p:cNvPr id="4" name="Rectangle 3">
            <a:extLst>
              <a:ext uri="{FF2B5EF4-FFF2-40B4-BE49-F238E27FC236}">
                <a16:creationId xmlns:a16="http://schemas.microsoft.com/office/drawing/2014/main" id="{03A9E883-9BB5-482C-A327-2D21B1564687}"/>
              </a:ext>
            </a:extLst>
          </p:cNvPr>
          <p:cNvSpPr/>
          <p:nvPr/>
        </p:nvSpPr>
        <p:spPr>
          <a:xfrm>
            <a:off x="5499096" y="0"/>
            <a:ext cx="6692904"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a:ln>
                <a:noFill/>
              </a:ln>
              <a:solidFill>
                <a:schemeClr val="bg1"/>
              </a:solidFill>
            </a:endParaRPr>
          </a:p>
        </p:txBody>
      </p:sp>
      <p:sp>
        <p:nvSpPr>
          <p:cNvPr id="2" name="Title 1">
            <a:extLst>
              <a:ext uri="{FF2B5EF4-FFF2-40B4-BE49-F238E27FC236}">
                <a16:creationId xmlns:a16="http://schemas.microsoft.com/office/drawing/2014/main" id="{08AF85F3-5290-4EBA-8B8A-DB6A01B381A6}"/>
              </a:ext>
            </a:extLst>
          </p:cNvPr>
          <p:cNvSpPr>
            <a:spLocks noGrp="1"/>
          </p:cNvSpPr>
          <p:nvPr>
            <p:ph type="ctrTitle" hasCustomPrompt="1"/>
          </p:nvPr>
        </p:nvSpPr>
        <p:spPr>
          <a:xfrm>
            <a:off x="6368133" y="3994896"/>
            <a:ext cx="4630057" cy="1801524"/>
          </a:xfrm>
        </p:spPr>
        <p:txBody>
          <a:bodyPr vert="horz" anchor="b">
            <a:noAutofit/>
          </a:bodyPr>
          <a:lstStyle>
            <a:lvl1pPr algn="l">
              <a:defRPr sz="3600">
                <a:solidFill>
                  <a:schemeClr val="bg2"/>
                </a:solidFill>
                <a:latin typeface="Century Gothic" panose="020B0502020202020204" pitchFamily="34" charset="0"/>
              </a:defRPr>
            </a:lvl1pPr>
          </a:lstStyle>
          <a:p>
            <a:r>
              <a:rPr lang="en-US" noProof="0"/>
              <a:t>Click to edit master title style</a:t>
            </a:r>
          </a:p>
        </p:txBody>
      </p:sp>
      <p:sp>
        <p:nvSpPr>
          <p:cNvPr id="3" name="Subtitle 2">
            <a:extLst>
              <a:ext uri="{FF2B5EF4-FFF2-40B4-BE49-F238E27FC236}">
                <a16:creationId xmlns:a16="http://schemas.microsoft.com/office/drawing/2014/main" id="{FC3B1678-8578-485B-ABDD-36D8CF73E2D8}"/>
              </a:ext>
            </a:extLst>
          </p:cNvPr>
          <p:cNvSpPr>
            <a:spLocks noGrp="1"/>
          </p:cNvSpPr>
          <p:nvPr>
            <p:ph type="subTitle" idx="1" hasCustomPrompt="1"/>
          </p:nvPr>
        </p:nvSpPr>
        <p:spPr>
          <a:xfrm>
            <a:off x="6368131" y="5883244"/>
            <a:ext cx="4630058" cy="349250"/>
          </a:xfrm>
        </p:spPr>
        <p:txBody>
          <a:bodyPr lIns="0" tIns="0" rIns="0" bIns="0" anchor="ctr">
            <a:noAutofit/>
          </a:bodyPr>
          <a:lstStyle>
            <a:lvl1pPr marL="0" indent="0" algn="l">
              <a:buNone/>
              <a:defRPr sz="2000">
                <a:solidFill>
                  <a:srgbClr val="95D600"/>
                </a:solidFill>
                <a:latin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pic>
        <p:nvPicPr>
          <p:cNvPr id="12" name="Picture 11" descr="A picture containing logo&#10;&#10;Description automatically generated">
            <a:extLst>
              <a:ext uri="{FF2B5EF4-FFF2-40B4-BE49-F238E27FC236}">
                <a16:creationId xmlns:a16="http://schemas.microsoft.com/office/drawing/2014/main" id="{FFB48E65-93C6-48D1-BD43-B2B468BB4B4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368131" y="348748"/>
            <a:ext cx="1856143" cy="1613595"/>
          </a:xfrm>
          <a:prstGeom prst="rect">
            <a:avLst/>
          </a:prstGeom>
        </p:spPr>
      </p:pic>
      <p:sp>
        <p:nvSpPr>
          <p:cNvPr id="10" name="Picture Placeholder 19">
            <a:extLst>
              <a:ext uri="{FF2B5EF4-FFF2-40B4-BE49-F238E27FC236}">
                <a16:creationId xmlns:a16="http://schemas.microsoft.com/office/drawing/2014/main" id="{7AAD8B0E-17EB-488A-9721-65FC583FE98A}"/>
              </a:ext>
            </a:extLst>
          </p:cNvPr>
          <p:cNvSpPr>
            <a:spLocks noGrp="1"/>
          </p:cNvSpPr>
          <p:nvPr>
            <p:ph type="pic" sz="quarter" idx="10"/>
          </p:nvPr>
        </p:nvSpPr>
        <p:spPr>
          <a:xfrm>
            <a:off x="2" y="0"/>
            <a:ext cx="5499094" cy="6858000"/>
          </a:xfrm>
          <a:solidFill>
            <a:srgbClr val="EAF7CC"/>
          </a:solidFill>
        </p:spPr>
        <p:txBody>
          <a:bodyPr/>
          <a:lstStyle>
            <a:lvl1pPr>
              <a:defRPr>
                <a:latin typeface="Century Gothic" panose="020B0502020202020204" pitchFamily="34" charset="0"/>
              </a:defRPr>
            </a:lvl1pPr>
          </a:lstStyle>
          <a:p>
            <a:r>
              <a:rPr lang="en-US"/>
              <a:t>Click icon to add picture</a:t>
            </a:r>
            <a:endParaRPr lang="ru-RU"/>
          </a:p>
        </p:txBody>
      </p:sp>
    </p:spTree>
    <p:extLst>
      <p:ext uri="{BB962C8B-B14F-4D97-AF65-F5344CB8AC3E}">
        <p14:creationId xmlns:p14="http://schemas.microsoft.com/office/powerpoint/2010/main" val="3595063454"/>
      </p:ext>
    </p:extLst>
  </p:cSld>
  <p:clrMapOvr>
    <a:masterClrMapping/>
  </p:clrMapOvr>
  <p:hf hdr="0" dt="0"/>
  <p:extLst>
    <p:ext uri="{DCECCB84-F9BA-43D5-87BE-67443E8EF086}">
      <p15:sldGuideLst xmlns:p15="http://schemas.microsoft.com/office/powerpoint/2012/main">
        <p15:guide id="2" orient="horz" pos="674">
          <p15:clr>
            <a:srgbClr val="FBAE40"/>
          </p15:clr>
        </p15:guide>
        <p15:guide id="3" pos="4806">
          <p15:clr>
            <a:srgbClr val="FBAE40"/>
          </p15:clr>
        </p15:guide>
        <p15:guide id="4" pos="558">
          <p15:clr>
            <a:srgbClr val="FBAE40"/>
          </p15:clr>
        </p15:guide>
        <p15:guide id="7" orient="horz" pos="1064">
          <p15:clr>
            <a:srgbClr val="FBAE40"/>
          </p15:clr>
        </p15:guide>
        <p15:guide id="8" orient="horz" pos="2570">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p:cSld name="5_Title Slide (Picture)">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2DA6B1DC-3F65-4906-A23F-38A69DBB3B6F}"/>
              </a:ext>
            </a:extLst>
          </p:cNvPr>
          <p:cNvSpPr>
            <a:spLocks noGrp="1"/>
          </p:cNvSpPr>
          <p:nvPr>
            <p:ph type="pic" sz="quarter" idx="10"/>
          </p:nvPr>
        </p:nvSpPr>
        <p:spPr>
          <a:xfrm>
            <a:off x="5499100" y="0"/>
            <a:ext cx="6692900" cy="6858000"/>
          </a:xfrm>
          <a:solidFill>
            <a:srgbClr val="004876"/>
          </a:solidFill>
          <a:ln>
            <a:noFill/>
          </a:ln>
        </p:spPr>
        <p:txBody>
          <a:bodyPr/>
          <a:lstStyle>
            <a:lvl1pPr>
              <a:defRPr>
                <a:solidFill>
                  <a:schemeClr val="bg1"/>
                </a:solidFill>
                <a:latin typeface="Century Gothic" panose="020B0502020202020204" pitchFamily="34" charset="0"/>
              </a:defRPr>
            </a:lvl1pPr>
          </a:lstStyle>
          <a:p>
            <a:r>
              <a:rPr lang="en-US"/>
              <a:t>Click icon to add picture</a:t>
            </a:r>
            <a:endParaRPr lang="ru-RU"/>
          </a:p>
        </p:txBody>
      </p:sp>
      <p:pic>
        <p:nvPicPr>
          <p:cNvPr id="6" name="Graphic 5">
            <a:extLst>
              <a:ext uri="{FF2B5EF4-FFF2-40B4-BE49-F238E27FC236}">
                <a16:creationId xmlns:a16="http://schemas.microsoft.com/office/drawing/2014/main" id="{2930B4C9-DB67-4F49-879D-B1ED7C3C60A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48341" y="348749"/>
            <a:ext cx="1856143" cy="1613138"/>
          </a:xfrm>
          <a:prstGeom prst="rect">
            <a:avLst/>
          </a:prstGeom>
        </p:spPr>
      </p:pic>
      <p:graphicFrame>
        <p:nvGraphicFramePr>
          <p:cNvPr id="8" name="Object 7" hidden="1">
            <a:extLst>
              <a:ext uri="{FF2B5EF4-FFF2-40B4-BE49-F238E27FC236}">
                <a16:creationId xmlns:a16="http://schemas.microsoft.com/office/drawing/2014/main" id="{82F0D3B3-FB4D-45BC-BE2E-E0ACC1635A4F}"/>
              </a:ext>
            </a:extLst>
          </p:cNvPr>
          <p:cNvGraphicFramePr>
            <a:graphicFrameLocks noChangeAspect="1"/>
          </p:cNvGraphicFramePr>
          <p:nvPr>
            <p:custDataLst>
              <p:tags r:id="rId1"/>
            </p:custDataLst>
            <p:extLst>
              <p:ext uri="{D42A27DB-BD31-4B8C-83A1-F6EECF244321}">
                <p14:modId xmlns:p14="http://schemas.microsoft.com/office/powerpoint/2010/main" val="2914543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7" imgH="348" progId="TCLayout.ActiveDocument.1">
                  <p:embed/>
                </p:oleObj>
              </mc:Choice>
              <mc:Fallback>
                <p:oleObj name="think-cell Slide" r:id="rId6" imgW="347" imgH="348" progId="TCLayout.ActiveDocument.1">
                  <p:embed/>
                  <p:pic>
                    <p:nvPicPr>
                      <p:cNvPr id="8" name="Object 7" hidden="1">
                        <a:extLst>
                          <a:ext uri="{FF2B5EF4-FFF2-40B4-BE49-F238E27FC236}">
                            <a16:creationId xmlns:a16="http://schemas.microsoft.com/office/drawing/2014/main" id="{82F0D3B3-FB4D-45BC-BE2E-E0ACC1635A4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0D406DB-41A2-4933-86A0-0828F55DE1B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3600" b="1" i="0" baseline="0">
              <a:latin typeface="Century Gothic" panose="020B0502020202020204" pitchFamily="34" charset="0"/>
              <a:ea typeface="+mj-ea"/>
              <a:cs typeface="+mj-cs"/>
              <a:sym typeface="Century Gothic" panose="020B0502020202020204" pitchFamily="34" charset="0"/>
            </a:endParaRPr>
          </a:p>
        </p:txBody>
      </p:sp>
      <p:pic>
        <p:nvPicPr>
          <p:cNvPr id="5" name="Graphic 4">
            <a:extLst>
              <a:ext uri="{FF2B5EF4-FFF2-40B4-BE49-F238E27FC236}">
                <a16:creationId xmlns:a16="http://schemas.microsoft.com/office/drawing/2014/main" id="{3E561662-0D0B-4AED-AB04-D1AE3501D593}"/>
              </a:ext>
            </a:extLst>
          </p:cNvPr>
          <p:cNvPicPr>
            <a:picLocks noChangeAspect="1"/>
          </p:cNvPicPr>
          <p:nvPr/>
        </p:nvPicPr>
        <p:blipFill rotWithShape="1">
          <a:blip r:embed="rId8">
            <a:extLst>
              <a:ext uri="{96DAC541-7B7A-43D3-8B79-37D633B846F1}">
                <asvg:svgBlip xmlns:asvg="http://schemas.microsoft.com/office/drawing/2016/SVG/main" r:embed="rId9"/>
              </a:ext>
            </a:extLst>
          </a:blip>
          <a:srcRect l="-39" t="12642" r="50000" b="14589"/>
          <a:stretch/>
        </p:blipFill>
        <p:spPr>
          <a:xfrm>
            <a:off x="5499100" y="348749"/>
            <a:ext cx="6692900" cy="6509251"/>
          </a:xfrm>
          <a:prstGeom prst="rect">
            <a:avLst/>
          </a:prstGeom>
        </p:spPr>
      </p:pic>
      <p:sp>
        <p:nvSpPr>
          <p:cNvPr id="15" name="Title 1">
            <a:extLst>
              <a:ext uri="{FF2B5EF4-FFF2-40B4-BE49-F238E27FC236}">
                <a16:creationId xmlns:a16="http://schemas.microsoft.com/office/drawing/2014/main" id="{4C412A92-9519-4519-A789-640A2F67C6AB}"/>
              </a:ext>
            </a:extLst>
          </p:cNvPr>
          <p:cNvSpPr>
            <a:spLocks noGrp="1"/>
          </p:cNvSpPr>
          <p:nvPr>
            <p:ph type="ctrTitle" hasCustomPrompt="1"/>
          </p:nvPr>
        </p:nvSpPr>
        <p:spPr>
          <a:xfrm>
            <a:off x="348343" y="3880691"/>
            <a:ext cx="4642757" cy="1801524"/>
          </a:xfrm>
        </p:spPr>
        <p:txBody>
          <a:bodyPr vert="horz" anchor="b">
            <a:noAutofit/>
          </a:bodyPr>
          <a:lstStyle>
            <a:lvl1pPr algn="l">
              <a:defRPr sz="3600">
                <a:solidFill>
                  <a:srgbClr val="004876"/>
                </a:solidFill>
                <a:latin typeface="Century Gothic" panose="020B0502020202020204" pitchFamily="34" charset="0"/>
              </a:defRPr>
            </a:lvl1pPr>
          </a:lstStyle>
          <a:p>
            <a:r>
              <a:rPr lang="en-US" noProof="0"/>
              <a:t>Click to edit master title style</a:t>
            </a:r>
          </a:p>
        </p:txBody>
      </p:sp>
      <p:sp>
        <p:nvSpPr>
          <p:cNvPr id="16" name="Subtitle 2">
            <a:extLst>
              <a:ext uri="{FF2B5EF4-FFF2-40B4-BE49-F238E27FC236}">
                <a16:creationId xmlns:a16="http://schemas.microsoft.com/office/drawing/2014/main" id="{3521ED30-FE02-4A6F-8451-4CBC28F63926}"/>
              </a:ext>
            </a:extLst>
          </p:cNvPr>
          <p:cNvSpPr>
            <a:spLocks noGrp="1"/>
          </p:cNvSpPr>
          <p:nvPr>
            <p:ph type="subTitle" idx="1" hasCustomPrompt="1"/>
          </p:nvPr>
        </p:nvSpPr>
        <p:spPr>
          <a:xfrm>
            <a:off x="348341" y="5769039"/>
            <a:ext cx="4642757" cy="349250"/>
          </a:xfrm>
        </p:spPr>
        <p:txBody>
          <a:bodyPr lIns="0" tIns="0" rIns="0" bIns="0" anchor="ctr">
            <a:noAutofit/>
          </a:bodyPr>
          <a:lstStyle>
            <a:lvl1pPr marL="0" indent="0" algn="l">
              <a:buNone/>
              <a:defRPr sz="2000">
                <a:solidFill>
                  <a:srgbClr val="00A5B5"/>
                </a:solidFill>
                <a:latin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spTree>
    <p:extLst>
      <p:ext uri="{BB962C8B-B14F-4D97-AF65-F5344CB8AC3E}">
        <p14:creationId xmlns:p14="http://schemas.microsoft.com/office/powerpoint/2010/main" val="1114795570"/>
      </p:ext>
    </p:extLst>
  </p:cSld>
  <p:clrMapOvr>
    <a:masterClrMapping/>
  </p:clrMapOvr>
  <p:hf hdr="0" dt="0"/>
  <p:extLst>
    <p:ext uri="{DCECCB84-F9BA-43D5-87BE-67443E8EF086}">
      <p15:sldGuideLst xmlns:p15="http://schemas.microsoft.com/office/powerpoint/2012/main">
        <p15:guide id="2" orient="horz" pos="674">
          <p15:clr>
            <a:srgbClr val="FBAE40"/>
          </p15:clr>
        </p15:guide>
        <p15:guide id="3" pos="4806">
          <p15:clr>
            <a:srgbClr val="FBAE40"/>
          </p15:clr>
        </p15:guide>
        <p15:guide id="4" pos="558">
          <p15:clr>
            <a:srgbClr val="FBAE40"/>
          </p15:clr>
        </p15:guide>
        <p15:guide id="7" orient="horz" pos="1064">
          <p15:clr>
            <a:srgbClr val="FBAE40"/>
          </p15:clr>
        </p15:guide>
        <p15:guide id="8" orient="horz" pos="2570">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p:cSld name="4_Title Slide (Pictur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2F0D3B3-FB4D-45BC-BE2E-E0ACC1635A4F}"/>
              </a:ext>
            </a:extLst>
          </p:cNvPr>
          <p:cNvGraphicFramePr>
            <a:graphicFrameLocks noChangeAspect="1"/>
          </p:cNvGraphicFramePr>
          <p:nvPr>
            <p:custDataLst>
              <p:tags r:id="rId1"/>
            </p:custDataLst>
            <p:extLst>
              <p:ext uri="{D42A27DB-BD31-4B8C-83A1-F6EECF244321}">
                <p14:modId xmlns:p14="http://schemas.microsoft.com/office/powerpoint/2010/main" val="14924482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8" name="Object 7" hidden="1">
                        <a:extLst>
                          <a:ext uri="{FF2B5EF4-FFF2-40B4-BE49-F238E27FC236}">
                            <a16:creationId xmlns:a16="http://schemas.microsoft.com/office/drawing/2014/main" id="{82F0D3B3-FB4D-45BC-BE2E-E0ACC1635A4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0D406DB-41A2-4933-86A0-0828F55DE1B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3600" b="1" i="0" baseline="0">
              <a:latin typeface="Century Gothic" panose="020B0502020202020204" pitchFamily="34" charset="0"/>
              <a:ea typeface="+mj-ea"/>
              <a:cs typeface="+mj-cs"/>
              <a:sym typeface="Century Gothic" panose="020B0502020202020204" pitchFamily="34" charset="0"/>
            </a:endParaRPr>
          </a:p>
        </p:txBody>
      </p:sp>
      <p:sp>
        <p:nvSpPr>
          <p:cNvPr id="2" name="Title 1">
            <a:extLst>
              <a:ext uri="{FF2B5EF4-FFF2-40B4-BE49-F238E27FC236}">
                <a16:creationId xmlns:a16="http://schemas.microsoft.com/office/drawing/2014/main" id="{08AF85F3-5290-4EBA-8B8A-DB6A01B381A6}"/>
              </a:ext>
            </a:extLst>
          </p:cNvPr>
          <p:cNvSpPr>
            <a:spLocks noGrp="1"/>
          </p:cNvSpPr>
          <p:nvPr>
            <p:ph type="ctrTitle" hasCustomPrompt="1"/>
          </p:nvPr>
        </p:nvSpPr>
        <p:spPr>
          <a:xfrm>
            <a:off x="348343" y="3880691"/>
            <a:ext cx="4642757" cy="1801524"/>
          </a:xfrm>
        </p:spPr>
        <p:txBody>
          <a:bodyPr vert="horz" anchor="b">
            <a:noAutofit/>
          </a:bodyPr>
          <a:lstStyle>
            <a:lvl1pPr algn="l">
              <a:defRPr sz="3600">
                <a:solidFill>
                  <a:srgbClr val="004876"/>
                </a:solidFill>
              </a:defRPr>
            </a:lvl1pPr>
          </a:lstStyle>
          <a:p>
            <a:r>
              <a:rPr lang="en-US" noProof="0"/>
              <a:t>Click to edit master title style</a:t>
            </a:r>
          </a:p>
        </p:txBody>
      </p:sp>
      <p:sp>
        <p:nvSpPr>
          <p:cNvPr id="3" name="Subtitle 2">
            <a:extLst>
              <a:ext uri="{FF2B5EF4-FFF2-40B4-BE49-F238E27FC236}">
                <a16:creationId xmlns:a16="http://schemas.microsoft.com/office/drawing/2014/main" id="{FC3B1678-8578-485B-ABDD-36D8CF73E2D8}"/>
              </a:ext>
            </a:extLst>
          </p:cNvPr>
          <p:cNvSpPr>
            <a:spLocks noGrp="1"/>
          </p:cNvSpPr>
          <p:nvPr>
            <p:ph type="subTitle" idx="1" hasCustomPrompt="1"/>
          </p:nvPr>
        </p:nvSpPr>
        <p:spPr>
          <a:xfrm>
            <a:off x="348341" y="5769039"/>
            <a:ext cx="4642757" cy="349250"/>
          </a:xfrm>
        </p:spPr>
        <p:txBody>
          <a:bodyPr lIns="0" tIns="0" rIns="0" bIns="0" anchor="ctr">
            <a:noAutofit/>
          </a:bodyPr>
          <a:lstStyle>
            <a:lvl1pPr marL="0" indent="0" algn="l">
              <a:buNone/>
              <a:defRPr sz="2000">
                <a:solidFill>
                  <a:srgbClr val="00A5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pic>
        <p:nvPicPr>
          <p:cNvPr id="18" name="Graphic 17">
            <a:extLst>
              <a:ext uri="{FF2B5EF4-FFF2-40B4-BE49-F238E27FC236}">
                <a16:creationId xmlns:a16="http://schemas.microsoft.com/office/drawing/2014/main" id="{453431A5-3B3A-4BB8-A6CF-ED829DDA1E4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48341" y="348749"/>
            <a:ext cx="1856143" cy="1613138"/>
          </a:xfrm>
          <a:prstGeom prst="rect">
            <a:avLst/>
          </a:prstGeom>
        </p:spPr>
      </p:pic>
      <p:sp>
        <p:nvSpPr>
          <p:cNvPr id="20" name="Picture Placeholder 19">
            <a:extLst>
              <a:ext uri="{FF2B5EF4-FFF2-40B4-BE49-F238E27FC236}">
                <a16:creationId xmlns:a16="http://schemas.microsoft.com/office/drawing/2014/main" id="{35B2A1FE-43F6-4703-98F1-2A236BD026C9}"/>
              </a:ext>
            </a:extLst>
          </p:cNvPr>
          <p:cNvSpPr>
            <a:spLocks noGrp="1"/>
          </p:cNvSpPr>
          <p:nvPr>
            <p:ph type="pic" sz="quarter" idx="10"/>
          </p:nvPr>
        </p:nvSpPr>
        <p:spPr>
          <a:xfrm>
            <a:off x="5499095" y="0"/>
            <a:ext cx="6692905" cy="6858000"/>
          </a:xfrm>
          <a:solidFill>
            <a:srgbClr val="004876"/>
          </a:solidFill>
        </p:spPr>
        <p:txBody>
          <a:bodyPr/>
          <a:lstStyle/>
          <a:p>
            <a:r>
              <a:rPr lang="en-US"/>
              <a:t>Click icon to add picture</a:t>
            </a:r>
            <a:endParaRPr lang="ru-RU"/>
          </a:p>
        </p:txBody>
      </p:sp>
    </p:spTree>
    <p:extLst>
      <p:ext uri="{BB962C8B-B14F-4D97-AF65-F5344CB8AC3E}">
        <p14:creationId xmlns:p14="http://schemas.microsoft.com/office/powerpoint/2010/main" val="3112325464"/>
      </p:ext>
    </p:extLst>
  </p:cSld>
  <p:clrMapOvr>
    <a:masterClrMapping/>
  </p:clrMapOvr>
  <p:hf hdr="0" dt="0"/>
  <p:extLst>
    <p:ext uri="{DCECCB84-F9BA-43D5-87BE-67443E8EF086}">
      <p15:sldGuideLst xmlns:p15="http://schemas.microsoft.com/office/powerpoint/2012/main">
        <p15:guide id="2" orient="horz" pos="674">
          <p15:clr>
            <a:srgbClr val="FBAE40"/>
          </p15:clr>
        </p15:guide>
        <p15:guide id="3" pos="4806">
          <p15:clr>
            <a:srgbClr val="FBAE40"/>
          </p15:clr>
        </p15:guide>
        <p15:guide id="4" pos="558">
          <p15:clr>
            <a:srgbClr val="FBAE40"/>
          </p15:clr>
        </p15:guide>
        <p15:guide id="7" orient="horz" pos="1064">
          <p15:clr>
            <a:srgbClr val="FBAE40"/>
          </p15:clr>
        </p15:guide>
        <p15:guide id="8" orient="horz" pos="2570">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p:cSld name="8_Title Slide (Picture)">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2DA6B1DC-3F65-4906-A23F-38A69DBB3B6F}"/>
              </a:ext>
            </a:extLst>
          </p:cNvPr>
          <p:cNvSpPr>
            <a:spLocks noGrp="1"/>
          </p:cNvSpPr>
          <p:nvPr>
            <p:ph type="pic" sz="quarter" idx="10"/>
          </p:nvPr>
        </p:nvSpPr>
        <p:spPr>
          <a:xfrm>
            <a:off x="5499100" y="0"/>
            <a:ext cx="6692900" cy="6858000"/>
          </a:xfrm>
          <a:solidFill>
            <a:srgbClr val="004876"/>
          </a:solidFill>
          <a:ln>
            <a:noFill/>
          </a:ln>
        </p:spPr>
        <p:txBody>
          <a:bodyPr/>
          <a:lstStyle>
            <a:lvl1pPr>
              <a:defRPr>
                <a:solidFill>
                  <a:schemeClr val="bg1"/>
                </a:solidFill>
                <a:latin typeface="Century Gothic" panose="020B0502020202020204" pitchFamily="34" charset="0"/>
              </a:defRPr>
            </a:lvl1pPr>
          </a:lstStyle>
          <a:p>
            <a:r>
              <a:rPr lang="en-US"/>
              <a:t>Click icon to add picture</a:t>
            </a:r>
            <a:endParaRPr lang="ru-RU"/>
          </a:p>
        </p:txBody>
      </p:sp>
      <p:pic>
        <p:nvPicPr>
          <p:cNvPr id="6" name="Graphic 5">
            <a:extLst>
              <a:ext uri="{FF2B5EF4-FFF2-40B4-BE49-F238E27FC236}">
                <a16:creationId xmlns:a16="http://schemas.microsoft.com/office/drawing/2014/main" id="{2930B4C9-DB67-4F49-879D-B1ED7C3C60A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48341" y="348749"/>
            <a:ext cx="1856143" cy="1613138"/>
          </a:xfrm>
          <a:prstGeom prst="rect">
            <a:avLst/>
          </a:prstGeom>
        </p:spPr>
      </p:pic>
      <p:graphicFrame>
        <p:nvGraphicFramePr>
          <p:cNvPr id="8" name="Object 7" hidden="1">
            <a:extLst>
              <a:ext uri="{FF2B5EF4-FFF2-40B4-BE49-F238E27FC236}">
                <a16:creationId xmlns:a16="http://schemas.microsoft.com/office/drawing/2014/main" id="{82F0D3B3-FB4D-45BC-BE2E-E0ACC1635A4F}"/>
              </a:ext>
            </a:extLst>
          </p:cNvPr>
          <p:cNvGraphicFramePr>
            <a:graphicFrameLocks noChangeAspect="1"/>
          </p:cNvGraphicFramePr>
          <p:nvPr>
            <p:custDataLst>
              <p:tags r:id="rId1"/>
            </p:custDataLst>
            <p:extLst>
              <p:ext uri="{D42A27DB-BD31-4B8C-83A1-F6EECF244321}">
                <p14:modId xmlns:p14="http://schemas.microsoft.com/office/powerpoint/2010/main" val="25635096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7" imgH="348" progId="TCLayout.ActiveDocument.1">
                  <p:embed/>
                </p:oleObj>
              </mc:Choice>
              <mc:Fallback>
                <p:oleObj name="think-cell Slide" r:id="rId6" imgW="347" imgH="348" progId="TCLayout.ActiveDocument.1">
                  <p:embed/>
                  <p:pic>
                    <p:nvPicPr>
                      <p:cNvPr id="8" name="Object 7" hidden="1">
                        <a:extLst>
                          <a:ext uri="{FF2B5EF4-FFF2-40B4-BE49-F238E27FC236}">
                            <a16:creationId xmlns:a16="http://schemas.microsoft.com/office/drawing/2014/main" id="{82F0D3B3-FB4D-45BC-BE2E-E0ACC1635A4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0D406DB-41A2-4933-86A0-0828F55DE1B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3600" b="1" i="0" baseline="0">
              <a:latin typeface="Century Gothic" panose="020B0502020202020204" pitchFamily="34" charset="0"/>
              <a:ea typeface="+mj-ea"/>
              <a:cs typeface="+mj-cs"/>
              <a:sym typeface="Century Gothic" panose="020B0502020202020204" pitchFamily="34" charset="0"/>
            </a:endParaRPr>
          </a:p>
        </p:txBody>
      </p:sp>
      <p:pic>
        <p:nvPicPr>
          <p:cNvPr id="5" name="Graphic 4">
            <a:extLst>
              <a:ext uri="{FF2B5EF4-FFF2-40B4-BE49-F238E27FC236}">
                <a16:creationId xmlns:a16="http://schemas.microsoft.com/office/drawing/2014/main" id="{3E561662-0D0B-4AED-AB04-D1AE3501D593}"/>
              </a:ext>
            </a:extLst>
          </p:cNvPr>
          <p:cNvPicPr>
            <a:picLocks noChangeAspect="1"/>
          </p:cNvPicPr>
          <p:nvPr/>
        </p:nvPicPr>
        <p:blipFill rotWithShape="1">
          <a:blip r:embed="rId8">
            <a:extLst>
              <a:ext uri="{96DAC541-7B7A-43D3-8B79-37D633B846F1}">
                <asvg:svgBlip xmlns:asvg="http://schemas.microsoft.com/office/drawing/2016/SVG/main" r:embed="rId9"/>
              </a:ext>
            </a:extLst>
          </a:blip>
          <a:srcRect l="-39" t="12642" r="50000" b="14589"/>
          <a:stretch/>
        </p:blipFill>
        <p:spPr>
          <a:xfrm>
            <a:off x="5499100" y="348749"/>
            <a:ext cx="6692900" cy="6509251"/>
          </a:xfrm>
          <a:prstGeom prst="rect">
            <a:avLst/>
          </a:prstGeom>
        </p:spPr>
      </p:pic>
      <p:sp>
        <p:nvSpPr>
          <p:cNvPr id="15" name="Title 1">
            <a:extLst>
              <a:ext uri="{FF2B5EF4-FFF2-40B4-BE49-F238E27FC236}">
                <a16:creationId xmlns:a16="http://schemas.microsoft.com/office/drawing/2014/main" id="{4C412A92-9519-4519-A789-640A2F67C6AB}"/>
              </a:ext>
            </a:extLst>
          </p:cNvPr>
          <p:cNvSpPr>
            <a:spLocks noGrp="1"/>
          </p:cNvSpPr>
          <p:nvPr>
            <p:ph type="ctrTitle" hasCustomPrompt="1"/>
          </p:nvPr>
        </p:nvSpPr>
        <p:spPr>
          <a:xfrm>
            <a:off x="348343" y="3880691"/>
            <a:ext cx="4642757" cy="1801524"/>
          </a:xfrm>
        </p:spPr>
        <p:txBody>
          <a:bodyPr vert="horz" anchor="b">
            <a:noAutofit/>
          </a:bodyPr>
          <a:lstStyle>
            <a:lvl1pPr algn="l">
              <a:defRPr sz="3600">
                <a:solidFill>
                  <a:srgbClr val="004876"/>
                </a:solidFill>
                <a:latin typeface="Century Gothic" panose="020B0502020202020204" pitchFamily="34" charset="0"/>
              </a:defRPr>
            </a:lvl1pPr>
          </a:lstStyle>
          <a:p>
            <a:r>
              <a:rPr lang="en-US" noProof="0"/>
              <a:t>Click to edit master title style</a:t>
            </a:r>
          </a:p>
        </p:txBody>
      </p:sp>
      <p:sp>
        <p:nvSpPr>
          <p:cNvPr id="16" name="Subtitle 2">
            <a:extLst>
              <a:ext uri="{FF2B5EF4-FFF2-40B4-BE49-F238E27FC236}">
                <a16:creationId xmlns:a16="http://schemas.microsoft.com/office/drawing/2014/main" id="{3521ED30-FE02-4A6F-8451-4CBC28F63926}"/>
              </a:ext>
            </a:extLst>
          </p:cNvPr>
          <p:cNvSpPr>
            <a:spLocks noGrp="1"/>
          </p:cNvSpPr>
          <p:nvPr>
            <p:ph type="subTitle" idx="1" hasCustomPrompt="1"/>
          </p:nvPr>
        </p:nvSpPr>
        <p:spPr>
          <a:xfrm>
            <a:off x="348341" y="5769039"/>
            <a:ext cx="4642757" cy="349250"/>
          </a:xfrm>
        </p:spPr>
        <p:txBody>
          <a:bodyPr lIns="0" tIns="0" rIns="0" bIns="0" anchor="ctr">
            <a:noAutofit/>
          </a:bodyPr>
          <a:lstStyle>
            <a:lvl1pPr marL="0" indent="0" algn="l">
              <a:buNone/>
              <a:defRPr sz="2000">
                <a:solidFill>
                  <a:srgbClr val="00A5B5"/>
                </a:solidFill>
                <a:latin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spTree>
    <p:extLst>
      <p:ext uri="{BB962C8B-B14F-4D97-AF65-F5344CB8AC3E}">
        <p14:creationId xmlns:p14="http://schemas.microsoft.com/office/powerpoint/2010/main" val="2039704552"/>
      </p:ext>
    </p:extLst>
  </p:cSld>
  <p:clrMapOvr>
    <a:masterClrMapping/>
  </p:clrMapOvr>
  <p:hf hdr="0" dt="0"/>
  <p:extLst>
    <p:ext uri="{DCECCB84-F9BA-43D5-87BE-67443E8EF086}">
      <p15:sldGuideLst xmlns:p15="http://schemas.microsoft.com/office/powerpoint/2012/main">
        <p15:guide id="2" orient="horz" pos="674">
          <p15:clr>
            <a:srgbClr val="FBAE40"/>
          </p15:clr>
        </p15:guide>
        <p15:guide id="3" pos="4806">
          <p15:clr>
            <a:srgbClr val="FBAE40"/>
          </p15:clr>
        </p15:guide>
        <p15:guide id="4" pos="558">
          <p15:clr>
            <a:srgbClr val="FBAE40"/>
          </p15:clr>
        </p15:guide>
        <p15:guide id="7" orient="horz" pos="1064">
          <p15:clr>
            <a:srgbClr val="FBAE40"/>
          </p15:clr>
        </p15:guide>
        <p15:guide id="8" orient="horz" pos="257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4_Title Slide (Pictur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2F0D3B3-FB4D-45BC-BE2E-E0ACC1635A4F}"/>
              </a:ext>
            </a:extLst>
          </p:cNvPr>
          <p:cNvGraphicFramePr>
            <a:graphicFrameLocks noChangeAspect="1"/>
          </p:cNvGraphicFramePr>
          <p:nvPr>
            <p:custDataLst>
              <p:tags r:id="rId1"/>
            </p:custDataLst>
            <p:extLst>
              <p:ext uri="{D42A27DB-BD31-4B8C-83A1-F6EECF244321}">
                <p14:modId xmlns:p14="http://schemas.microsoft.com/office/powerpoint/2010/main" val="14924482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8" name="Object 7" hidden="1">
                        <a:extLst>
                          <a:ext uri="{FF2B5EF4-FFF2-40B4-BE49-F238E27FC236}">
                            <a16:creationId xmlns:a16="http://schemas.microsoft.com/office/drawing/2014/main" id="{82F0D3B3-FB4D-45BC-BE2E-E0ACC1635A4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0D406DB-41A2-4933-86A0-0828F55DE1B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3600" b="1" i="0" baseline="0">
              <a:latin typeface="Century Gothic" panose="020B0502020202020204" pitchFamily="34" charset="0"/>
              <a:ea typeface="+mj-ea"/>
              <a:cs typeface="+mj-cs"/>
              <a:sym typeface="Century Gothic" panose="020B0502020202020204" pitchFamily="34" charset="0"/>
            </a:endParaRPr>
          </a:p>
        </p:txBody>
      </p:sp>
      <p:sp>
        <p:nvSpPr>
          <p:cNvPr id="2" name="Title 1">
            <a:extLst>
              <a:ext uri="{FF2B5EF4-FFF2-40B4-BE49-F238E27FC236}">
                <a16:creationId xmlns:a16="http://schemas.microsoft.com/office/drawing/2014/main" id="{08AF85F3-5290-4EBA-8B8A-DB6A01B381A6}"/>
              </a:ext>
            </a:extLst>
          </p:cNvPr>
          <p:cNvSpPr>
            <a:spLocks noGrp="1"/>
          </p:cNvSpPr>
          <p:nvPr>
            <p:ph type="ctrTitle" hasCustomPrompt="1"/>
          </p:nvPr>
        </p:nvSpPr>
        <p:spPr>
          <a:xfrm>
            <a:off x="348343" y="3880691"/>
            <a:ext cx="4642757" cy="1801524"/>
          </a:xfrm>
        </p:spPr>
        <p:txBody>
          <a:bodyPr vert="horz" anchor="b">
            <a:noAutofit/>
          </a:bodyPr>
          <a:lstStyle>
            <a:lvl1pPr algn="l">
              <a:defRPr sz="3600">
                <a:solidFill>
                  <a:srgbClr val="004876"/>
                </a:solidFill>
              </a:defRPr>
            </a:lvl1pPr>
          </a:lstStyle>
          <a:p>
            <a:r>
              <a:rPr lang="en-US" noProof="0"/>
              <a:t>Click to edit master title style</a:t>
            </a:r>
          </a:p>
        </p:txBody>
      </p:sp>
      <p:sp>
        <p:nvSpPr>
          <p:cNvPr id="3" name="Subtitle 2">
            <a:extLst>
              <a:ext uri="{FF2B5EF4-FFF2-40B4-BE49-F238E27FC236}">
                <a16:creationId xmlns:a16="http://schemas.microsoft.com/office/drawing/2014/main" id="{FC3B1678-8578-485B-ABDD-36D8CF73E2D8}"/>
              </a:ext>
            </a:extLst>
          </p:cNvPr>
          <p:cNvSpPr>
            <a:spLocks noGrp="1"/>
          </p:cNvSpPr>
          <p:nvPr>
            <p:ph type="subTitle" idx="1" hasCustomPrompt="1"/>
          </p:nvPr>
        </p:nvSpPr>
        <p:spPr>
          <a:xfrm>
            <a:off x="348341" y="5769039"/>
            <a:ext cx="4642757" cy="349250"/>
          </a:xfrm>
        </p:spPr>
        <p:txBody>
          <a:bodyPr lIns="0" tIns="0" rIns="0" bIns="0" anchor="ctr">
            <a:noAutofit/>
          </a:bodyPr>
          <a:lstStyle>
            <a:lvl1pPr marL="0" indent="0" algn="l">
              <a:buNone/>
              <a:defRPr sz="2000">
                <a:solidFill>
                  <a:srgbClr val="00A5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pic>
        <p:nvPicPr>
          <p:cNvPr id="18" name="Graphic 17">
            <a:extLst>
              <a:ext uri="{FF2B5EF4-FFF2-40B4-BE49-F238E27FC236}">
                <a16:creationId xmlns:a16="http://schemas.microsoft.com/office/drawing/2014/main" id="{453431A5-3B3A-4BB8-A6CF-ED829DDA1E4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48341" y="348749"/>
            <a:ext cx="1856143" cy="1613138"/>
          </a:xfrm>
          <a:prstGeom prst="rect">
            <a:avLst/>
          </a:prstGeom>
        </p:spPr>
      </p:pic>
      <p:sp>
        <p:nvSpPr>
          <p:cNvPr id="20" name="Picture Placeholder 19">
            <a:extLst>
              <a:ext uri="{FF2B5EF4-FFF2-40B4-BE49-F238E27FC236}">
                <a16:creationId xmlns:a16="http://schemas.microsoft.com/office/drawing/2014/main" id="{35B2A1FE-43F6-4703-98F1-2A236BD026C9}"/>
              </a:ext>
            </a:extLst>
          </p:cNvPr>
          <p:cNvSpPr>
            <a:spLocks noGrp="1"/>
          </p:cNvSpPr>
          <p:nvPr>
            <p:ph type="pic" sz="quarter" idx="10"/>
          </p:nvPr>
        </p:nvSpPr>
        <p:spPr>
          <a:xfrm>
            <a:off x="5499095" y="0"/>
            <a:ext cx="6692905" cy="6858000"/>
          </a:xfrm>
          <a:solidFill>
            <a:srgbClr val="004876"/>
          </a:solidFill>
        </p:spPr>
        <p:txBody>
          <a:bodyPr/>
          <a:lstStyle/>
          <a:p>
            <a:r>
              <a:rPr lang="en-US"/>
              <a:t>Click icon to add picture</a:t>
            </a:r>
            <a:endParaRPr lang="ru-RU"/>
          </a:p>
        </p:txBody>
      </p:sp>
    </p:spTree>
    <p:extLst>
      <p:ext uri="{BB962C8B-B14F-4D97-AF65-F5344CB8AC3E}">
        <p14:creationId xmlns:p14="http://schemas.microsoft.com/office/powerpoint/2010/main" val="2493880695"/>
      </p:ext>
    </p:extLst>
  </p:cSld>
  <p:clrMapOvr>
    <a:masterClrMapping/>
  </p:clrMapOvr>
  <p:hf hdr="0" dt="0"/>
  <p:extLst>
    <p:ext uri="{DCECCB84-F9BA-43D5-87BE-67443E8EF086}">
      <p15:sldGuideLst xmlns:p15="http://schemas.microsoft.com/office/powerpoint/2012/main">
        <p15:guide id="2" orient="horz" pos="674">
          <p15:clr>
            <a:srgbClr val="FBAE40"/>
          </p15:clr>
        </p15:guide>
        <p15:guide id="3" pos="4806">
          <p15:clr>
            <a:srgbClr val="FBAE40"/>
          </p15:clr>
        </p15:guide>
        <p15:guide id="4" pos="558">
          <p15:clr>
            <a:srgbClr val="FBAE40"/>
          </p15:clr>
        </p15:guide>
        <p15:guide id="7" orient="horz" pos="1064">
          <p15:clr>
            <a:srgbClr val="FBAE40"/>
          </p15:clr>
        </p15:guide>
        <p15:guide id="8" orient="horz" pos="2570">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2F0D3B3-FB4D-45BC-BE2E-E0ACC1635A4F}"/>
              </a:ext>
            </a:extLst>
          </p:cNvPr>
          <p:cNvGraphicFramePr>
            <a:graphicFrameLocks noChangeAspect="1"/>
          </p:cNvGraphicFramePr>
          <p:nvPr>
            <p:custDataLst>
              <p:tags r:id="rId1"/>
            </p:custDataLst>
            <p:extLst>
              <p:ext uri="{D42A27DB-BD31-4B8C-83A1-F6EECF244321}">
                <p14:modId xmlns:p14="http://schemas.microsoft.com/office/powerpoint/2010/main" val="39025466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8" name="Object 7" hidden="1">
                        <a:extLst>
                          <a:ext uri="{FF2B5EF4-FFF2-40B4-BE49-F238E27FC236}">
                            <a16:creationId xmlns:a16="http://schemas.microsoft.com/office/drawing/2014/main" id="{82F0D3B3-FB4D-45BC-BE2E-E0ACC1635A4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0D406DB-41A2-4933-86A0-0828F55DE1B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6000" b="0" i="0" baseline="0">
              <a:latin typeface="Verdana" panose="020B0604030504040204" pitchFamily="34" charset="0"/>
              <a:ea typeface="+mj-ea"/>
              <a:cs typeface="+mj-cs"/>
              <a:sym typeface="Museo Sans 100"/>
            </a:endParaRPr>
          </a:p>
        </p:txBody>
      </p:sp>
      <p:sp>
        <p:nvSpPr>
          <p:cNvPr id="3" name="Subtitle 2">
            <a:extLst>
              <a:ext uri="{FF2B5EF4-FFF2-40B4-BE49-F238E27FC236}">
                <a16:creationId xmlns:a16="http://schemas.microsoft.com/office/drawing/2014/main" id="{FC3B1678-8578-485B-ABDD-36D8CF73E2D8}"/>
              </a:ext>
            </a:extLst>
          </p:cNvPr>
          <p:cNvSpPr>
            <a:spLocks noGrp="1"/>
          </p:cNvSpPr>
          <p:nvPr>
            <p:ph type="subTitle" idx="1" hasCustomPrompt="1"/>
          </p:nvPr>
        </p:nvSpPr>
        <p:spPr>
          <a:xfrm>
            <a:off x="885669" y="1069975"/>
            <a:ext cx="6741080" cy="349250"/>
          </a:xfrm>
        </p:spPr>
        <p:txBody>
          <a:bodyPr lIns="0" tIns="0" rIns="0" bIns="0">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sp>
        <p:nvSpPr>
          <p:cNvPr id="10" name="Title 1">
            <a:extLst>
              <a:ext uri="{FF2B5EF4-FFF2-40B4-BE49-F238E27FC236}">
                <a16:creationId xmlns:a16="http://schemas.microsoft.com/office/drawing/2014/main" id="{FEBB6DFB-8795-4A35-B6E9-764C4B0B3556}"/>
              </a:ext>
            </a:extLst>
          </p:cNvPr>
          <p:cNvSpPr>
            <a:spLocks noGrp="1"/>
          </p:cNvSpPr>
          <p:nvPr>
            <p:ph type="ctrTitle" idx="4294967295"/>
          </p:nvPr>
        </p:nvSpPr>
        <p:spPr>
          <a:xfrm>
            <a:off x="885668" y="1691464"/>
            <a:ext cx="6741079" cy="2387600"/>
          </a:xfrm>
        </p:spPr>
        <p:txBody>
          <a:bodyPr>
            <a:noAutofit/>
          </a:bodyPr>
          <a:lstStyle>
            <a:lvl1pPr>
              <a:defRPr sz="3600"/>
            </a:lvl1pPr>
          </a:lstStyle>
          <a:p>
            <a:r>
              <a:rPr lang="en-US" noProof="0"/>
              <a:t>Click to edit Master title style</a:t>
            </a:r>
          </a:p>
        </p:txBody>
      </p:sp>
    </p:spTree>
    <p:extLst>
      <p:ext uri="{BB962C8B-B14F-4D97-AF65-F5344CB8AC3E}">
        <p14:creationId xmlns:p14="http://schemas.microsoft.com/office/powerpoint/2010/main" val="3413377900"/>
      </p:ext>
    </p:extLst>
  </p:cSld>
  <p:clrMapOvr>
    <a:masterClrMapping/>
  </p:clrMapOvr>
  <p:extLst>
    <p:ext uri="{DCECCB84-F9BA-43D5-87BE-67443E8EF086}">
      <p15:sldGuideLst xmlns:p15="http://schemas.microsoft.com/office/powerpoint/2012/main">
        <p15:guide id="1" pos="558">
          <p15:clr>
            <a:srgbClr val="FBAE40"/>
          </p15:clr>
        </p15:guide>
        <p15:guide id="2" pos="4804">
          <p15:clr>
            <a:srgbClr val="FBAE40"/>
          </p15:clr>
        </p15:guide>
        <p15:guide id="4" orient="horz" pos="113">
          <p15:clr>
            <a:srgbClr val="FBAE40"/>
          </p15:clr>
        </p15:guide>
        <p15:guide id="5" orient="horz" pos="674">
          <p15:clr>
            <a:srgbClr val="FBAE40"/>
          </p15:clr>
        </p15:guide>
        <p15:guide id="6" orient="horz" pos="2568">
          <p15:clr>
            <a:srgbClr val="FBAE40"/>
          </p15:clr>
        </p15:guide>
        <p15:guide id="7" orient="horz" pos="2160">
          <p15:clr>
            <a:srgbClr val="FBAE40"/>
          </p15:clr>
        </p15:guide>
        <p15:guide id="8" orient="horz" pos="1062">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11_Title Slide (Picture)">
    <p:bg>
      <p:bgPr>
        <a:solidFill>
          <a:schemeClr val="bg2"/>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2F0D3B3-FB4D-45BC-BE2E-E0ACC1635A4F}"/>
              </a:ext>
            </a:extLst>
          </p:cNvPr>
          <p:cNvGraphicFramePr>
            <a:graphicFrameLocks noChangeAspect="1"/>
          </p:cNvGraphicFramePr>
          <p:nvPr>
            <p:custDataLst>
              <p:tags r:id="rId1"/>
            </p:custDataLst>
            <p:extLst>
              <p:ext uri="{D42A27DB-BD31-4B8C-83A1-F6EECF244321}">
                <p14:modId xmlns:p14="http://schemas.microsoft.com/office/powerpoint/2010/main" val="18531102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8" name="Object 7" hidden="1">
                        <a:extLst>
                          <a:ext uri="{FF2B5EF4-FFF2-40B4-BE49-F238E27FC236}">
                            <a16:creationId xmlns:a16="http://schemas.microsoft.com/office/drawing/2014/main" id="{82F0D3B3-FB4D-45BC-BE2E-E0ACC1635A4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0D406DB-41A2-4933-86A0-0828F55DE1B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6000" b="1" i="0" baseline="0">
              <a:latin typeface="Inter" panose="020B0502030000000004" pitchFamily="34" charset="0"/>
              <a:ea typeface="Inter" panose="020B0502030000000004" pitchFamily="34" charset="0"/>
              <a:cs typeface="Inter" panose="020B0502030000000004" pitchFamily="34" charset="0"/>
              <a:sym typeface="Inter" panose="020B0502030000000004" pitchFamily="34" charset="0"/>
            </a:endParaRPr>
          </a:p>
        </p:txBody>
      </p:sp>
      <p:sp>
        <p:nvSpPr>
          <p:cNvPr id="9" name="Picture Placeholder 8">
            <a:extLst>
              <a:ext uri="{FF2B5EF4-FFF2-40B4-BE49-F238E27FC236}">
                <a16:creationId xmlns:a16="http://schemas.microsoft.com/office/drawing/2014/main" id="{172DCD42-D661-4A77-A320-C376CF432C6C}"/>
              </a:ext>
            </a:extLst>
          </p:cNvPr>
          <p:cNvSpPr>
            <a:spLocks noGrp="1"/>
          </p:cNvSpPr>
          <p:nvPr>
            <p:ph type="pic" sz="quarter" idx="10"/>
          </p:nvPr>
        </p:nvSpPr>
        <p:spPr>
          <a:xfrm>
            <a:off x="0" y="0"/>
            <a:ext cx="12192000" cy="6858000"/>
          </a:xfrm>
        </p:spPr>
        <p:txBody>
          <a:bodyPr/>
          <a:lstStyle/>
          <a:p>
            <a:r>
              <a:rPr lang="en-US"/>
              <a:t>Click icon to add picture</a:t>
            </a:r>
            <a:endParaRPr lang="de-DE"/>
          </a:p>
        </p:txBody>
      </p:sp>
      <p:sp>
        <p:nvSpPr>
          <p:cNvPr id="2" name="Title 1">
            <a:extLst>
              <a:ext uri="{FF2B5EF4-FFF2-40B4-BE49-F238E27FC236}">
                <a16:creationId xmlns:a16="http://schemas.microsoft.com/office/drawing/2014/main" id="{08AF85F3-5290-4EBA-8B8A-DB6A01B381A6}"/>
              </a:ext>
            </a:extLst>
          </p:cNvPr>
          <p:cNvSpPr>
            <a:spLocks noGrp="1"/>
          </p:cNvSpPr>
          <p:nvPr>
            <p:ph type="ctrTitle" hasCustomPrompt="1"/>
          </p:nvPr>
        </p:nvSpPr>
        <p:spPr>
          <a:xfrm>
            <a:off x="822168" y="2044699"/>
            <a:ext cx="6741079" cy="2390775"/>
          </a:xfrm>
        </p:spPr>
        <p:txBody>
          <a:bodyPr vert="horz" anchor="t">
            <a:noAutofit/>
          </a:bodyPr>
          <a:lstStyle>
            <a:lvl1pPr algn="l">
              <a:defRPr sz="5400">
                <a:solidFill>
                  <a:schemeClr val="bg2"/>
                </a:solidFill>
              </a:defRPr>
            </a:lvl1pPr>
          </a:lstStyle>
          <a:p>
            <a:r>
              <a:rPr lang="en-US" noProof="0"/>
              <a:t>Click to edit master title style</a:t>
            </a:r>
          </a:p>
        </p:txBody>
      </p:sp>
      <p:sp>
        <p:nvSpPr>
          <p:cNvPr id="3" name="Subtitle 2">
            <a:extLst>
              <a:ext uri="{FF2B5EF4-FFF2-40B4-BE49-F238E27FC236}">
                <a16:creationId xmlns:a16="http://schemas.microsoft.com/office/drawing/2014/main" id="{FC3B1678-8578-485B-ABDD-36D8CF73E2D8}"/>
              </a:ext>
            </a:extLst>
          </p:cNvPr>
          <p:cNvSpPr>
            <a:spLocks noGrp="1"/>
          </p:cNvSpPr>
          <p:nvPr>
            <p:ph type="subTitle" idx="1" hasCustomPrompt="1"/>
          </p:nvPr>
        </p:nvSpPr>
        <p:spPr>
          <a:xfrm>
            <a:off x="822169" y="1425575"/>
            <a:ext cx="6741079" cy="349250"/>
          </a:xfrm>
        </p:spPr>
        <p:txBody>
          <a:bodyPr lIns="0" tIns="0" rIns="0" bIns="0">
            <a:noAutofit/>
          </a:bodyPr>
          <a:lstStyle>
            <a:lvl1pPr marL="0" indent="0" algn="l">
              <a:buNone/>
              <a:defRPr sz="200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spTree>
    <p:extLst>
      <p:ext uri="{BB962C8B-B14F-4D97-AF65-F5344CB8AC3E}">
        <p14:creationId xmlns:p14="http://schemas.microsoft.com/office/powerpoint/2010/main" val="1757579479"/>
      </p:ext>
    </p:extLst>
  </p:cSld>
  <p:clrMapOvr>
    <a:masterClrMapping/>
  </p:clrMapOvr>
  <p:extLst>
    <p:ext uri="{DCECCB84-F9BA-43D5-87BE-67443E8EF086}">
      <p15:sldGuideLst xmlns:p15="http://schemas.microsoft.com/office/powerpoint/2012/main">
        <p15:guide id="2" orient="horz" pos="674">
          <p15:clr>
            <a:srgbClr val="FBAE40"/>
          </p15:clr>
        </p15:guide>
        <p15:guide id="3" pos="4806">
          <p15:clr>
            <a:srgbClr val="FBAE40"/>
          </p15:clr>
        </p15:guide>
        <p15:guide id="4" pos="558">
          <p15:clr>
            <a:srgbClr val="FBAE40"/>
          </p15:clr>
        </p15:guide>
        <p15:guide id="7" orient="horz" pos="1064">
          <p15:clr>
            <a:srgbClr val="FBAE40"/>
          </p15:clr>
        </p15:guide>
        <p15:guide id="8" orient="horz" pos="2570">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type="title" preserve="1">
  <p:cSld name="Section Header">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2F0D3B3-FB4D-45BC-BE2E-E0ACC1635A4F}"/>
              </a:ext>
            </a:extLst>
          </p:cNvPr>
          <p:cNvGraphicFramePr>
            <a:graphicFrameLocks noChangeAspect="1"/>
          </p:cNvGraphicFramePr>
          <p:nvPr>
            <p:custDataLst>
              <p:tags r:id="rId1"/>
            </p:custDataLst>
            <p:extLst>
              <p:ext uri="{D42A27DB-BD31-4B8C-83A1-F6EECF244321}">
                <p14:modId xmlns:p14="http://schemas.microsoft.com/office/powerpoint/2010/main" val="9022091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8" name="Object 7" hidden="1">
                        <a:extLst>
                          <a:ext uri="{FF2B5EF4-FFF2-40B4-BE49-F238E27FC236}">
                            <a16:creationId xmlns:a16="http://schemas.microsoft.com/office/drawing/2014/main" id="{82F0D3B3-FB4D-45BC-BE2E-E0ACC1635A4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0D406DB-41A2-4933-86A0-0828F55DE1B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6000" b="0" i="0" baseline="0">
              <a:latin typeface="Verdana" panose="020B0604030504040204" pitchFamily="34" charset="0"/>
              <a:ea typeface="+mj-ea"/>
              <a:cs typeface="+mj-cs"/>
              <a:sym typeface="Museo Sans 100"/>
            </a:endParaRPr>
          </a:p>
        </p:txBody>
      </p:sp>
      <p:sp>
        <p:nvSpPr>
          <p:cNvPr id="2" name="Title 1">
            <a:extLst>
              <a:ext uri="{FF2B5EF4-FFF2-40B4-BE49-F238E27FC236}">
                <a16:creationId xmlns:a16="http://schemas.microsoft.com/office/drawing/2014/main" id="{08AF85F3-5290-4EBA-8B8A-DB6A01B381A6}"/>
              </a:ext>
            </a:extLst>
          </p:cNvPr>
          <p:cNvSpPr>
            <a:spLocks noGrp="1"/>
          </p:cNvSpPr>
          <p:nvPr>
            <p:ph type="ctrTitle" hasCustomPrompt="1"/>
          </p:nvPr>
        </p:nvSpPr>
        <p:spPr>
          <a:xfrm>
            <a:off x="885668" y="1689100"/>
            <a:ext cx="6741079" cy="2389964"/>
          </a:xfrm>
        </p:spPr>
        <p:txBody>
          <a:bodyPr vert="horz" lIns="0" tIns="0" rIns="0" bIns="0" anchor="t">
            <a:noAutofit/>
          </a:bodyPr>
          <a:lstStyle>
            <a:lvl1pPr algn="l">
              <a:defRPr sz="5400"/>
            </a:lvl1pPr>
          </a:lstStyle>
          <a:p>
            <a:r>
              <a:rPr lang="en-US" noProof="0"/>
              <a:t>Click to edit master title style</a:t>
            </a:r>
          </a:p>
        </p:txBody>
      </p:sp>
      <p:sp>
        <p:nvSpPr>
          <p:cNvPr id="3" name="Subtitle 2">
            <a:extLst>
              <a:ext uri="{FF2B5EF4-FFF2-40B4-BE49-F238E27FC236}">
                <a16:creationId xmlns:a16="http://schemas.microsoft.com/office/drawing/2014/main" id="{FC3B1678-8578-485B-ABDD-36D8CF73E2D8}"/>
              </a:ext>
            </a:extLst>
          </p:cNvPr>
          <p:cNvSpPr>
            <a:spLocks noGrp="1"/>
          </p:cNvSpPr>
          <p:nvPr>
            <p:ph type="subTitle" idx="1" hasCustomPrompt="1"/>
          </p:nvPr>
        </p:nvSpPr>
        <p:spPr>
          <a:xfrm>
            <a:off x="885669" y="1069975"/>
            <a:ext cx="6741079" cy="349250"/>
          </a:xfrm>
        </p:spPr>
        <p:txBody>
          <a:bodyPr lIns="0" tIns="0" rIns="0" bIns="0">
            <a:noAutofit/>
          </a:bodyPr>
          <a:lstStyle>
            <a:lvl1pPr marL="0" indent="0" algn="l">
              <a:buNone/>
              <a:defRPr sz="2000">
                <a:solidFill>
                  <a:schemeClr val="tx2">
                    <a:lumMod val="10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sp>
        <p:nvSpPr>
          <p:cNvPr id="6" name="Slide Number Placeholder 5">
            <a:extLst>
              <a:ext uri="{FF2B5EF4-FFF2-40B4-BE49-F238E27FC236}">
                <a16:creationId xmlns:a16="http://schemas.microsoft.com/office/drawing/2014/main" id="{9346F278-8B8A-4874-AB9B-D1092252AB25}"/>
              </a:ext>
            </a:extLst>
          </p:cNvPr>
          <p:cNvSpPr>
            <a:spLocks noGrp="1"/>
          </p:cNvSpPr>
          <p:nvPr>
            <p:ph type="sldNum" sz="quarter" idx="12"/>
          </p:nvPr>
        </p:nvSpPr>
        <p:spPr/>
        <p:txBody>
          <a:bodyPr lIns="0" tIns="0" rIns="0" bIns="0"/>
          <a:lstStyle/>
          <a:p>
            <a:fld id="{ABB6D191-819E-455F-BC39-F2381519C0C1}" type="slidenum">
              <a:rPr lang="en-US" noProof="0" smtClean="0"/>
              <a:t>‹#›</a:t>
            </a:fld>
            <a:endParaRPr lang="en-US" noProof="0"/>
          </a:p>
        </p:txBody>
      </p:sp>
    </p:spTree>
    <p:extLst>
      <p:ext uri="{BB962C8B-B14F-4D97-AF65-F5344CB8AC3E}">
        <p14:creationId xmlns:p14="http://schemas.microsoft.com/office/powerpoint/2010/main" val="3549279531"/>
      </p:ext>
    </p:extLst>
  </p:cSld>
  <p:clrMapOvr>
    <a:masterClrMapping/>
  </p:clrMapOvr>
  <p:extLst>
    <p:ext uri="{DCECCB84-F9BA-43D5-87BE-67443E8EF086}">
      <p15:sldGuideLst xmlns:p15="http://schemas.microsoft.com/office/powerpoint/2012/main">
        <p15:guide id="1" orient="horz" pos="1064">
          <p15:clr>
            <a:srgbClr val="FBAE40"/>
          </p15:clr>
        </p15:guide>
        <p15:guide id="2" orient="horz" pos="674">
          <p15:clr>
            <a:srgbClr val="FBAE40"/>
          </p15:clr>
        </p15:guide>
        <p15:guide id="3" pos="4805">
          <p15:clr>
            <a:srgbClr val="FBAE40"/>
          </p15:clr>
        </p15:guide>
        <p15:guide id="4" pos="558">
          <p15:clr>
            <a:srgbClr val="FBAE40"/>
          </p15:clr>
        </p15:guide>
        <p15:guide id="5" orient="horz" pos="2570">
          <p15:clr>
            <a:srgbClr val="FBAE40"/>
          </p15:clr>
        </p15:guide>
        <p15:guide id="6" orient="horz" pos="3969">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Section Header (Blue 1)">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2F0D3B3-FB4D-45BC-BE2E-E0ACC1635A4F}"/>
              </a:ext>
            </a:extLst>
          </p:cNvPr>
          <p:cNvGraphicFramePr>
            <a:graphicFrameLocks noChangeAspect="1"/>
          </p:cNvGraphicFramePr>
          <p:nvPr>
            <p:custDataLst>
              <p:tags r:id="rId1"/>
            </p:custDataLst>
            <p:extLst>
              <p:ext uri="{D42A27DB-BD31-4B8C-83A1-F6EECF244321}">
                <p14:modId xmlns:p14="http://schemas.microsoft.com/office/powerpoint/2010/main" val="21511281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8" name="Object 7" hidden="1">
                        <a:extLst>
                          <a:ext uri="{FF2B5EF4-FFF2-40B4-BE49-F238E27FC236}">
                            <a16:creationId xmlns:a16="http://schemas.microsoft.com/office/drawing/2014/main" id="{82F0D3B3-FB4D-45BC-BE2E-E0ACC1635A4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0D406DB-41A2-4933-86A0-0828F55DE1B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6000" b="0" i="0" baseline="0">
              <a:latin typeface="Verdana" panose="020B0604030504040204" pitchFamily="34" charset="0"/>
              <a:ea typeface="+mj-ea"/>
              <a:cs typeface="+mj-cs"/>
              <a:sym typeface="Museo Sans 100"/>
            </a:endParaRPr>
          </a:p>
        </p:txBody>
      </p:sp>
      <p:sp>
        <p:nvSpPr>
          <p:cNvPr id="10" name="Rectangle 9">
            <a:extLst>
              <a:ext uri="{FF2B5EF4-FFF2-40B4-BE49-F238E27FC236}">
                <a16:creationId xmlns:a16="http://schemas.microsoft.com/office/drawing/2014/main" id="{F92D6356-6339-48B3-8B32-2E2AEE29EDEF}"/>
              </a:ext>
            </a:extLst>
          </p:cNvPr>
          <p:cNvSpPr/>
          <p:nvPr/>
        </p:nvSpPr>
        <p:spPr>
          <a:xfrm>
            <a:off x="382385" y="540000"/>
            <a:ext cx="11427232" cy="5398838"/>
          </a:xfrm>
          <a:prstGeom prst="rect">
            <a:avLst/>
          </a:prstGeom>
          <a:solidFill>
            <a:schemeClr val="tx2">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r"/>
            <a:endParaRPr lang="en-US" sz="3600" b="1" noProof="0">
              <a:solidFill>
                <a:schemeClr val="tx2"/>
              </a:solidFill>
            </a:endParaRPr>
          </a:p>
        </p:txBody>
      </p:sp>
      <p:sp>
        <p:nvSpPr>
          <p:cNvPr id="3" name="Subtitle 2">
            <a:extLst>
              <a:ext uri="{FF2B5EF4-FFF2-40B4-BE49-F238E27FC236}">
                <a16:creationId xmlns:a16="http://schemas.microsoft.com/office/drawing/2014/main" id="{FC3B1678-8578-485B-ABDD-36D8CF73E2D8}"/>
              </a:ext>
            </a:extLst>
          </p:cNvPr>
          <p:cNvSpPr>
            <a:spLocks noGrp="1"/>
          </p:cNvSpPr>
          <p:nvPr>
            <p:ph type="subTitle" idx="1" hasCustomPrompt="1"/>
          </p:nvPr>
        </p:nvSpPr>
        <p:spPr>
          <a:xfrm>
            <a:off x="885669" y="1069975"/>
            <a:ext cx="6741079" cy="349250"/>
          </a:xfrm>
        </p:spPr>
        <p:txBody>
          <a:bodyPr lIns="0" tIns="0" rIns="0" bIns="0">
            <a:no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sp>
        <p:nvSpPr>
          <p:cNvPr id="6" name="Slide Number Placeholder 5">
            <a:extLst>
              <a:ext uri="{FF2B5EF4-FFF2-40B4-BE49-F238E27FC236}">
                <a16:creationId xmlns:a16="http://schemas.microsoft.com/office/drawing/2014/main" id="{9346F278-8B8A-4874-AB9B-D1092252AB25}"/>
              </a:ext>
            </a:extLst>
          </p:cNvPr>
          <p:cNvSpPr>
            <a:spLocks noGrp="1"/>
          </p:cNvSpPr>
          <p:nvPr>
            <p:ph type="sldNum" sz="quarter" idx="12"/>
          </p:nvPr>
        </p:nvSpPr>
        <p:spPr/>
        <p:txBody>
          <a:bodyPr lIns="0" tIns="0" rIns="0" bIns="0"/>
          <a:lstStyle/>
          <a:p>
            <a:fld id="{ABB6D191-819E-455F-BC39-F2381519C0C1}" type="slidenum">
              <a:rPr lang="en-US" noProof="0" smtClean="0"/>
              <a:t>‹#›</a:t>
            </a:fld>
            <a:endParaRPr lang="en-US" noProof="0"/>
          </a:p>
        </p:txBody>
      </p:sp>
      <p:sp>
        <p:nvSpPr>
          <p:cNvPr id="11" name="Title 1">
            <a:extLst>
              <a:ext uri="{FF2B5EF4-FFF2-40B4-BE49-F238E27FC236}">
                <a16:creationId xmlns:a16="http://schemas.microsoft.com/office/drawing/2014/main" id="{0CEB10F1-9A99-4B04-99A0-D8E2CAE06AC0}"/>
              </a:ext>
            </a:extLst>
          </p:cNvPr>
          <p:cNvSpPr>
            <a:spLocks noGrp="1"/>
          </p:cNvSpPr>
          <p:nvPr>
            <p:ph type="ctrTitle" hasCustomPrompt="1"/>
          </p:nvPr>
        </p:nvSpPr>
        <p:spPr>
          <a:xfrm>
            <a:off x="885668" y="1689100"/>
            <a:ext cx="6741079" cy="2389964"/>
          </a:xfrm>
        </p:spPr>
        <p:txBody>
          <a:bodyPr vert="horz" lIns="0" tIns="0" rIns="0" bIns="0" anchor="t">
            <a:noAutofit/>
          </a:bodyPr>
          <a:lstStyle>
            <a:lvl1pPr algn="l">
              <a:defRPr sz="5400">
                <a:solidFill>
                  <a:schemeClr val="bg1"/>
                </a:solidFill>
              </a:defRPr>
            </a:lvl1pPr>
          </a:lstStyle>
          <a:p>
            <a:r>
              <a:rPr lang="en-US" noProof="0"/>
              <a:t>Click to edit master title style</a:t>
            </a:r>
          </a:p>
        </p:txBody>
      </p:sp>
    </p:spTree>
    <p:extLst>
      <p:ext uri="{BB962C8B-B14F-4D97-AF65-F5344CB8AC3E}">
        <p14:creationId xmlns:p14="http://schemas.microsoft.com/office/powerpoint/2010/main" val="1183338587"/>
      </p:ext>
    </p:extLst>
  </p:cSld>
  <p:clrMapOvr>
    <a:masterClrMapping/>
  </p:clrMapOvr>
  <p:extLst>
    <p:ext uri="{DCECCB84-F9BA-43D5-87BE-67443E8EF086}">
      <p15:sldGuideLst xmlns:p15="http://schemas.microsoft.com/office/powerpoint/2012/main">
        <p15:guide id="1" orient="horz" pos="1063">
          <p15:clr>
            <a:srgbClr val="FBAE40"/>
          </p15:clr>
        </p15:guide>
        <p15:guide id="2" orient="horz" pos="674">
          <p15:clr>
            <a:srgbClr val="FBAE40"/>
          </p15:clr>
        </p15:guide>
        <p15:guide id="3" pos="4806">
          <p15:clr>
            <a:srgbClr val="FBAE40"/>
          </p15:clr>
        </p15:guide>
        <p15:guide id="4" pos="558">
          <p15:clr>
            <a:srgbClr val="FBAE40"/>
          </p15:clr>
        </p15:guide>
        <p15:guide id="5" orient="horz" pos="2570">
          <p15:clr>
            <a:srgbClr val="FBAE40"/>
          </p15:clr>
        </p15:guide>
        <p15:guide id="7" orient="horz" pos="3741">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Section Header (Blue 2)">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2F0D3B3-FB4D-45BC-BE2E-E0ACC1635A4F}"/>
              </a:ext>
            </a:extLst>
          </p:cNvPr>
          <p:cNvGraphicFramePr>
            <a:graphicFrameLocks noChangeAspect="1"/>
          </p:cNvGraphicFramePr>
          <p:nvPr>
            <p:custDataLst>
              <p:tags r:id="rId1"/>
            </p:custDataLst>
            <p:extLst>
              <p:ext uri="{D42A27DB-BD31-4B8C-83A1-F6EECF244321}">
                <p14:modId xmlns:p14="http://schemas.microsoft.com/office/powerpoint/2010/main" val="3782973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8" name="Object 7" hidden="1">
                        <a:extLst>
                          <a:ext uri="{FF2B5EF4-FFF2-40B4-BE49-F238E27FC236}">
                            <a16:creationId xmlns:a16="http://schemas.microsoft.com/office/drawing/2014/main" id="{82F0D3B3-FB4D-45BC-BE2E-E0ACC1635A4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0D406DB-41A2-4933-86A0-0828F55DE1B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6000" b="0" i="0" baseline="0">
              <a:latin typeface="Verdana" panose="020B0604030504040204" pitchFamily="34" charset="0"/>
              <a:ea typeface="+mj-ea"/>
              <a:cs typeface="+mj-cs"/>
              <a:sym typeface="Museo Sans 100"/>
            </a:endParaRPr>
          </a:p>
        </p:txBody>
      </p:sp>
      <p:sp>
        <p:nvSpPr>
          <p:cNvPr id="10" name="Rectangle 9">
            <a:extLst>
              <a:ext uri="{FF2B5EF4-FFF2-40B4-BE49-F238E27FC236}">
                <a16:creationId xmlns:a16="http://schemas.microsoft.com/office/drawing/2014/main" id="{F92D6356-6339-48B3-8B32-2E2AEE29EDEF}"/>
              </a:ext>
            </a:extLst>
          </p:cNvPr>
          <p:cNvSpPr/>
          <p:nvPr/>
        </p:nvSpPr>
        <p:spPr>
          <a:xfrm>
            <a:off x="382382" y="540000"/>
            <a:ext cx="11427231" cy="5398838"/>
          </a:xfrm>
          <a:prstGeom prst="rect">
            <a:avLst/>
          </a:prstGeom>
          <a:solidFill>
            <a:schemeClr val="accent1">
              <a:lumMod val="100000"/>
            </a:schemeClr>
          </a:solidFill>
          <a:ln w="9525" cap="flat" cmpd="sng" algn="ctr">
            <a:solidFill>
              <a:schemeClr val="accent1">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r"/>
            <a:endParaRPr lang="en-US" sz="3600" b="1" noProof="0">
              <a:solidFill>
                <a:schemeClr val="tx2"/>
              </a:solidFill>
            </a:endParaRPr>
          </a:p>
        </p:txBody>
      </p:sp>
      <p:sp>
        <p:nvSpPr>
          <p:cNvPr id="3" name="Subtitle 2">
            <a:extLst>
              <a:ext uri="{FF2B5EF4-FFF2-40B4-BE49-F238E27FC236}">
                <a16:creationId xmlns:a16="http://schemas.microsoft.com/office/drawing/2014/main" id="{FC3B1678-8578-485B-ABDD-36D8CF73E2D8}"/>
              </a:ext>
            </a:extLst>
          </p:cNvPr>
          <p:cNvSpPr>
            <a:spLocks noGrp="1"/>
          </p:cNvSpPr>
          <p:nvPr>
            <p:ph type="subTitle" idx="1" hasCustomPrompt="1"/>
          </p:nvPr>
        </p:nvSpPr>
        <p:spPr>
          <a:xfrm>
            <a:off x="885669" y="1069975"/>
            <a:ext cx="6741079" cy="349250"/>
          </a:xfrm>
        </p:spPr>
        <p:txBody>
          <a:bodyPr lIns="0" tIns="0" rIns="0" bIns="0">
            <a:no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sp>
        <p:nvSpPr>
          <p:cNvPr id="6" name="Slide Number Placeholder 5">
            <a:extLst>
              <a:ext uri="{FF2B5EF4-FFF2-40B4-BE49-F238E27FC236}">
                <a16:creationId xmlns:a16="http://schemas.microsoft.com/office/drawing/2014/main" id="{9346F278-8B8A-4874-AB9B-D1092252AB25}"/>
              </a:ext>
            </a:extLst>
          </p:cNvPr>
          <p:cNvSpPr>
            <a:spLocks noGrp="1"/>
          </p:cNvSpPr>
          <p:nvPr>
            <p:ph type="sldNum" sz="quarter" idx="12"/>
          </p:nvPr>
        </p:nvSpPr>
        <p:spPr/>
        <p:txBody>
          <a:bodyPr lIns="0" tIns="0" rIns="0" bIns="0"/>
          <a:lstStyle/>
          <a:p>
            <a:fld id="{ABB6D191-819E-455F-BC39-F2381519C0C1}" type="slidenum">
              <a:rPr lang="en-US" noProof="0" smtClean="0"/>
              <a:t>‹#›</a:t>
            </a:fld>
            <a:endParaRPr lang="en-US" noProof="0"/>
          </a:p>
        </p:txBody>
      </p:sp>
      <p:sp>
        <p:nvSpPr>
          <p:cNvPr id="9" name="Title 1">
            <a:extLst>
              <a:ext uri="{FF2B5EF4-FFF2-40B4-BE49-F238E27FC236}">
                <a16:creationId xmlns:a16="http://schemas.microsoft.com/office/drawing/2014/main" id="{F170A15B-3A41-426F-B535-FB2163750E8F}"/>
              </a:ext>
            </a:extLst>
          </p:cNvPr>
          <p:cNvSpPr>
            <a:spLocks noGrp="1"/>
          </p:cNvSpPr>
          <p:nvPr>
            <p:ph type="ctrTitle" hasCustomPrompt="1"/>
          </p:nvPr>
        </p:nvSpPr>
        <p:spPr>
          <a:xfrm>
            <a:off x="885668" y="1687513"/>
            <a:ext cx="6741079" cy="2391551"/>
          </a:xfrm>
        </p:spPr>
        <p:txBody>
          <a:bodyPr vert="horz" lIns="0" tIns="0" rIns="0" bIns="0" anchor="t">
            <a:noAutofit/>
          </a:bodyPr>
          <a:lstStyle>
            <a:lvl1pPr algn="l">
              <a:defRPr sz="5400">
                <a:solidFill>
                  <a:schemeClr val="bg1"/>
                </a:solidFill>
              </a:defRPr>
            </a:lvl1pPr>
          </a:lstStyle>
          <a:p>
            <a:r>
              <a:rPr lang="en-US" noProof="0"/>
              <a:t>Click to edit master title style</a:t>
            </a:r>
          </a:p>
        </p:txBody>
      </p:sp>
    </p:spTree>
    <p:extLst>
      <p:ext uri="{BB962C8B-B14F-4D97-AF65-F5344CB8AC3E}">
        <p14:creationId xmlns:p14="http://schemas.microsoft.com/office/powerpoint/2010/main" val="3607628477"/>
      </p:ext>
    </p:extLst>
  </p:cSld>
  <p:clrMapOvr>
    <a:masterClrMapping/>
  </p:clrMapOvr>
  <p:extLst>
    <p:ext uri="{DCECCB84-F9BA-43D5-87BE-67443E8EF086}">
      <p15:sldGuideLst xmlns:p15="http://schemas.microsoft.com/office/powerpoint/2012/main">
        <p15:guide id="1" orient="horz" pos="1063">
          <p15:clr>
            <a:srgbClr val="FBAE40"/>
          </p15:clr>
        </p15:guide>
        <p15:guide id="2" orient="horz" pos="674">
          <p15:clr>
            <a:srgbClr val="FBAE40"/>
          </p15:clr>
        </p15:guide>
        <p15:guide id="3" pos="558">
          <p15:clr>
            <a:srgbClr val="FBAE40"/>
          </p15:clr>
        </p15:guide>
        <p15:guide id="4" pos="4806">
          <p15:clr>
            <a:srgbClr val="FBAE40"/>
          </p15:clr>
        </p15:guide>
        <p15:guide id="5" orient="horz" pos="2570">
          <p15:clr>
            <a:srgbClr val="FBAE40"/>
          </p15:clr>
        </p15:guide>
        <p15:guide id="7" orient="horz" pos="3741">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Section Header (Green)">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2F0D3B3-FB4D-45BC-BE2E-E0ACC1635A4F}"/>
              </a:ext>
            </a:extLst>
          </p:cNvPr>
          <p:cNvGraphicFramePr>
            <a:graphicFrameLocks noChangeAspect="1"/>
          </p:cNvGraphicFramePr>
          <p:nvPr>
            <p:custDataLst>
              <p:tags r:id="rId1"/>
            </p:custDataLst>
            <p:extLst>
              <p:ext uri="{D42A27DB-BD31-4B8C-83A1-F6EECF244321}">
                <p14:modId xmlns:p14="http://schemas.microsoft.com/office/powerpoint/2010/main" val="13638776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8" name="Object 7" hidden="1">
                        <a:extLst>
                          <a:ext uri="{FF2B5EF4-FFF2-40B4-BE49-F238E27FC236}">
                            <a16:creationId xmlns:a16="http://schemas.microsoft.com/office/drawing/2014/main" id="{82F0D3B3-FB4D-45BC-BE2E-E0ACC1635A4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0D406DB-41A2-4933-86A0-0828F55DE1B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6000" b="0" i="0" baseline="0">
              <a:latin typeface="Verdana" panose="020B0604030504040204" pitchFamily="34" charset="0"/>
              <a:ea typeface="+mj-ea"/>
              <a:cs typeface="+mj-cs"/>
              <a:sym typeface="Museo Sans 100"/>
            </a:endParaRPr>
          </a:p>
        </p:txBody>
      </p:sp>
      <p:sp>
        <p:nvSpPr>
          <p:cNvPr id="10" name="Rectangle 9">
            <a:extLst>
              <a:ext uri="{FF2B5EF4-FFF2-40B4-BE49-F238E27FC236}">
                <a16:creationId xmlns:a16="http://schemas.microsoft.com/office/drawing/2014/main" id="{F92D6356-6339-48B3-8B32-2E2AEE29EDEF}"/>
              </a:ext>
            </a:extLst>
          </p:cNvPr>
          <p:cNvSpPr/>
          <p:nvPr/>
        </p:nvSpPr>
        <p:spPr>
          <a:xfrm>
            <a:off x="382382" y="540000"/>
            <a:ext cx="11427231" cy="5398838"/>
          </a:xfrm>
          <a:prstGeom prst="rect">
            <a:avLst/>
          </a:prstGeom>
          <a:solidFill>
            <a:schemeClr val="accent2">
              <a:lumMod val="100000"/>
            </a:schemeClr>
          </a:solidFill>
          <a:ln w="9525" cap="flat" cmpd="sng" algn="ctr">
            <a:solidFill>
              <a:schemeClr val="accent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r"/>
            <a:endParaRPr lang="en-US" sz="3600" b="1" noProof="0">
              <a:solidFill>
                <a:schemeClr val="tx2"/>
              </a:solidFill>
            </a:endParaRPr>
          </a:p>
        </p:txBody>
      </p:sp>
      <p:sp>
        <p:nvSpPr>
          <p:cNvPr id="3" name="Subtitle 2">
            <a:extLst>
              <a:ext uri="{FF2B5EF4-FFF2-40B4-BE49-F238E27FC236}">
                <a16:creationId xmlns:a16="http://schemas.microsoft.com/office/drawing/2014/main" id="{FC3B1678-8578-485B-ABDD-36D8CF73E2D8}"/>
              </a:ext>
            </a:extLst>
          </p:cNvPr>
          <p:cNvSpPr>
            <a:spLocks noGrp="1"/>
          </p:cNvSpPr>
          <p:nvPr>
            <p:ph type="subTitle" idx="1" hasCustomPrompt="1"/>
          </p:nvPr>
        </p:nvSpPr>
        <p:spPr>
          <a:xfrm>
            <a:off x="885669" y="1069975"/>
            <a:ext cx="6741079" cy="349250"/>
          </a:xfrm>
        </p:spPr>
        <p:txBody>
          <a:bodyPr lIns="0" tIns="0" rIns="0" bIns="0">
            <a:no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sp>
        <p:nvSpPr>
          <p:cNvPr id="6" name="Slide Number Placeholder 5">
            <a:extLst>
              <a:ext uri="{FF2B5EF4-FFF2-40B4-BE49-F238E27FC236}">
                <a16:creationId xmlns:a16="http://schemas.microsoft.com/office/drawing/2014/main" id="{9346F278-8B8A-4874-AB9B-D1092252AB25}"/>
              </a:ext>
            </a:extLst>
          </p:cNvPr>
          <p:cNvSpPr>
            <a:spLocks noGrp="1"/>
          </p:cNvSpPr>
          <p:nvPr>
            <p:ph type="sldNum" sz="quarter" idx="12"/>
          </p:nvPr>
        </p:nvSpPr>
        <p:spPr/>
        <p:txBody>
          <a:bodyPr lIns="0" tIns="0" rIns="0" bIns="0"/>
          <a:lstStyle/>
          <a:p>
            <a:fld id="{ABB6D191-819E-455F-BC39-F2381519C0C1}" type="slidenum">
              <a:rPr lang="en-US" noProof="0" smtClean="0"/>
              <a:t>‹#›</a:t>
            </a:fld>
            <a:endParaRPr lang="en-US" noProof="0"/>
          </a:p>
        </p:txBody>
      </p:sp>
      <p:sp>
        <p:nvSpPr>
          <p:cNvPr id="9" name="Title 1">
            <a:extLst>
              <a:ext uri="{FF2B5EF4-FFF2-40B4-BE49-F238E27FC236}">
                <a16:creationId xmlns:a16="http://schemas.microsoft.com/office/drawing/2014/main" id="{F170A15B-3A41-426F-B535-FB2163750E8F}"/>
              </a:ext>
            </a:extLst>
          </p:cNvPr>
          <p:cNvSpPr>
            <a:spLocks noGrp="1"/>
          </p:cNvSpPr>
          <p:nvPr>
            <p:ph type="ctrTitle" hasCustomPrompt="1"/>
          </p:nvPr>
        </p:nvSpPr>
        <p:spPr>
          <a:xfrm>
            <a:off x="885668" y="1689100"/>
            <a:ext cx="6741079" cy="2389964"/>
          </a:xfrm>
        </p:spPr>
        <p:txBody>
          <a:bodyPr vert="horz" lIns="0" tIns="0" rIns="0" bIns="0" anchor="t">
            <a:noAutofit/>
          </a:bodyPr>
          <a:lstStyle>
            <a:lvl1pPr algn="l">
              <a:defRPr sz="5400">
                <a:solidFill>
                  <a:schemeClr val="bg1"/>
                </a:solidFill>
              </a:defRPr>
            </a:lvl1pPr>
          </a:lstStyle>
          <a:p>
            <a:r>
              <a:rPr lang="en-US" noProof="0"/>
              <a:t>Click to edit master title style</a:t>
            </a:r>
          </a:p>
        </p:txBody>
      </p:sp>
    </p:spTree>
    <p:extLst>
      <p:ext uri="{BB962C8B-B14F-4D97-AF65-F5344CB8AC3E}">
        <p14:creationId xmlns:p14="http://schemas.microsoft.com/office/powerpoint/2010/main" val="878195004"/>
      </p:ext>
    </p:extLst>
  </p:cSld>
  <p:clrMapOvr>
    <a:masterClrMapping/>
  </p:clrMapOvr>
  <p:extLst>
    <p:ext uri="{DCECCB84-F9BA-43D5-87BE-67443E8EF086}">
      <p15:sldGuideLst xmlns:p15="http://schemas.microsoft.com/office/powerpoint/2012/main">
        <p15:guide id="1" orient="horz" pos="1063">
          <p15:clr>
            <a:srgbClr val="FBAE40"/>
          </p15:clr>
        </p15:guide>
        <p15:guide id="2" orient="horz" pos="674">
          <p15:clr>
            <a:srgbClr val="FBAE40"/>
          </p15:clr>
        </p15:guide>
        <p15:guide id="3" pos="558">
          <p15:clr>
            <a:srgbClr val="FBAE40"/>
          </p15:clr>
        </p15:guide>
        <p15:guide id="4" pos="4806">
          <p15:clr>
            <a:srgbClr val="FBAE40"/>
          </p15:clr>
        </p15:guide>
        <p15:guide id="5" orient="horz" pos="2570">
          <p15:clr>
            <a:srgbClr val="FBAE40"/>
          </p15:clr>
        </p15:guide>
        <p15:guide id="6" orient="horz" pos="3741">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Backup">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2F0D3B3-FB4D-45BC-BE2E-E0ACC1635A4F}"/>
              </a:ext>
            </a:extLst>
          </p:cNvPr>
          <p:cNvGraphicFramePr>
            <a:graphicFrameLocks noChangeAspect="1"/>
          </p:cNvGraphicFramePr>
          <p:nvPr>
            <p:custDataLst>
              <p:tags r:id="rId1"/>
            </p:custDataLst>
            <p:extLst>
              <p:ext uri="{D42A27DB-BD31-4B8C-83A1-F6EECF244321}">
                <p14:modId xmlns:p14="http://schemas.microsoft.com/office/powerpoint/2010/main" val="41551221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8" name="Object 7" hidden="1">
                        <a:extLst>
                          <a:ext uri="{FF2B5EF4-FFF2-40B4-BE49-F238E27FC236}">
                            <a16:creationId xmlns:a16="http://schemas.microsoft.com/office/drawing/2014/main" id="{82F0D3B3-FB4D-45BC-BE2E-E0ACC1635A4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0D406DB-41A2-4933-86A0-0828F55DE1B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11500" b="0" i="0" baseline="0">
              <a:latin typeface="Century Gothic" panose="020B0502020202020204" pitchFamily="34" charset="0"/>
              <a:ea typeface="+mj-ea"/>
              <a:cs typeface="+mj-cs"/>
              <a:sym typeface="Century Gothic" panose="020B0502020202020204" pitchFamily="34" charset="0"/>
            </a:endParaRPr>
          </a:p>
        </p:txBody>
      </p:sp>
      <p:sp>
        <p:nvSpPr>
          <p:cNvPr id="10" name="Rectangle 9">
            <a:extLst>
              <a:ext uri="{FF2B5EF4-FFF2-40B4-BE49-F238E27FC236}">
                <a16:creationId xmlns:a16="http://schemas.microsoft.com/office/drawing/2014/main" id="{F92D6356-6339-48B3-8B32-2E2AEE29EDEF}"/>
              </a:ext>
            </a:extLst>
          </p:cNvPr>
          <p:cNvSpPr/>
          <p:nvPr/>
        </p:nvSpPr>
        <p:spPr>
          <a:xfrm>
            <a:off x="393465" y="549331"/>
            <a:ext cx="11427232" cy="5398838"/>
          </a:xfrm>
          <a:prstGeom prst="rect">
            <a:avLst/>
          </a:prstGeom>
          <a:solidFill>
            <a:schemeClr val="accent1">
              <a:lumMod val="100000"/>
            </a:schemeClr>
          </a:solidFill>
          <a:ln w="9525" cap="flat" cmpd="sng" algn="ctr">
            <a:solidFill>
              <a:schemeClr val="accent1">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r"/>
            <a:endParaRPr lang="en-US" sz="3600" b="1" noProof="0">
              <a:solidFill>
                <a:schemeClr val="tx2"/>
              </a:solidFill>
            </a:endParaRPr>
          </a:p>
        </p:txBody>
      </p:sp>
      <p:sp>
        <p:nvSpPr>
          <p:cNvPr id="15" name="Title 1">
            <a:extLst>
              <a:ext uri="{FF2B5EF4-FFF2-40B4-BE49-F238E27FC236}">
                <a16:creationId xmlns:a16="http://schemas.microsoft.com/office/drawing/2014/main" id="{EEF825C3-94B5-43A8-822C-83F664AEB289}"/>
              </a:ext>
            </a:extLst>
          </p:cNvPr>
          <p:cNvSpPr txBox="1">
            <a:spLocks/>
          </p:cNvSpPr>
          <p:nvPr/>
        </p:nvSpPr>
        <p:spPr>
          <a:xfrm>
            <a:off x="8520757" y="4678255"/>
            <a:ext cx="2793977" cy="882647"/>
          </a:xfrm>
          <a:prstGeom prst="rect">
            <a:avLst/>
          </a:prstGeom>
        </p:spPr>
        <p:txBody>
          <a:bodyPr vert="horz" lIns="0" tIns="0" rIns="0" bIns="0" rtlCol="0" anchor="ctr">
            <a:noAutofit/>
          </a:bodyPr>
          <a:lstStyle>
            <a:lvl1pPr algn="l" defTabSz="914400" rtl="0" eaLnBrk="1" latinLnBrk="0" hangingPunct="1">
              <a:lnSpc>
                <a:spcPct val="90000"/>
              </a:lnSpc>
              <a:spcBef>
                <a:spcPct val="0"/>
              </a:spcBef>
              <a:buNone/>
              <a:defRPr sz="11500" b="0" kern="1200" cap="none" baseline="0">
                <a:solidFill>
                  <a:schemeClr val="bg1"/>
                </a:solidFill>
                <a:latin typeface="+mj-lt"/>
                <a:ea typeface="+mj-ea"/>
                <a:cs typeface="+mj-cs"/>
              </a:defRPr>
            </a:lvl1pPr>
          </a:lstStyle>
          <a:p>
            <a:pPr algn="r"/>
            <a:r>
              <a:rPr lang="en-US" sz="5400">
                <a:latin typeface="Century Gothic" panose="020B0502020202020204" pitchFamily="34" charset="0"/>
                <a:ea typeface="Verdana" panose="020B0604030504040204" pitchFamily="34" charset="0"/>
                <a:cs typeface="Inter" panose="020B0502030000000004" pitchFamily="34" charset="0"/>
              </a:rPr>
              <a:t>Backup</a:t>
            </a:r>
          </a:p>
        </p:txBody>
      </p:sp>
      <p:sp>
        <p:nvSpPr>
          <p:cNvPr id="11" name="Slide Number Placeholder 3">
            <a:extLst>
              <a:ext uri="{FF2B5EF4-FFF2-40B4-BE49-F238E27FC236}">
                <a16:creationId xmlns:a16="http://schemas.microsoft.com/office/drawing/2014/main" id="{4680C26E-18A4-48BD-8E92-5051A941E429}"/>
              </a:ext>
            </a:extLst>
          </p:cNvPr>
          <p:cNvSpPr>
            <a:spLocks noGrp="1"/>
          </p:cNvSpPr>
          <p:nvPr>
            <p:ph type="sldNum" sz="quarter" idx="11"/>
          </p:nvPr>
        </p:nvSpPr>
        <p:spPr>
          <a:xfrm>
            <a:off x="11314734" y="6342890"/>
            <a:ext cx="505963" cy="374690"/>
          </a:xfrm>
        </p:spPr>
        <p:txBody>
          <a:bodyPr/>
          <a:lstStyle/>
          <a:p>
            <a:fld id="{ABB6D191-819E-455F-BC39-F2381519C0C1}" type="slidenum">
              <a:rPr lang="en-US" noProof="0" smtClean="0"/>
              <a:t>‹#›</a:t>
            </a:fld>
            <a:endParaRPr lang="en-US" noProof="0"/>
          </a:p>
        </p:txBody>
      </p:sp>
      <p:sp>
        <p:nvSpPr>
          <p:cNvPr id="12" name="Footer Placeholder 3">
            <a:extLst>
              <a:ext uri="{FF2B5EF4-FFF2-40B4-BE49-F238E27FC236}">
                <a16:creationId xmlns:a16="http://schemas.microsoft.com/office/drawing/2014/main" id="{C27CBBE8-9E82-41D7-A686-F5E087424F63}"/>
              </a:ext>
            </a:extLst>
          </p:cNvPr>
          <p:cNvSpPr>
            <a:spLocks noGrp="1"/>
          </p:cNvSpPr>
          <p:nvPr>
            <p:ph type="ftr" sz="quarter" idx="13"/>
          </p:nvPr>
        </p:nvSpPr>
        <p:spPr>
          <a:xfrm>
            <a:off x="1520890" y="6342890"/>
            <a:ext cx="9675845" cy="374690"/>
          </a:xfrm>
        </p:spPr>
        <p:txBody>
          <a:bodyPr/>
          <a:lstStyle/>
          <a:p>
            <a:r>
              <a:rPr lang="en-US"/>
              <a:t>Footer</a:t>
            </a:r>
          </a:p>
        </p:txBody>
      </p:sp>
    </p:spTree>
    <p:extLst>
      <p:ext uri="{BB962C8B-B14F-4D97-AF65-F5344CB8AC3E}">
        <p14:creationId xmlns:p14="http://schemas.microsoft.com/office/powerpoint/2010/main" val="3785454464"/>
      </p:ext>
    </p:extLst>
  </p:cSld>
  <p:clrMapOvr>
    <a:masterClrMapping/>
  </p:clrMapOvr>
  <p:extLst>
    <p:ext uri="{DCECCB84-F9BA-43D5-87BE-67443E8EF086}">
      <p15:sldGuideLst xmlns:p15="http://schemas.microsoft.com/office/powerpoint/2012/main">
        <p15:guide id="1" orient="horz" pos="1063">
          <p15:clr>
            <a:srgbClr val="FBAE40"/>
          </p15:clr>
        </p15:guide>
        <p15:guide id="2" orient="horz" pos="674">
          <p15:clr>
            <a:srgbClr val="FBAE40"/>
          </p15:clr>
        </p15:guide>
        <p15:guide id="3" pos="558">
          <p15:clr>
            <a:srgbClr val="FBAE40"/>
          </p15:clr>
        </p15:guide>
        <p15:guide id="4" pos="4806">
          <p15:clr>
            <a:srgbClr val="FBAE40"/>
          </p15:clr>
        </p15:guide>
        <p15:guide id="5" orient="horz" pos="2570">
          <p15:clr>
            <a:srgbClr val="FBAE40"/>
          </p15:clr>
        </p15:guide>
        <p15:guide id="7" orient="horz" pos="3741">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Appendix">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2F0D3B3-FB4D-45BC-BE2E-E0ACC1635A4F}"/>
              </a:ext>
            </a:extLst>
          </p:cNvPr>
          <p:cNvGraphicFramePr>
            <a:graphicFrameLocks noChangeAspect="1"/>
          </p:cNvGraphicFramePr>
          <p:nvPr>
            <p:custDataLst>
              <p:tags r:id="rId1"/>
            </p:custDataLst>
            <p:extLst>
              <p:ext uri="{D42A27DB-BD31-4B8C-83A1-F6EECF244321}">
                <p14:modId xmlns:p14="http://schemas.microsoft.com/office/powerpoint/2010/main" val="12263828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8" name="Object 7" hidden="1">
                        <a:extLst>
                          <a:ext uri="{FF2B5EF4-FFF2-40B4-BE49-F238E27FC236}">
                            <a16:creationId xmlns:a16="http://schemas.microsoft.com/office/drawing/2014/main" id="{82F0D3B3-FB4D-45BC-BE2E-E0ACC1635A4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0D406DB-41A2-4933-86A0-0828F55DE1B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11500" b="0" i="0" baseline="0">
              <a:latin typeface="Century Gothic" panose="020B0502020202020204" pitchFamily="34" charset="0"/>
              <a:ea typeface="+mj-ea"/>
              <a:cs typeface="+mj-cs"/>
              <a:sym typeface="Century Gothic" panose="020B0502020202020204" pitchFamily="34" charset="0"/>
            </a:endParaRPr>
          </a:p>
        </p:txBody>
      </p:sp>
      <p:sp>
        <p:nvSpPr>
          <p:cNvPr id="15" name="Title 1">
            <a:extLst>
              <a:ext uri="{FF2B5EF4-FFF2-40B4-BE49-F238E27FC236}">
                <a16:creationId xmlns:a16="http://schemas.microsoft.com/office/drawing/2014/main" id="{EEF825C3-94B5-43A8-822C-83F664AEB289}"/>
              </a:ext>
            </a:extLst>
          </p:cNvPr>
          <p:cNvSpPr txBox="1">
            <a:spLocks/>
          </p:cNvSpPr>
          <p:nvPr/>
        </p:nvSpPr>
        <p:spPr>
          <a:xfrm>
            <a:off x="7836196" y="4678255"/>
            <a:ext cx="3360524" cy="882647"/>
          </a:xfrm>
          <a:prstGeom prst="rect">
            <a:avLst/>
          </a:prstGeom>
        </p:spPr>
        <p:txBody>
          <a:bodyPr vert="horz" lIns="0" tIns="0" rIns="0" bIns="0" rtlCol="0" anchor="ctr">
            <a:noAutofit/>
          </a:bodyPr>
          <a:lstStyle>
            <a:lvl1pPr algn="l" defTabSz="914400" rtl="0" eaLnBrk="1" latinLnBrk="0" hangingPunct="1">
              <a:lnSpc>
                <a:spcPct val="90000"/>
              </a:lnSpc>
              <a:spcBef>
                <a:spcPct val="0"/>
              </a:spcBef>
              <a:buNone/>
              <a:defRPr sz="11500" b="0" kern="1200" cap="none" baseline="0">
                <a:solidFill>
                  <a:schemeClr val="bg1"/>
                </a:solidFill>
                <a:latin typeface="+mj-lt"/>
                <a:ea typeface="+mj-ea"/>
                <a:cs typeface="+mj-cs"/>
              </a:defRPr>
            </a:lvl1pPr>
          </a:lstStyle>
          <a:p>
            <a:r>
              <a:rPr lang="en-US" sz="5400">
                <a:latin typeface="Verdana" panose="020B0604030504040204" pitchFamily="34" charset="0"/>
                <a:ea typeface="Verdana" panose="020B0604030504040204" pitchFamily="34" charset="0"/>
                <a:cs typeface="Inter" panose="020B0502030000000004" pitchFamily="34" charset="0"/>
              </a:rPr>
              <a:t>Appendix</a:t>
            </a:r>
          </a:p>
        </p:txBody>
      </p:sp>
      <p:sp>
        <p:nvSpPr>
          <p:cNvPr id="11" name="Slide Number Placeholder 3">
            <a:extLst>
              <a:ext uri="{FF2B5EF4-FFF2-40B4-BE49-F238E27FC236}">
                <a16:creationId xmlns:a16="http://schemas.microsoft.com/office/drawing/2014/main" id="{471CBB97-3BEF-4690-BB14-A4EB68413A36}"/>
              </a:ext>
            </a:extLst>
          </p:cNvPr>
          <p:cNvSpPr>
            <a:spLocks noGrp="1"/>
          </p:cNvSpPr>
          <p:nvPr>
            <p:ph type="sldNum" sz="quarter" idx="11"/>
          </p:nvPr>
        </p:nvSpPr>
        <p:spPr>
          <a:xfrm>
            <a:off x="11314734" y="6342890"/>
            <a:ext cx="505963" cy="374690"/>
          </a:xfrm>
        </p:spPr>
        <p:txBody>
          <a:bodyPr/>
          <a:lstStyle/>
          <a:p>
            <a:fld id="{ABB6D191-819E-455F-BC39-F2381519C0C1}" type="slidenum">
              <a:rPr lang="en-US" noProof="0" smtClean="0"/>
              <a:t>‹#›</a:t>
            </a:fld>
            <a:endParaRPr lang="en-US" noProof="0"/>
          </a:p>
        </p:txBody>
      </p:sp>
      <p:sp>
        <p:nvSpPr>
          <p:cNvPr id="12" name="Footer Placeholder 3">
            <a:extLst>
              <a:ext uri="{FF2B5EF4-FFF2-40B4-BE49-F238E27FC236}">
                <a16:creationId xmlns:a16="http://schemas.microsoft.com/office/drawing/2014/main" id="{28A91CC3-499E-4CFD-B2DC-78EAF2A8D046}"/>
              </a:ext>
            </a:extLst>
          </p:cNvPr>
          <p:cNvSpPr>
            <a:spLocks noGrp="1"/>
          </p:cNvSpPr>
          <p:nvPr>
            <p:ph type="ftr" sz="quarter" idx="13"/>
          </p:nvPr>
        </p:nvSpPr>
        <p:spPr>
          <a:xfrm>
            <a:off x="1520890" y="6342890"/>
            <a:ext cx="9675845" cy="374690"/>
          </a:xfrm>
        </p:spPr>
        <p:txBody>
          <a:bodyPr/>
          <a:lstStyle/>
          <a:p>
            <a:r>
              <a:rPr lang="en-US"/>
              <a:t>Footer</a:t>
            </a:r>
          </a:p>
        </p:txBody>
      </p:sp>
      <p:sp>
        <p:nvSpPr>
          <p:cNvPr id="13" name="Rectangle 12">
            <a:extLst>
              <a:ext uri="{FF2B5EF4-FFF2-40B4-BE49-F238E27FC236}">
                <a16:creationId xmlns:a16="http://schemas.microsoft.com/office/drawing/2014/main" id="{184A0FD2-50C3-46FD-A05F-2143AFFAB503}"/>
              </a:ext>
            </a:extLst>
          </p:cNvPr>
          <p:cNvSpPr/>
          <p:nvPr/>
        </p:nvSpPr>
        <p:spPr>
          <a:xfrm>
            <a:off x="393465" y="549331"/>
            <a:ext cx="11427232" cy="5398838"/>
          </a:xfrm>
          <a:prstGeom prst="rect">
            <a:avLst/>
          </a:prstGeom>
          <a:solidFill>
            <a:srgbClr val="004876"/>
          </a:solidFill>
          <a:ln w="9525" cap="flat" cmpd="sng" algn="ctr">
            <a:solidFill>
              <a:schemeClr val="accent1">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r"/>
            <a:endParaRPr lang="en-US" sz="3600" b="1" noProof="0">
              <a:solidFill>
                <a:schemeClr val="tx2"/>
              </a:solidFill>
            </a:endParaRPr>
          </a:p>
        </p:txBody>
      </p:sp>
      <p:sp>
        <p:nvSpPr>
          <p:cNvPr id="14" name="Title 1">
            <a:extLst>
              <a:ext uri="{FF2B5EF4-FFF2-40B4-BE49-F238E27FC236}">
                <a16:creationId xmlns:a16="http://schemas.microsoft.com/office/drawing/2014/main" id="{A4D8ED86-1F40-4C56-8B49-F5E79B3E4BBC}"/>
              </a:ext>
            </a:extLst>
          </p:cNvPr>
          <p:cNvSpPr txBox="1">
            <a:spLocks/>
          </p:cNvSpPr>
          <p:nvPr/>
        </p:nvSpPr>
        <p:spPr>
          <a:xfrm>
            <a:off x="7954211" y="4678255"/>
            <a:ext cx="3360523" cy="882647"/>
          </a:xfrm>
          <a:prstGeom prst="rect">
            <a:avLst/>
          </a:prstGeom>
        </p:spPr>
        <p:txBody>
          <a:bodyPr vert="horz" lIns="0" tIns="0" rIns="0" bIns="0" rtlCol="0" anchor="ctr">
            <a:noAutofit/>
          </a:bodyPr>
          <a:lstStyle>
            <a:lvl1pPr algn="l" defTabSz="914400" rtl="0" eaLnBrk="1" latinLnBrk="0" hangingPunct="1">
              <a:lnSpc>
                <a:spcPct val="90000"/>
              </a:lnSpc>
              <a:spcBef>
                <a:spcPct val="0"/>
              </a:spcBef>
              <a:buNone/>
              <a:defRPr sz="11500" b="0" kern="1200" cap="none" baseline="0">
                <a:solidFill>
                  <a:schemeClr val="bg1"/>
                </a:solidFill>
                <a:latin typeface="+mj-lt"/>
                <a:ea typeface="+mj-ea"/>
                <a:cs typeface="+mj-cs"/>
              </a:defRPr>
            </a:lvl1pPr>
          </a:lstStyle>
          <a:p>
            <a:pPr algn="r"/>
            <a:r>
              <a:rPr lang="en-US" sz="5400">
                <a:latin typeface="Century Gothic" panose="020B0502020202020204" pitchFamily="34" charset="0"/>
                <a:ea typeface="Verdana" panose="020B0604030504040204" pitchFamily="34" charset="0"/>
                <a:cs typeface="Inter" panose="020B0502030000000004" pitchFamily="34" charset="0"/>
              </a:rPr>
              <a:t>Appendix</a:t>
            </a:r>
          </a:p>
        </p:txBody>
      </p:sp>
    </p:spTree>
    <p:extLst>
      <p:ext uri="{BB962C8B-B14F-4D97-AF65-F5344CB8AC3E}">
        <p14:creationId xmlns:p14="http://schemas.microsoft.com/office/powerpoint/2010/main" val="4182888706"/>
      </p:ext>
    </p:extLst>
  </p:cSld>
  <p:clrMapOvr>
    <a:masterClrMapping/>
  </p:clrMapOvr>
  <p:extLst>
    <p:ext uri="{DCECCB84-F9BA-43D5-87BE-67443E8EF086}">
      <p15:sldGuideLst xmlns:p15="http://schemas.microsoft.com/office/powerpoint/2012/main">
        <p15:guide id="1" orient="horz" pos="1063">
          <p15:clr>
            <a:srgbClr val="FBAE40"/>
          </p15:clr>
        </p15:guide>
        <p15:guide id="2" orient="horz" pos="674">
          <p15:clr>
            <a:srgbClr val="FBAE40"/>
          </p15:clr>
        </p15:guide>
        <p15:guide id="3" pos="558">
          <p15:clr>
            <a:srgbClr val="FBAE40"/>
          </p15:clr>
        </p15:guide>
        <p15:guide id="4" pos="4806">
          <p15:clr>
            <a:srgbClr val="FBAE40"/>
          </p15:clr>
        </p15:guide>
        <p15:guide id="5" orient="horz" pos="2570">
          <p15:clr>
            <a:srgbClr val="FBAE40"/>
          </p15:clr>
        </p15:guide>
        <p15:guide id="7" orient="horz" pos="3741">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3F9CE876-340E-4FD3-98C6-3988BBCA6E5E}"/>
              </a:ext>
            </a:extLst>
          </p:cNvPr>
          <p:cNvGraphicFramePr>
            <a:graphicFrameLocks noChangeAspect="1"/>
          </p:cNvGraphicFramePr>
          <p:nvPr>
            <p:custDataLst>
              <p:tags r:id="rId1"/>
            </p:custDataLst>
            <p:extLst>
              <p:ext uri="{D42A27DB-BD31-4B8C-83A1-F6EECF244321}">
                <p14:modId xmlns:p14="http://schemas.microsoft.com/office/powerpoint/2010/main" val="29648463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9" name="Object 8" hidden="1">
                        <a:extLst>
                          <a:ext uri="{FF2B5EF4-FFF2-40B4-BE49-F238E27FC236}">
                            <a16:creationId xmlns:a16="http://schemas.microsoft.com/office/drawing/2014/main" id="{3F9CE876-340E-4FD3-98C6-3988BBCA6E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AFCA972F-F766-4DED-BFAA-A0D97E14EF33}"/>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4400" b="0" i="0" baseline="0">
              <a:latin typeface="Verdana" panose="020B0604030504040204" pitchFamily="34" charset="0"/>
              <a:ea typeface="+mj-ea"/>
              <a:cs typeface="+mj-cs"/>
              <a:sym typeface="Museo Sans 100"/>
            </a:endParaRPr>
          </a:p>
        </p:txBody>
      </p:sp>
      <p:sp>
        <p:nvSpPr>
          <p:cNvPr id="2" name="Title 1">
            <a:extLst>
              <a:ext uri="{FF2B5EF4-FFF2-40B4-BE49-F238E27FC236}">
                <a16:creationId xmlns:a16="http://schemas.microsoft.com/office/drawing/2014/main" id="{0D9CBCFD-AEF5-4826-A1E8-350015BA3412}"/>
              </a:ext>
            </a:extLst>
          </p:cNvPr>
          <p:cNvSpPr>
            <a:spLocks noGrp="1"/>
          </p:cNvSpPr>
          <p:nvPr>
            <p:ph type="title" hasCustomPrompt="1"/>
          </p:nvPr>
        </p:nvSpPr>
        <p:spPr/>
        <p:txBody>
          <a:bodyPr vert="horz" lIns="0" tIns="0" rIns="0" bIns="0">
            <a:noAutofit/>
          </a:bodyPr>
          <a:lstStyle>
            <a:lvl1pPr>
              <a:defRPr cap="none"/>
            </a:lvl1pPr>
          </a:lstStyle>
          <a:p>
            <a:r>
              <a:rPr lang="en-US" noProof="0"/>
              <a:t>Click to edit master title style</a:t>
            </a:r>
          </a:p>
        </p:txBody>
      </p:sp>
      <p:sp>
        <p:nvSpPr>
          <p:cNvPr id="3" name="Content Placeholder 2">
            <a:extLst>
              <a:ext uri="{FF2B5EF4-FFF2-40B4-BE49-F238E27FC236}">
                <a16:creationId xmlns:a16="http://schemas.microsoft.com/office/drawing/2014/main" id="{1267F840-EFC6-4307-BD69-B27B457ED07B}"/>
              </a:ext>
            </a:extLst>
          </p:cNvPr>
          <p:cNvSpPr>
            <a:spLocks noGrp="1"/>
          </p:cNvSpPr>
          <p:nvPr>
            <p:ph sz="half" idx="1"/>
          </p:nvPr>
        </p:nvSpPr>
        <p:spPr>
          <a:xfrm>
            <a:off x="382384" y="1247775"/>
            <a:ext cx="5475882" cy="4691063"/>
          </a:xfrm>
        </p:spPr>
        <p:txBody>
          <a:bodyPr>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Content Placeholder 3">
            <a:extLst>
              <a:ext uri="{FF2B5EF4-FFF2-40B4-BE49-F238E27FC236}">
                <a16:creationId xmlns:a16="http://schemas.microsoft.com/office/drawing/2014/main" id="{C92E9254-622E-41C6-B3D0-27C816BBF106}"/>
              </a:ext>
            </a:extLst>
          </p:cNvPr>
          <p:cNvSpPr>
            <a:spLocks noGrp="1"/>
          </p:cNvSpPr>
          <p:nvPr>
            <p:ph sz="half" idx="2"/>
          </p:nvPr>
        </p:nvSpPr>
        <p:spPr>
          <a:xfrm>
            <a:off x="6344816" y="1247776"/>
            <a:ext cx="5475882" cy="4691062"/>
          </a:xfrm>
        </p:spPr>
        <p:txBody>
          <a:bodyPr>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Slide Number Placeholder 6">
            <a:extLst>
              <a:ext uri="{FF2B5EF4-FFF2-40B4-BE49-F238E27FC236}">
                <a16:creationId xmlns:a16="http://schemas.microsoft.com/office/drawing/2014/main" id="{4C172E53-4DB8-4D7A-B888-012956DB7275}"/>
              </a:ext>
            </a:extLst>
          </p:cNvPr>
          <p:cNvSpPr>
            <a:spLocks noGrp="1"/>
          </p:cNvSpPr>
          <p:nvPr>
            <p:ph type="sldNum" sz="quarter" idx="12"/>
          </p:nvPr>
        </p:nvSpPr>
        <p:spPr/>
        <p:txBody>
          <a:bodyPr lIns="0" tIns="0" rIns="0" bIns="0"/>
          <a:lstStyle/>
          <a:p>
            <a:fld id="{ABB6D191-819E-455F-BC39-F2381519C0C1}" type="slidenum">
              <a:rPr lang="en-US" noProof="0" smtClean="0"/>
              <a:t>‹#›</a:t>
            </a:fld>
            <a:endParaRPr lang="en-US" noProof="0"/>
          </a:p>
        </p:txBody>
      </p:sp>
      <p:sp>
        <p:nvSpPr>
          <p:cNvPr id="10" name="Footer Placeholder 3">
            <a:extLst>
              <a:ext uri="{FF2B5EF4-FFF2-40B4-BE49-F238E27FC236}">
                <a16:creationId xmlns:a16="http://schemas.microsoft.com/office/drawing/2014/main" id="{5CE255B9-C36D-47C5-A515-5D9AC358F828}"/>
              </a:ext>
            </a:extLst>
          </p:cNvPr>
          <p:cNvSpPr>
            <a:spLocks noGrp="1"/>
          </p:cNvSpPr>
          <p:nvPr>
            <p:ph type="ftr" sz="quarter" idx="3"/>
          </p:nvPr>
        </p:nvSpPr>
        <p:spPr>
          <a:xfrm>
            <a:off x="1520890" y="6342890"/>
            <a:ext cx="9675845" cy="374690"/>
          </a:xfrm>
          <a:prstGeom prst="rect">
            <a:avLst/>
          </a:prstGeom>
        </p:spPr>
        <p:txBody>
          <a:bodyPr lIns="0" tIns="0" rIns="0" bIns="0" anchor="b"/>
          <a:lstStyle>
            <a:lvl1pPr>
              <a:defRPr sz="900">
                <a:latin typeface="Century Gothic" panose="020B0502020202020204" pitchFamily="34" charset="0"/>
              </a:defRPr>
            </a:lvl1pPr>
          </a:lstStyle>
          <a:p>
            <a:r>
              <a:rPr lang="en-US"/>
              <a:t>Footer</a:t>
            </a:r>
          </a:p>
        </p:txBody>
      </p:sp>
    </p:spTree>
    <p:extLst>
      <p:ext uri="{BB962C8B-B14F-4D97-AF65-F5344CB8AC3E}">
        <p14:creationId xmlns:p14="http://schemas.microsoft.com/office/powerpoint/2010/main" val="1867035036"/>
      </p:ext>
    </p:extLst>
  </p:cSld>
  <p:clrMapOvr>
    <a:masterClrMapping/>
  </p:clrMapOvr>
  <p:extLst>
    <p:ext uri="{DCECCB84-F9BA-43D5-87BE-67443E8EF086}">
      <p15:sldGuideLst xmlns:p15="http://schemas.microsoft.com/office/powerpoint/2012/main">
        <p15:guide id="1" pos="3783">
          <p15:clr>
            <a:srgbClr val="FBAE40"/>
          </p15:clr>
        </p15:guide>
        <p15:guide id="2" pos="3897">
          <p15:clr>
            <a:srgbClr val="FBAE40"/>
          </p15:clr>
        </p15:guide>
        <p15:guide id="3" orient="horz" pos="113">
          <p15:clr>
            <a:srgbClr val="FBAE40"/>
          </p15:clr>
        </p15:guide>
        <p15:guide id="4" orient="horz" pos="786">
          <p15:clr>
            <a:srgbClr val="FBAE40"/>
          </p15:clr>
        </p15:guide>
        <p15:guide id="5" orient="horz" pos="3741">
          <p15:clr>
            <a:srgbClr val="FBAE40"/>
          </p15:clr>
        </p15:guide>
        <p15:guide id="6" orient="horz" pos="1158">
          <p15:clr>
            <a:srgbClr val="FBAE40"/>
          </p15:clr>
        </p15:guide>
        <p15:guide id="7" orient="horz" pos="1272">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Comparison_w_line">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188AF8EE-35AC-49E3-9930-1BDCACEFD4B1}"/>
              </a:ext>
            </a:extLst>
          </p:cNvPr>
          <p:cNvGraphicFramePr>
            <a:graphicFrameLocks noChangeAspect="1"/>
          </p:cNvGraphicFramePr>
          <p:nvPr>
            <p:custDataLst>
              <p:tags r:id="rId1"/>
            </p:custDataLst>
            <p:extLst>
              <p:ext uri="{D42A27DB-BD31-4B8C-83A1-F6EECF244321}">
                <p14:modId xmlns:p14="http://schemas.microsoft.com/office/powerpoint/2010/main" val="10088721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11" name="Object 10" hidden="1">
                        <a:extLst>
                          <a:ext uri="{FF2B5EF4-FFF2-40B4-BE49-F238E27FC236}">
                            <a16:creationId xmlns:a16="http://schemas.microsoft.com/office/drawing/2014/main" id="{188AF8EE-35AC-49E3-9930-1BDCACEFD4B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8B4B1AF4-DDE1-4321-AD46-F0E1D9240B1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4400" b="0" i="0" baseline="0">
              <a:latin typeface="Verdana" panose="020B0604030504040204" pitchFamily="34" charset="0"/>
              <a:ea typeface="+mj-ea"/>
              <a:cs typeface="+mj-cs"/>
              <a:sym typeface="Museo Sans 100"/>
            </a:endParaRPr>
          </a:p>
        </p:txBody>
      </p:sp>
      <p:sp>
        <p:nvSpPr>
          <p:cNvPr id="3" name="Text Placeholder 2">
            <a:extLst>
              <a:ext uri="{FF2B5EF4-FFF2-40B4-BE49-F238E27FC236}">
                <a16:creationId xmlns:a16="http://schemas.microsoft.com/office/drawing/2014/main" id="{9E03F3A1-CCD7-4F8F-9CB5-0C0C93A2BAED}"/>
              </a:ext>
            </a:extLst>
          </p:cNvPr>
          <p:cNvSpPr>
            <a:spLocks noGrp="1"/>
          </p:cNvSpPr>
          <p:nvPr>
            <p:ph type="body" idx="1"/>
          </p:nvPr>
        </p:nvSpPr>
        <p:spPr>
          <a:xfrm>
            <a:off x="382384" y="1205244"/>
            <a:ext cx="5621541" cy="587975"/>
          </a:xfrm>
        </p:spPr>
        <p:txBody>
          <a:bodyPr lIns="72000" tIns="72000" rIns="72000" bIns="72000" anchor="b">
            <a:noAutofit/>
          </a:bodyPr>
          <a:lstStyle>
            <a:lvl1pPr marL="0" indent="0">
              <a:buNone/>
              <a:defRPr sz="1800" b="1">
                <a:solidFill>
                  <a:schemeClr val="tx2">
                    <a:lumMod val="10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4" name="Content Placeholder 3">
            <a:extLst>
              <a:ext uri="{FF2B5EF4-FFF2-40B4-BE49-F238E27FC236}">
                <a16:creationId xmlns:a16="http://schemas.microsoft.com/office/drawing/2014/main" id="{6F7156F0-9E20-4DB3-A7D9-421A0EEF76D6}"/>
              </a:ext>
            </a:extLst>
          </p:cNvPr>
          <p:cNvSpPr>
            <a:spLocks noGrp="1"/>
          </p:cNvSpPr>
          <p:nvPr>
            <p:ph sz="half" idx="2"/>
          </p:nvPr>
        </p:nvSpPr>
        <p:spPr>
          <a:xfrm>
            <a:off x="382385" y="2014538"/>
            <a:ext cx="5475882" cy="3924299"/>
          </a:xfrm>
        </p:spPr>
        <p:txBody>
          <a:bodyPr lIns="72000" tIns="72000" rIns="72000" bIns="7200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4">
            <a:extLst>
              <a:ext uri="{FF2B5EF4-FFF2-40B4-BE49-F238E27FC236}">
                <a16:creationId xmlns:a16="http://schemas.microsoft.com/office/drawing/2014/main" id="{6FCA77FD-9ACC-49B7-B506-B3E7BD7EDC92}"/>
              </a:ext>
            </a:extLst>
          </p:cNvPr>
          <p:cNvSpPr>
            <a:spLocks noGrp="1"/>
          </p:cNvSpPr>
          <p:nvPr>
            <p:ph type="body" sz="quarter" idx="3"/>
          </p:nvPr>
        </p:nvSpPr>
        <p:spPr>
          <a:xfrm>
            <a:off x="6344815" y="1205246"/>
            <a:ext cx="5475882" cy="587974"/>
          </a:xfrm>
        </p:spPr>
        <p:txBody>
          <a:bodyPr lIns="72000" tIns="72000" rIns="72000" bIns="72000" anchor="b">
            <a:noAutofit/>
          </a:bodyPr>
          <a:lstStyle>
            <a:lvl1pPr marL="0" indent="0">
              <a:buNone/>
              <a:defRPr sz="1800" b="1">
                <a:solidFill>
                  <a:schemeClr val="tx2">
                    <a:lumMod val="10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6" name="Content Placeholder 5">
            <a:extLst>
              <a:ext uri="{FF2B5EF4-FFF2-40B4-BE49-F238E27FC236}">
                <a16:creationId xmlns:a16="http://schemas.microsoft.com/office/drawing/2014/main" id="{B2AB2582-7062-4BC6-9D19-F0253BC1B6A2}"/>
              </a:ext>
            </a:extLst>
          </p:cNvPr>
          <p:cNvSpPr>
            <a:spLocks noGrp="1"/>
          </p:cNvSpPr>
          <p:nvPr>
            <p:ph sz="quarter" idx="4"/>
          </p:nvPr>
        </p:nvSpPr>
        <p:spPr>
          <a:xfrm>
            <a:off x="6333735" y="2014538"/>
            <a:ext cx="5486962" cy="3924299"/>
          </a:xfrm>
        </p:spPr>
        <p:txBody>
          <a:bodyPr lIns="72000" tIns="72000" rIns="72000" bIns="7200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Slide Number Placeholder 8">
            <a:extLst>
              <a:ext uri="{FF2B5EF4-FFF2-40B4-BE49-F238E27FC236}">
                <a16:creationId xmlns:a16="http://schemas.microsoft.com/office/drawing/2014/main" id="{B599CBCB-3A71-49DF-A2FE-693C98D8DFA8}"/>
              </a:ext>
            </a:extLst>
          </p:cNvPr>
          <p:cNvSpPr>
            <a:spLocks noGrp="1"/>
          </p:cNvSpPr>
          <p:nvPr>
            <p:ph type="sldNum" sz="quarter" idx="12"/>
          </p:nvPr>
        </p:nvSpPr>
        <p:spPr/>
        <p:txBody>
          <a:bodyPr lIns="0" tIns="0" rIns="0" bIns="0"/>
          <a:lstStyle/>
          <a:p>
            <a:fld id="{ABB6D191-819E-455F-BC39-F2381519C0C1}" type="slidenum">
              <a:rPr lang="en-US" noProof="0" smtClean="0"/>
              <a:t>‹#›</a:t>
            </a:fld>
            <a:endParaRPr lang="en-US" noProof="0"/>
          </a:p>
        </p:txBody>
      </p:sp>
      <p:cxnSp>
        <p:nvCxnSpPr>
          <p:cNvPr id="14" name="Straight Connector 13">
            <a:extLst>
              <a:ext uri="{FF2B5EF4-FFF2-40B4-BE49-F238E27FC236}">
                <a16:creationId xmlns:a16="http://schemas.microsoft.com/office/drawing/2014/main" id="{0E80DDF9-9ABD-41C0-B8CD-6641DEAFE776}"/>
              </a:ext>
            </a:extLst>
          </p:cNvPr>
          <p:cNvCxnSpPr>
            <a:cxnSpLocks/>
          </p:cNvCxnSpPr>
          <p:nvPr/>
        </p:nvCxnSpPr>
        <p:spPr>
          <a:xfrm flipH="1">
            <a:off x="382384" y="1867501"/>
            <a:ext cx="5475883" cy="0"/>
          </a:xfrm>
          <a:prstGeom prst="line">
            <a:avLst/>
          </a:prstGeom>
          <a:ln w="12700" cap="flat" cmpd="sng" algn="ctr">
            <a:solidFill>
              <a:schemeClr val="tx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787ACC30-B3BF-495E-860A-1FD6FA83F803}"/>
              </a:ext>
            </a:extLst>
          </p:cNvPr>
          <p:cNvCxnSpPr>
            <a:cxnSpLocks/>
          </p:cNvCxnSpPr>
          <p:nvPr/>
        </p:nvCxnSpPr>
        <p:spPr>
          <a:xfrm flipH="1">
            <a:off x="6333735" y="1869774"/>
            <a:ext cx="5486962" cy="0"/>
          </a:xfrm>
          <a:prstGeom prst="line">
            <a:avLst/>
          </a:prstGeom>
          <a:ln w="12700" cap="flat" cmpd="sng" algn="ctr">
            <a:solidFill>
              <a:schemeClr val="tx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6" name="Footer Placeholder 3">
            <a:extLst>
              <a:ext uri="{FF2B5EF4-FFF2-40B4-BE49-F238E27FC236}">
                <a16:creationId xmlns:a16="http://schemas.microsoft.com/office/drawing/2014/main" id="{9ACD1BD4-24B7-493E-9C7D-4D406E0164A8}"/>
              </a:ext>
            </a:extLst>
          </p:cNvPr>
          <p:cNvSpPr>
            <a:spLocks noGrp="1"/>
          </p:cNvSpPr>
          <p:nvPr>
            <p:ph type="ftr" sz="quarter" idx="13"/>
          </p:nvPr>
        </p:nvSpPr>
        <p:spPr>
          <a:xfrm>
            <a:off x="1520890" y="6342890"/>
            <a:ext cx="9675845" cy="374690"/>
          </a:xfrm>
          <a:prstGeom prst="rect">
            <a:avLst/>
          </a:prstGeom>
        </p:spPr>
        <p:txBody>
          <a:bodyPr lIns="0" tIns="0" rIns="0" bIns="0" anchor="b"/>
          <a:lstStyle>
            <a:lvl1pPr>
              <a:defRPr sz="900">
                <a:latin typeface="Century Gothic" panose="020B0502020202020204" pitchFamily="34" charset="0"/>
              </a:defRPr>
            </a:lvl1pPr>
          </a:lstStyle>
          <a:p>
            <a:r>
              <a:rPr lang="en-US"/>
              <a:t>Footer</a:t>
            </a:r>
          </a:p>
        </p:txBody>
      </p:sp>
      <p:sp>
        <p:nvSpPr>
          <p:cNvPr id="17" name="Title 1">
            <a:extLst>
              <a:ext uri="{FF2B5EF4-FFF2-40B4-BE49-F238E27FC236}">
                <a16:creationId xmlns:a16="http://schemas.microsoft.com/office/drawing/2014/main" id="{9C88C7A3-0501-4FC5-A23C-F213AB20F2F7}"/>
              </a:ext>
            </a:extLst>
          </p:cNvPr>
          <p:cNvSpPr>
            <a:spLocks noGrp="1"/>
          </p:cNvSpPr>
          <p:nvPr>
            <p:ph type="title" hasCustomPrompt="1"/>
          </p:nvPr>
        </p:nvSpPr>
        <p:spPr>
          <a:xfrm>
            <a:off x="382384" y="179388"/>
            <a:ext cx="11438313" cy="708715"/>
          </a:xfrm>
        </p:spPr>
        <p:txBody>
          <a:bodyPr vert="horz" lIns="0" tIns="0" rIns="0" bIns="0">
            <a:noAutofit/>
          </a:bodyPr>
          <a:lstStyle>
            <a:lvl1pPr>
              <a:defRPr cap="none"/>
            </a:lvl1pPr>
          </a:lstStyle>
          <a:p>
            <a:r>
              <a:rPr lang="en-US" noProof="0"/>
              <a:t>Click to edit master title style</a:t>
            </a:r>
          </a:p>
        </p:txBody>
      </p:sp>
    </p:spTree>
    <p:extLst>
      <p:ext uri="{BB962C8B-B14F-4D97-AF65-F5344CB8AC3E}">
        <p14:creationId xmlns:p14="http://schemas.microsoft.com/office/powerpoint/2010/main" val="3461199738"/>
      </p:ext>
    </p:extLst>
  </p:cSld>
  <p:clrMapOvr>
    <a:masterClrMapping/>
  </p:clrMapOvr>
  <p:extLst>
    <p:ext uri="{DCECCB84-F9BA-43D5-87BE-67443E8EF086}">
      <p15:sldGuideLst xmlns:p15="http://schemas.microsoft.com/office/powerpoint/2012/main">
        <p15:guide id="2" orient="horz" pos="786">
          <p15:clr>
            <a:srgbClr val="FBAE40"/>
          </p15:clr>
        </p15:guide>
        <p15:guide id="3" orient="horz" pos="113">
          <p15:clr>
            <a:srgbClr val="FBAE40"/>
          </p15:clr>
        </p15:guide>
        <p15:guide id="5" pos="3783">
          <p15:clr>
            <a:srgbClr val="FBAE40"/>
          </p15:clr>
        </p15:guide>
        <p15:guide id="6" pos="3897">
          <p15:clr>
            <a:srgbClr val="FBAE40"/>
          </p15:clr>
        </p15:guide>
        <p15:guide id="9" orient="horz" pos="1269">
          <p15:clr>
            <a:srgbClr val="FBAE40"/>
          </p15:clr>
        </p15:guide>
        <p15:guide id="10" orient="horz" pos="3741">
          <p15:clr>
            <a:srgbClr val="FBAE40"/>
          </p15:clr>
        </p15:guide>
        <p15:guide id="11" orient="horz" pos="1155">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7_Title Slide (Picture)">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2DA6B1DC-3F65-4906-A23F-38A69DBB3B6F}"/>
              </a:ext>
            </a:extLst>
          </p:cNvPr>
          <p:cNvSpPr>
            <a:spLocks noGrp="1"/>
          </p:cNvSpPr>
          <p:nvPr>
            <p:ph type="pic" sz="quarter" idx="10"/>
          </p:nvPr>
        </p:nvSpPr>
        <p:spPr>
          <a:xfrm>
            <a:off x="5499100" y="0"/>
            <a:ext cx="6692900" cy="6858000"/>
          </a:xfrm>
          <a:solidFill>
            <a:srgbClr val="004876"/>
          </a:solidFill>
          <a:ln>
            <a:noFill/>
          </a:ln>
        </p:spPr>
        <p:txBody>
          <a:bodyPr/>
          <a:lstStyle>
            <a:lvl1pPr>
              <a:defRPr>
                <a:solidFill>
                  <a:schemeClr val="bg1"/>
                </a:solidFill>
                <a:latin typeface="Century Gothic" panose="020B0502020202020204" pitchFamily="34" charset="0"/>
              </a:defRPr>
            </a:lvl1pPr>
          </a:lstStyle>
          <a:p>
            <a:r>
              <a:rPr lang="en-US"/>
              <a:t>Click icon to add picture</a:t>
            </a:r>
            <a:endParaRPr lang="ru-RU"/>
          </a:p>
        </p:txBody>
      </p:sp>
      <p:pic>
        <p:nvPicPr>
          <p:cNvPr id="6" name="Graphic 5">
            <a:extLst>
              <a:ext uri="{FF2B5EF4-FFF2-40B4-BE49-F238E27FC236}">
                <a16:creationId xmlns:a16="http://schemas.microsoft.com/office/drawing/2014/main" id="{2930B4C9-DB67-4F49-879D-B1ED7C3C60A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48341" y="348749"/>
            <a:ext cx="1856143" cy="1613138"/>
          </a:xfrm>
          <a:prstGeom prst="rect">
            <a:avLst/>
          </a:prstGeom>
        </p:spPr>
      </p:pic>
      <p:graphicFrame>
        <p:nvGraphicFramePr>
          <p:cNvPr id="8" name="Object 7" hidden="1">
            <a:extLst>
              <a:ext uri="{FF2B5EF4-FFF2-40B4-BE49-F238E27FC236}">
                <a16:creationId xmlns:a16="http://schemas.microsoft.com/office/drawing/2014/main" id="{82F0D3B3-FB4D-45BC-BE2E-E0ACC1635A4F}"/>
              </a:ext>
            </a:extLst>
          </p:cNvPr>
          <p:cNvGraphicFramePr>
            <a:graphicFrameLocks noChangeAspect="1"/>
          </p:cNvGraphicFramePr>
          <p:nvPr>
            <p:custDataLst>
              <p:tags r:id="rId1"/>
            </p:custDataLst>
            <p:extLst>
              <p:ext uri="{D42A27DB-BD31-4B8C-83A1-F6EECF244321}">
                <p14:modId xmlns:p14="http://schemas.microsoft.com/office/powerpoint/2010/main" val="25635096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7" imgH="348" progId="TCLayout.ActiveDocument.1">
                  <p:embed/>
                </p:oleObj>
              </mc:Choice>
              <mc:Fallback>
                <p:oleObj name="think-cell Slide" r:id="rId6" imgW="347" imgH="348" progId="TCLayout.ActiveDocument.1">
                  <p:embed/>
                  <p:pic>
                    <p:nvPicPr>
                      <p:cNvPr id="8" name="Object 7" hidden="1">
                        <a:extLst>
                          <a:ext uri="{FF2B5EF4-FFF2-40B4-BE49-F238E27FC236}">
                            <a16:creationId xmlns:a16="http://schemas.microsoft.com/office/drawing/2014/main" id="{82F0D3B3-FB4D-45BC-BE2E-E0ACC1635A4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0D406DB-41A2-4933-86A0-0828F55DE1B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3600" b="1" i="0" baseline="0">
              <a:latin typeface="Century Gothic" panose="020B0502020202020204" pitchFamily="34" charset="0"/>
              <a:ea typeface="+mj-ea"/>
              <a:cs typeface="+mj-cs"/>
              <a:sym typeface="Century Gothic" panose="020B0502020202020204" pitchFamily="34" charset="0"/>
            </a:endParaRPr>
          </a:p>
        </p:txBody>
      </p:sp>
      <p:pic>
        <p:nvPicPr>
          <p:cNvPr id="5" name="Graphic 4">
            <a:extLst>
              <a:ext uri="{FF2B5EF4-FFF2-40B4-BE49-F238E27FC236}">
                <a16:creationId xmlns:a16="http://schemas.microsoft.com/office/drawing/2014/main" id="{3E561662-0D0B-4AED-AB04-D1AE3501D593}"/>
              </a:ext>
            </a:extLst>
          </p:cNvPr>
          <p:cNvPicPr>
            <a:picLocks noChangeAspect="1"/>
          </p:cNvPicPr>
          <p:nvPr/>
        </p:nvPicPr>
        <p:blipFill rotWithShape="1">
          <a:blip r:embed="rId8">
            <a:extLst>
              <a:ext uri="{96DAC541-7B7A-43D3-8B79-37D633B846F1}">
                <asvg:svgBlip xmlns:asvg="http://schemas.microsoft.com/office/drawing/2016/SVG/main" r:embed="rId9"/>
              </a:ext>
            </a:extLst>
          </a:blip>
          <a:srcRect l="-39" t="12642" r="50000" b="14589"/>
          <a:stretch/>
        </p:blipFill>
        <p:spPr>
          <a:xfrm>
            <a:off x="5499100" y="348749"/>
            <a:ext cx="6692900" cy="6509251"/>
          </a:xfrm>
          <a:prstGeom prst="rect">
            <a:avLst/>
          </a:prstGeom>
        </p:spPr>
      </p:pic>
      <p:sp>
        <p:nvSpPr>
          <p:cNvPr id="15" name="Title 1">
            <a:extLst>
              <a:ext uri="{FF2B5EF4-FFF2-40B4-BE49-F238E27FC236}">
                <a16:creationId xmlns:a16="http://schemas.microsoft.com/office/drawing/2014/main" id="{4C412A92-9519-4519-A789-640A2F67C6AB}"/>
              </a:ext>
            </a:extLst>
          </p:cNvPr>
          <p:cNvSpPr>
            <a:spLocks noGrp="1"/>
          </p:cNvSpPr>
          <p:nvPr>
            <p:ph type="ctrTitle" hasCustomPrompt="1"/>
          </p:nvPr>
        </p:nvSpPr>
        <p:spPr>
          <a:xfrm>
            <a:off x="348343" y="3880691"/>
            <a:ext cx="4642757" cy="1801524"/>
          </a:xfrm>
        </p:spPr>
        <p:txBody>
          <a:bodyPr vert="horz" anchor="b">
            <a:noAutofit/>
          </a:bodyPr>
          <a:lstStyle>
            <a:lvl1pPr algn="l">
              <a:defRPr sz="3600">
                <a:solidFill>
                  <a:srgbClr val="004876"/>
                </a:solidFill>
                <a:latin typeface="Century Gothic" panose="020B0502020202020204" pitchFamily="34" charset="0"/>
              </a:defRPr>
            </a:lvl1pPr>
          </a:lstStyle>
          <a:p>
            <a:r>
              <a:rPr lang="en-US" noProof="0"/>
              <a:t>Click to edit master title style</a:t>
            </a:r>
          </a:p>
        </p:txBody>
      </p:sp>
      <p:sp>
        <p:nvSpPr>
          <p:cNvPr id="16" name="Subtitle 2">
            <a:extLst>
              <a:ext uri="{FF2B5EF4-FFF2-40B4-BE49-F238E27FC236}">
                <a16:creationId xmlns:a16="http://schemas.microsoft.com/office/drawing/2014/main" id="{3521ED30-FE02-4A6F-8451-4CBC28F63926}"/>
              </a:ext>
            </a:extLst>
          </p:cNvPr>
          <p:cNvSpPr>
            <a:spLocks noGrp="1"/>
          </p:cNvSpPr>
          <p:nvPr>
            <p:ph type="subTitle" idx="1" hasCustomPrompt="1"/>
          </p:nvPr>
        </p:nvSpPr>
        <p:spPr>
          <a:xfrm>
            <a:off x="348341" y="5769039"/>
            <a:ext cx="4642757" cy="349250"/>
          </a:xfrm>
        </p:spPr>
        <p:txBody>
          <a:bodyPr lIns="0" tIns="0" rIns="0" bIns="0" anchor="ctr">
            <a:noAutofit/>
          </a:bodyPr>
          <a:lstStyle>
            <a:lvl1pPr marL="0" indent="0" algn="l">
              <a:buNone/>
              <a:defRPr sz="2000">
                <a:solidFill>
                  <a:srgbClr val="00A5B5"/>
                </a:solidFill>
                <a:latin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spTree>
    <p:extLst>
      <p:ext uri="{BB962C8B-B14F-4D97-AF65-F5344CB8AC3E}">
        <p14:creationId xmlns:p14="http://schemas.microsoft.com/office/powerpoint/2010/main" val="3803102255"/>
      </p:ext>
    </p:extLst>
  </p:cSld>
  <p:clrMapOvr>
    <a:masterClrMapping/>
  </p:clrMapOvr>
  <p:hf hdr="0" dt="0"/>
  <p:extLst>
    <p:ext uri="{DCECCB84-F9BA-43D5-87BE-67443E8EF086}">
      <p15:sldGuideLst xmlns:p15="http://schemas.microsoft.com/office/powerpoint/2012/main">
        <p15:guide id="2" orient="horz" pos="674">
          <p15:clr>
            <a:srgbClr val="FBAE40"/>
          </p15:clr>
        </p15:guide>
        <p15:guide id="3" pos="4806">
          <p15:clr>
            <a:srgbClr val="FBAE40"/>
          </p15:clr>
        </p15:guide>
        <p15:guide id="4" pos="558">
          <p15:clr>
            <a:srgbClr val="FBAE40"/>
          </p15:clr>
        </p15:guide>
        <p15:guide id="7" orient="horz" pos="1064">
          <p15:clr>
            <a:srgbClr val="FBAE40"/>
          </p15:clr>
        </p15:guide>
        <p15:guide id="8" orient="horz" pos="2570">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188AF8EE-35AC-49E3-9930-1BDCACEFD4B1}"/>
              </a:ext>
            </a:extLst>
          </p:cNvPr>
          <p:cNvGraphicFramePr>
            <a:graphicFrameLocks noChangeAspect="1"/>
          </p:cNvGraphicFramePr>
          <p:nvPr>
            <p:custDataLst>
              <p:tags r:id="rId1"/>
            </p:custDataLst>
            <p:extLst>
              <p:ext uri="{D42A27DB-BD31-4B8C-83A1-F6EECF244321}">
                <p14:modId xmlns:p14="http://schemas.microsoft.com/office/powerpoint/2010/main" val="16992062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11" name="Object 10" hidden="1">
                        <a:extLst>
                          <a:ext uri="{FF2B5EF4-FFF2-40B4-BE49-F238E27FC236}">
                            <a16:creationId xmlns:a16="http://schemas.microsoft.com/office/drawing/2014/main" id="{188AF8EE-35AC-49E3-9930-1BDCACEFD4B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8B4B1AF4-DDE1-4321-AD46-F0E1D9240B1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4400" b="0" i="0" baseline="0">
              <a:latin typeface="Verdana" panose="020B0604030504040204" pitchFamily="34" charset="0"/>
              <a:ea typeface="+mj-ea"/>
              <a:cs typeface="+mj-cs"/>
              <a:sym typeface="Museo Sans 100"/>
            </a:endParaRPr>
          </a:p>
        </p:txBody>
      </p:sp>
      <p:sp>
        <p:nvSpPr>
          <p:cNvPr id="9" name="Slide Number Placeholder 8">
            <a:extLst>
              <a:ext uri="{FF2B5EF4-FFF2-40B4-BE49-F238E27FC236}">
                <a16:creationId xmlns:a16="http://schemas.microsoft.com/office/drawing/2014/main" id="{B599CBCB-3A71-49DF-A2FE-693C98D8DFA8}"/>
              </a:ext>
            </a:extLst>
          </p:cNvPr>
          <p:cNvSpPr>
            <a:spLocks noGrp="1"/>
          </p:cNvSpPr>
          <p:nvPr>
            <p:ph type="sldNum" sz="quarter" idx="12"/>
          </p:nvPr>
        </p:nvSpPr>
        <p:spPr/>
        <p:txBody>
          <a:bodyPr lIns="0" tIns="0" rIns="0" bIns="0"/>
          <a:lstStyle/>
          <a:p>
            <a:fld id="{ABB6D191-819E-455F-BC39-F2381519C0C1}" type="slidenum">
              <a:rPr lang="en-US" noProof="0" smtClean="0"/>
              <a:t>‹#›</a:t>
            </a:fld>
            <a:endParaRPr lang="en-US" noProof="0"/>
          </a:p>
        </p:txBody>
      </p:sp>
      <p:sp>
        <p:nvSpPr>
          <p:cNvPr id="13" name="Footer Placeholder 3">
            <a:extLst>
              <a:ext uri="{FF2B5EF4-FFF2-40B4-BE49-F238E27FC236}">
                <a16:creationId xmlns:a16="http://schemas.microsoft.com/office/drawing/2014/main" id="{0AF537C3-0565-49B7-BAF7-707C0CFC0232}"/>
              </a:ext>
            </a:extLst>
          </p:cNvPr>
          <p:cNvSpPr>
            <a:spLocks noGrp="1"/>
          </p:cNvSpPr>
          <p:nvPr>
            <p:ph type="ftr" sz="quarter" idx="13"/>
          </p:nvPr>
        </p:nvSpPr>
        <p:spPr>
          <a:xfrm>
            <a:off x="1520890" y="6342890"/>
            <a:ext cx="9675845" cy="374690"/>
          </a:xfrm>
          <a:prstGeom prst="rect">
            <a:avLst/>
          </a:prstGeom>
        </p:spPr>
        <p:txBody>
          <a:bodyPr lIns="0" tIns="0" rIns="0" bIns="0" anchor="b"/>
          <a:lstStyle>
            <a:lvl1pPr>
              <a:defRPr sz="900">
                <a:latin typeface="Century Gothic" panose="020B0502020202020204" pitchFamily="34" charset="0"/>
              </a:defRPr>
            </a:lvl1pPr>
          </a:lstStyle>
          <a:p>
            <a:r>
              <a:rPr lang="en-US"/>
              <a:t>Footer</a:t>
            </a:r>
          </a:p>
        </p:txBody>
      </p:sp>
      <p:sp>
        <p:nvSpPr>
          <p:cNvPr id="14" name="Title 1">
            <a:extLst>
              <a:ext uri="{FF2B5EF4-FFF2-40B4-BE49-F238E27FC236}">
                <a16:creationId xmlns:a16="http://schemas.microsoft.com/office/drawing/2014/main" id="{B214B955-5CE2-401B-88E7-E488FF6074DC}"/>
              </a:ext>
            </a:extLst>
          </p:cNvPr>
          <p:cNvSpPr>
            <a:spLocks noGrp="1"/>
          </p:cNvSpPr>
          <p:nvPr>
            <p:ph type="title" hasCustomPrompt="1"/>
          </p:nvPr>
        </p:nvSpPr>
        <p:spPr>
          <a:xfrm>
            <a:off x="382384" y="179388"/>
            <a:ext cx="11438313" cy="708715"/>
          </a:xfrm>
        </p:spPr>
        <p:txBody>
          <a:bodyPr vert="horz" lIns="0" tIns="0" rIns="0" bIns="0">
            <a:noAutofit/>
          </a:bodyPr>
          <a:lstStyle>
            <a:lvl1pPr>
              <a:defRPr cap="none"/>
            </a:lvl1pPr>
          </a:lstStyle>
          <a:p>
            <a:r>
              <a:rPr lang="en-US" noProof="0"/>
              <a:t>Click to edit master title style</a:t>
            </a:r>
          </a:p>
        </p:txBody>
      </p:sp>
      <p:sp>
        <p:nvSpPr>
          <p:cNvPr id="15" name="Content Placeholder 2">
            <a:extLst>
              <a:ext uri="{FF2B5EF4-FFF2-40B4-BE49-F238E27FC236}">
                <a16:creationId xmlns:a16="http://schemas.microsoft.com/office/drawing/2014/main" id="{1E8465C6-CA5D-4B05-9A5A-0802DB88B8BF}"/>
              </a:ext>
            </a:extLst>
          </p:cNvPr>
          <p:cNvSpPr>
            <a:spLocks noGrp="1"/>
          </p:cNvSpPr>
          <p:nvPr>
            <p:ph sz="half" idx="1"/>
          </p:nvPr>
        </p:nvSpPr>
        <p:spPr>
          <a:xfrm>
            <a:off x="382384" y="1247775"/>
            <a:ext cx="5475882" cy="4691063"/>
          </a:xfrm>
        </p:spPr>
        <p:txBody>
          <a:bodyPr>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6" name="Content Placeholder 3">
            <a:extLst>
              <a:ext uri="{FF2B5EF4-FFF2-40B4-BE49-F238E27FC236}">
                <a16:creationId xmlns:a16="http://schemas.microsoft.com/office/drawing/2014/main" id="{C8711B5E-1663-44E3-AE92-8A03E23ED7CB}"/>
              </a:ext>
            </a:extLst>
          </p:cNvPr>
          <p:cNvSpPr>
            <a:spLocks noGrp="1"/>
          </p:cNvSpPr>
          <p:nvPr>
            <p:ph sz="half" idx="2"/>
          </p:nvPr>
        </p:nvSpPr>
        <p:spPr>
          <a:xfrm>
            <a:off x="6344816" y="1247776"/>
            <a:ext cx="5475882" cy="4691062"/>
          </a:xfrm>
        </p:spPr>
        <p:txBody>
          <a:bodyPr>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263732692"/>
      </p:ext>
    </p:extLst>
  </p:cSld>
  <p:clrMapOvr>
    <a:masterClrMapping/>
  </p:clrMapOvr>
  <p:extLst>
    <p:ext uri="{DCECCB84-F9BA-43D5-87BE-67443E8EF086}">
      <p15:sldGuideLst xmlns:p15="http://schemas.microsoft.com/office/powerpoint/2012/main">
        <p15:guide id="2" orient="horz" pos="786">
          <p15:clr>
            <a:srgbClr val="FBAE40"/>
          </p15:clr>
        </p15:guide>
        <p15:guide id="3" orient="horz" pos="113">
          <p15:clr>
            <a:srgbClr val="FBAE40"/>
          </p15:clr>
        </p15:guide>
        <p15:guide id="5" pos="3783">
          <p15:clr>
            <a:srgbClr val="FBAE40"/>
          </p15:clr>
        </p15:guide>
        <p15:guide id="6" pos="3897">
          <p15:clr>
            <a:srgbClr val="FBAE40"/>
          </p15:clr>
        </p15:guide>
        <p15:guide id="9" orient="horz" pos="1269">
          <p15:clr>
            <a:srgbClr val="FBAE40"/>
          </p15:clr>
        </p15:guide>
        <p15:guide id="10" orient="horz" pos="3741">
          <p15:clr>
            <a:srgbClr val="FBAE40"/>
          </p15:clr>
        </p15:guide>
        <p15:guide id="11" orient="horz" pos="1155">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5C200AD-18D5-486A-A4CB-E94C0B69B40B}"/>
              </a:ext>
            </a:extLst>
          </p:cNvPr>
          <p:cNvGraphicFramePr>
            <a:graphicFrameLocks noChangeAspect="1"/>
          </p:cNvGraphicFramePr>
          <p:nvPr>
            <p:custDataLst>
              <p:tags r:id="rId1"/>
            </p:custDataLst>
            <p:extLst>
              <p:ext uri="{D42A27DB-BD31-4B8C-83A1-F6EECF244321}">
                <p14:modId xmlns:p14="http://schemas.microsoft.com/office/powerpoint/2010/main" val="18324526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55C200AD-18D5-486A-A4CB-E94C0B69B40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2A69E91C-60CE-4280-A020-6C74B0B2171F}"/>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4400" b="0" i="0" baseline="0">
              <a:latin typeface="Verdana" panose="020B0604030504040204" pitchFamily="34" charset="0"/>
              <a:ea typeface="+mj-ea"/>
              <a:cs typeface="+mj-cs"/>
              <a:sym typeface="Museo Sans 100"/>
            </a:endParaRPr>
          </a:p>
        </p:txBody>
      </p:sp>
      <p:sp>
        <p:nvSpPr>
          <p:cNvPr id="2" name="Title 1">
            <a:extLst>
              <a:ext uri="{FF2B5EF4-FFF2-40B4-BE49-F238E27FC236}">
                <a16:creationId xmlns:a16="http://schemas.microsoft.com/office/drawing/2014/main" id="{41820E8D-4EE5-4F53-8446-F66BF7FA8047}"/>
              </a:ext>
            </a:extLst>
          </p:cNvPr>
          <p:cNvSpPr>
            <a:spLocks noGrp="1"/>
          </p:cNvSpPr>
          <p:nvPr>
            <p:ph type="title" hasCustomPrompt="1"/>
          </p:nvPr>
        </p:nvSpPr>
        <p:spPr/>
        <p:txBody>
          <a:bodyPr vert="horz" lIns="0" tIns="0" rIns="0" bIns="0">
            <a:noAutofit/>
          </a:bodyPr>
          <a:lstStyle>
            <a:lvl1pPr>
              <a:defRPr cap="none"/>
            </a:lvl1pPr>
          </a:lstStyle>
          <a:p>
            <a:r>
              <a:rPr lang="en-US" noProof="0"/>
              <a:t>Click to edit master title style</a:t>
            </a:r>
          </a:p>
        </p:txBody>
      </p:sp>
      <p:sp>
        <p:nvSpPr>
          <p:cNvPr id="5" name="Slide Number Placeholder 4">
            <a:extLst>
              <a:ext uri="{FF2B5EF4-FFF2-40B4-BE49-F238E27FC236}">
                <a16:creationId xmlns:a16="http://schemas.microsoft.com/office/drawing/2014/main" id="{3E98EFC9-0015-445F-920E-4162760DF929}"/>
              </a:ext>
            </a:extLst>
          </p:cNvPr>
          <p:cNvSpPr>
            <a:spLocks noGrp="1"/>
          </p:cNvSpPr>
          <p:nvPr>
            <p:ph type="sldNum" sz="quarter" idx="12"/>
          </p:nvPr>
        </p:nvSpPr>
        <p:spPr/>
        <p:txBody>
          <a:bodyPr lIns="0" tIns="0" rIns="0" bIns="0"/>
          <a:lstStyle/>
          <a:p>
            <a:fld id="{ABB6D191-819E-455F-BC39-F2381519C0C1}" type="slidenum">
              <a:rPr lang="en-US" noProof="0" smtClean="0"/>
              <a:t>‹#›</a:t>
            </a:fld>
            <a:endParaRPr lang="en-US" noProof="0"/>
          </a:p>
        </p:txBody>
      </p:sp>
      <p:sp>
        <p:nvSpPr>
          <p:cNvPr id="8" name="Footer Placeholder 3">
            <a:extLst>
              <a:ext uri="{FF2B5EF4-FFF2-40B4-BE49-F238E27FC236}">
                <a16:creationId xmlns:a16="http://schemas.microsoft.com/office/drawing/2014/main" id="{BD97228A-8562-4988-804B-49C33360530C}"/>
              </a:ext>
            </a:extLst>
          </p:cNvPr>
          <p:cNvSpPr>
            <a:spLocks noGrp="1"/>
          </p:cNvSpPr>
          <p:nvPr>
            <p:ph type="ftr" sz="quarter" idx="3"/>
          </p:nvPr>
        </p:nvSpPr>
        <p:spPr>
          <a:xfrm>
            <a:off x="1520890" y="6342890"/>
            <a:ext cx="9675845" cy="374690"/>
          </a:xfrm>
          <a:prstGeom prst="rect">
            <a:avLst/>
          </a:prstGeom>
        </p:spPr>
        <p:txBody>
          <a:bodyPr lIns="0" tIns="0" rIns="0" bIns="0" anchor="b"/>
          <a:lstStyle>
            <a:lvl1pPr>
              <a:defRPr sz="900">
                <a:latin typeface="Century Gothic" panose="020B0502020202020204" pitchFamily="34" charset="0"/>
              </a:defRPr>
            </a:lvl1pPr>
          </a:lstStyle>
          <a:p>
            <a:r>
              <a:rPr lang="en-US"/>
              <a:t>Footer</a:t>
            </a:r>
          </a:p>
        </p:txBody>
      </p:sp>
    </p:spTree>
    <p:extLst>
      <p:ext uri="{BB962C8B-B14F-4D97-AF65-F5344CB8AC3E}">
        <p14:creationId xmlns:p14="http://schemas.microsoft.com/office/powerpoint/2010/main" val="3780342947"/>
      </p:ext>
    </p:extLst>
  </p:cSld>
  <p:clrMapOvr>
    <a:masterClrMapping/>
  </p:clrMapOvr>
  <p:extLst>
    <p:ext uri="{DCECCB84-F9BA-43D5-87BE-67443E8EF086}">
      <p15:sldGuideLst xmlns:p15="http://schemas.microsoft.com/office/powerpoint/2012/main">
        <p15:guide id="1" orient="horz" pos="114">
          <p15:clr>
            <a:srgbClr val="FBAE40"/>
          </p15:clr>
        </p15:guide>
        <p15:guide id="2" orient="horz" pos="786">
          <p15:clr>
            <a:srgbClr val="FBAE40"/>
          </p15:clr>
        </p15:guide>
        <p15:guide id="3" orient="horz" pos="1155">
          <p15:clr>
            <a:srgbClr val="FBAE40"/>
          </p15:clr>
        </p15:guide>
        <p15:guide id="4" orient="horz" pos="1269">
          <p15:clr>
            <a:srgbClr val="FBAE40"/>
          </p15:clr>
        </p15:guide>
        <p15:guide id="5" pos="3783">
          <p15:clr>
            <a:srgbClr val="FBAE40"/>
          </p15:clr>
        </p15:guide>
        <p15:guide id="6" pos="3897">
          <p15:clr>
            <a:srgbClr val="FBAE40"/>
          </p15:clr>
        </p15:guide>
        <p15:guide id="7" orient="horz" pos="3741">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ActionTitl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5C200AD-18D5-486A-A4CB-E94C0B69B40B}"/>
              </a:ext>
            </a:extLst>
          </p:cNvPr>
          <p:cNvGraphicFramePr>
            <a:graphicFrameLocks noChangeAspect="1"/>
          </p:cNvGraphicFramePr>
          <p:nvPr>
            <p:custDataLst>
              <p:tags r:id="rId1"/>
            </p:custDataLst>
            <p:extLst>
              <p:ext uri="{D42A27DB-BD31-4B8C-83A1-F6EECF244321}">
                <p14:modId xmlns:p14="http://schemas.microsoft.com/office/powerpoint/2010/main" val="4420789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55C200AD-18D5-486A-A4CB-E94C0B69B40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2A69E91C-60CE-4280-A020-6C74B0B2171F}"/>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4400" b="0" i="0" baseline="0">
              <a:latin typeface="Verdana" panose="020B0604030504040204" pitchFamily="34" charset="0"/>
              <a:ea typeface="+mj-ea"/>
              <a:cs typeface="+mj-cs"/>
              <a:sym typeface="Museo Sans 100"/>
            </a:endParaRPr>
          </a:p>
        </p:txBody>
      </p:sp>
      <p:sp>
        <p:nvSpPr>
          <p:cNvPr id="2" name="Title 1">
            <a:extLst>
              <a:ext uri="{FF2B5EF4-FFF2-40B4-BE49-F238E27FC236}">
                <a16:creationId xmlns:a16="http://schemas.microsoft.com/office/drawing/2014/main" id="{41820E8D-4EE5-4F53-8446-F66BF7FA8047}"/>
              </a:ext>
            </a:extLst>
          </p:cNvPr>
          <p:cNvSpPr>
            <a:spLocks noGrp="1"/>
          </p:cNvSpPr>
          <p:nvPr>
            <p:ph type="title" hasCustomPrompt="1"/>
          </p:nvPr>
        </p:nvSpPr>
        <p:spPr/>
        <p:txBody>
          <a:bodyPr vert="horz" lIns="0" tIns="0" rIns="0" bIns="0">
            <a:noAutofit/>
          </a:bodyPr>
          <a:lstStyle>
            <a:lvl1pPr>
              <a:defRPr cap="none"/>
            </a:lvl1pPr>
          </a:lstStyle>
          <a:p>
            <a:r>
              <a:rPr lang="en-US" noProof="0"/>
              <a:t>Click to edit master title style</a:t>
            </a:r>
          </a:p>
        </p:txBody>
      </p:sp>
      <p:sp>
        <p:nvSpPr>
          <p:cNvPr id="5" name="Slide Number Placeholder 4">
            <a:extLst>
              <a:ext uri="{FF2B5EF4-FFF2-40B4-BE49-F238E27FC236}">
                <a16:creationId xmlns:a16="http://schemas.microsoft.com/office/drawing/2014/main" id="{3E98EFC9-0015-445F-920E-4162760DF929}"/>
              </a:ext>
            </a:extLst>
          </p:cNvPr>
          <p:cNvSpPr>
            <a:spLocks noGrp="1"/>
          </p:cNvSpPr>
          <p:nvPr>
            <p:ph type="sldNum" sz="quarter" idx="12"/>
          </p:nvPr>
        </p:nvSpPr>
        <p:spPr/>
        <p:txBody>
          <a:bodyPr lIns="0" tIns="0" rIns="0" bIns="0"/>
          <a:lstStyle/>
          <a:p>
            <a:fld id="{ABB6D191-819E-455F-BC39-F2381519C0C1}" type="slidenum">
              <a:rPr lang="en-US" noProof="0" smtClean="0"/>
              <a:t>‹#›</a:t>
            </a:fld>
            <a:endParaRPr lang="en-US" noProof="0"/>
          </a:p>
        </p:txBody>
      </p:sp>
      <p:sp>
        <p:nvSpPr>
          <p:cNvPr id="10" name="Text Placeholder 9">
            <a:extLst>
              <a:ext uri="{FF2B5EF4-FFF2-40B4-BE49-F238E27FC236}">
                <a16:creationId xmlns:a16="http://schemas.microsoft.com/office/drawing/2014/main" id="{03957C2D-A49F-4DB6-BF75-79C374D34A24}"/>
              </a:ext>
            </a:extLst>
          </p:cNvPr>
          <p:cNvSpPr>
            <a:spLocks noGrp="1"/>
          </p:cNvSpPr>
          <p:nvPr>
            <p:ph type="body" sz="quarter" idx="13" hasCustomPrompt="1"/>
          </p:nvPr>
        </p:nvSpPr>
        <p:spPr>
          <a:xfrm>
            <a:off x="179388" y="887413"/>
            <a:ext cx="11831637" cy="374650"/>
          </a:xfrm>
        </p:spPr>
        <p:txBody>
          <a:bodyPr anchor="ctr">
            <a:noAutofit/>
          </a:bodyPr>
          <a:lstStyle>
            <a:lvl1pPr marL="0" indent="0">
              <a:buNone/>
              <a:defRPr sz="1400">
                <a:solidFill>
                  <a:schemeClr val="tx1">
                    <a:lumMod val="50000"/>
                    <a:lumOff val="50000"/>
                  </a:schemeClr>
                </a:solidFill>
              </a:defRPr>
            </a:lvl1pPr>
          </a:lstStyle>
          <a:p>
            <a:pPr lvl="0"/>
            <a:r>
              <a:rPr lang="de-DE"/>
              <a:t>Action title</a:t>
            </a:r>
            <a:endParaRPr lang="en-US"/>
          </a:p>
        </p:txBody>
      </p:sp>
      <p:sp>
        <p:nvSpPr>
          <p:cNvPr id="8" name="Footer Placeholder 3">
            <a:extLst>
              <a:ext uri="{FF2B5EF4-FFF2-40B4-BE49-F238E27FC236}">
                <a16:creationId xmlns:a16="http://schemas.microsoft.com/office/drawing/2014/main" id="{2DACB3D2-A539-4EC7-A0B5-0E6391268851}"/>
              </a:ext>
            </a:extLst>
          </p:cNvPr>
          <p:cNvSpPr>
            <a:spLocks noGrp="1"/>
          </p:cNvSpPr>
          <p:nvPr>
            <p:ph type="ftr" sz="quarter" idx="3"/>
          </p:nvPr>
        </p:nvSpPr>
        <p:spPr>
          <a:xfrm>
            <a:off x="1520890" y="6342890"/>
            <a:ext cx="9675845" cy="374690"/>
          </a:xfrm>
          <a:prstGeom prst="rect">
            <a:avLst/>
          </a:prstGeom>
        </p:spPr>
        <p:txBody>
          <a:bodyPr lIns="0" tIns="0" rIns="0" bIns="0" anchor="b"/>
          <a:lstStyle>
            <a:lvl1pPr>
              <a:defRPr sz="900">
                <a:latin typeface="Century Gothic" panose="020B0502020202020204" pitchFamily="34" charset="0"/>
              </a:defRPr>
            </a:lvl1pPr>
          </a:lstStyle>
          <a:p>
            <a:r>
              <a:rPr lang="en-US"/>
              <a:t>Footer</a:t>
            </a:r>
          </a:p>
        </p:txBody>
      </p:sp>
    </p:spTree>
    <p:extLst>
      <p:ext uri="{BB962C8B-B14F-4D97-AF65-F5344CB8AC3E}">
        <p14:creationId xmlns:p14="http://schemas.microsoft.com/office/powerpoint/2010/main" val="2165039529"/>
      </p:ext>
    </p:extLst>
  </p:cSld>
  <p:clrMapOvr>
    <a:masterClrMapping/>
  </p:clrMapOvr>
  <p:extLst>
    <p:ext uri="{DCECCB84-F9BA-43D5-87BE-67443E8EF086}">
      <p15:sldGuideLst xmlns:p15="http://schemas.microsoft.com/office/powerpoint/2012/main">
        <p15:guide id="1" orient="horz" pos="114">
          <p15:clr>
            <a:srgbClr val="FBAE40"/>
          </p15:clr>
        </p15:guide>
        <p15:guide id="2" orient="horz" pos="786">
          <p15:clr>
            <a:srgbClr val="FBAE40"/>
          </p15:clr>
        </p15:guide>
        <p15:guide id="3" orient="horz" pos="1155">
          <p15:clr>
            <a:srgbClr val="FBAE40"/>
          </p15:clr>
        </p15:guide>
        <p15:guide id="4" orient="horz" pos="1269">
          <p15:clr>
            <a:srgbClr val="FBAE40"/>
          </p15:clr>
        </p15:guide>
        <p15:guide id="5" pos="3783">
          <p15:clr>
            <a:srgbClr val="FBAE40"/>
          </p15:clr>
        </p15:guide>
        <p15:guide id="6" pos="3897">
          <p15:clr>
            <a:srgbClr val="FBAE40"/>
          </p15:clr>
        </p15:guide>
        <p15:guide id="7" orient="horz" pos="3741">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ActionTitle_lin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5C200AD-18D5-486A-A4CB-E94C0B69B40B}"/>
              </a:ext>
            </a:extLst>
          </p:cNvPr>
          <p:cNvGraphicFramePr>
            <a:graphicFrameLocks noChangeAspect="1"/>
          </p:cNvGraphicFramePr>
          <p:nvPr>
            <p:custDataLst>
              <p:tags r:id="rId1"/>
            </p:custDataLst>
            <p:extLst>
              <p:ext uri="{D42A27DB-BD31-4B8C-83A1-F6EECF244321}">
                <p14:modId xmlns:p14="http://schemas.microsoft.com/office/powerpoint/2010/main" val="3903381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55C200AD-18D5-486A-A4CB-E94C0B69B40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2A69E91C-60CE-4280-A020-6C74B0B2171F}"/>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4400" b="0" i="0" baseline="0">
              <a:latin typeface="Verdana" panose="020B0604030504040204" pitchFamily="34" charset="0"/>
              <a:ea typeface="+mj-ea"/>
              <a:cs typeface="+mj-cs"/>
              <a:sym typeface="Museo Sans 100"/>
            </a:endParaRPr>
          </a:p>
        </p:txBody>
      </p:sp>
      <p:sp>
        <p:nvSpPr>
          <p:cNvPr id="2" name="Title 1">
            <a:extLst>
              <a:ext uri="{FF2B5EF4-FFF2-40B4-BE49-F238E27FC236}">
                <a16:creationId xmlns:a16="http://schemas.microsoft.com/office/drawing/2014/main" id="{41820E8D-4EE5-4F53-8446-F66BF7FA8047}"/>
              </a:ext>
            </a:extLst>
          </p:cNvPr>
          <p:cNvSpPr>
            <a:spLocks noGrp="1"/>
          </p:cNvSpPr>
          <p:nvPr>
            <p:ph type="title" hasCustomPrompt="1"/>
          </p:nvPr>
        </p:nvSpPr>
        <p:spPr/>
        <p:txBody>
          <a:bodyPr vert="horz" lIns="0" tIns="0" rIns="0" bIns="0">
            <a:noAutofit/>
          </a:bodyPr>
          <a:lstStyle>
            <a:lvl1pPr>
              <a:defRPr cap="none"/>
            </a:lvl1pPr>
          </a:lstStyle>
          <a:p>
            <a:r>
              <a:rPr lang="en-US" noProof="0"/>
              <a:t>Click to edit master title style</a:t>
            </a:r>
          </a:p>
        </p:txBody>
      </p:sp>
      <p:sp>
        <p:nvSpPr>
          <p:cNvPr id="5" name="Slide Number Placeholder 4">
            <a:extLst>
              <a:ext uri="{FF2B5EF4-FFF2-40B4-BE49-F238E27FC236}">
                <a16:creationId xmlns:a16="http://schemas.microsoft.com/office/drawing/2014/main" id="{3E98EFC9-0015-445F-920E-4162760DF929}"/>
              </a:ext>
            </a:extLst>
          </p:cNvPr>
          <p:cNvSpPr>
            <a:spLocks noGrp="1"/>
          </p:cNvSpPr>
          <p:nvPr>
            <p:ph type="sldNum" sz="quarter" idx="12"/>
          </p:nvPr>
        </p:nvSpPr>
        <p:spPr/>
        <p:txBody>
          <a:bodyPr lIns="0" tIns="0" rIns="0" bIns="0"/>
          <a:lstStyle/>
          <a:p>
            <a:fld id="{ABB6D191-819E-455F-BC39-F2381519C0C1}" type="slidenum">
              <a:rPr lang="en-US" noProof="0" smtClean="0"/>
              <a:t>‹#›</a:t>
            </a:fld>
            <a:endParaRPr lang="en-US" noProof="0"/>
          </a:p>
        </p:txBody>
      </p:sp>
      <p:sp>
        <p:nvSpPr>
          <p:cNvPr id="10" name="Text Placeholder 9">
            <a:extLst>
              <a:ext uri="{FF2B5EF4-FFF2-40B4-BE49-F238E27FC236}">
                <a16:creationId xmlns:a16="http://schemas.microsoft.com/office/drawing/2014/main" id="{03957C2D-A49F-4DB6-BF75-79C374D34A24}"/>
              </a:ext>
            </a:extLst>
          </p:cNvPr>
          <p:cNvSpPr>
            <a:spLocks noGrp="1"/>
          </p:cNvSpPr>
          <p:nvPr>
            <p:ph type="body" sz="quarter" idx="13" hasCustomPrompt="1"/>
          </p:nvPr>
        </p:nvSpPr>
        <p:spPr>
          <a:xfrm>
            <a:off x="179389" y="1030346"/>
            <a:ext cx="11831637" cy="374650"/>
          </a:xfrm>
        </p:spPr>
        <p:txBody>
          <a:bodyPr anchor="ctr">
            <a:noAutofit/>
          </a:bodyPr>
          <a:lstStyle>
            <a:lvl1pPr marL="0" indent="0">
              <a:buNone/>
              <a:defRPr sz="1400">
                <a:solidFill>
                  <a:schemeClr val="tx1">
                    <a:lumMod val="50000"/>
                    <a:lumOff val="50000"/>
                  </a:schemeClr>
                </a:solidFill>
              </a:defRPr>
            </a:lvl1pPr>
          </a:lstStyle>
          <a:p>
            <a:pPr lvl="0"/>
            <a:r>
              <a:rPr lang="de-DE"/>
              <a:t>Action title</a:t>
            </a:r>
            <a:endParaRPr lang="en-US"/>
          </a:p>
        </p:txBody>
      </p:sp>
      <p:cxnSp>
        <p:nvCxnSpPr>
          <p:cNvPr id="8" name="Straight Connector 7">
            <a:extLst>
              <a:ext uri="{FF2B5EF4-FFF2-40B4-BE49-F238E27FC236}">
                <a16:creationId xmlns:a16="http://schemas.microsoft.com/office/drawing/2014/main" id="{EE47034B-D2F8-4408-9356-EA89719BDD6C}"/>
              </a:ext>
            </a:extLst>
          </p:cNvPr>
          <p:cNvCxnSpPr/>
          <p:nvPr/>
        </p:nvCxnSpPr>
        <p:spPr>
          <a:xfrm>
            <a:off x="179387" y="959224"/>
            <a:ext cx="11831639" cy="0"/>
          </a:xfrm>
          <a:prstGeom prst="line">
            <a:avLst/>
          </a:prstGeom>
          <a:ln w="19050" cap="flat" cmpd="sng" algn="ctr">
            <a:solidFill>
              <a:schemeClr val="tx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4D966112-46BA-4411-81C3-C6CF0FC49E94}"/>
              </a:ext>
            </a:extLst>
          </p:cNvPr>
          <p:cNvCxnSpPr/>
          <p:nvPr/>
        </p:nvCxnSpPr>
        <p:spPr>
          <a:xfrm>
            <a:off x="179387" y="959224"/>
            <a:ext cx="11831639" cy="0"/>
          </a:xfrm>
          <a:prstGeom prst="line">
            <a:avLst/>
          </a:prstGeom>
          <a:ln w="19050" cap="flat" cmpd="sng" algn="ctr">
            <a:solidFill>
              <a:schemeClr val="tx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 name="Footer Placeholder 3">
            <a:extLst>
              <a:ext uri="{FF2B5EF4-FFF2-40B4-BE49-F238E27FC236}">
                <a16:creationId xmlns:a16="http://schemas.microsoft.com/office/drawing/2014/main" id="{28DF757E-0F9C-4A13-A15D-7D58F7E37D6F}"/>
              </a:ext>
            </a:extLst>
          </p:cNvPr>
          <p:cNvSpPr>
            <a:spLocks noGrp="1"/>
          </p:cNvSpPr>
          <p:nvPr>
            <p:ph type="ftr" sz="quarter" idx="3"/>
          </p:nvPr>
        </p:nvSpPr>
        <p:spPr>
          <a:xfrm>
            <a:off x="1520890" y="6342890"/>
            <a:ext cx="9675845" cy="374690"/>
          </a:xfrm>
          <a:prstGeom prst="rect">
            <a:avLst/>
          </a:prstGeom>
        </p:spPr>
        <p:txBody>
          <a:bodyPr lIns="0" tIns="0" rIns="0" bIns="0" anchor="b"/>
          <a:lstStyle>
            <a:lvl1pPr>
              <a:defRPr sz="900">
                <a:latin typeface="Century Gothic" panose="020B0502020202020204" pitchFamily="34" charset="0"/>
              </a:defRPr>
            </a:lvl1pPr>
          </a:lstStyle>
          <a:p>
            <a:r>
              <a:rPr lang="en-US"/>
              <a:t>Footer</a:t>
            </a:r>
          </a:p>
        </p:txBody>
      </p:sp>
    </p:spTree>
    <p:extLst>
      <p:ext uri="{BB962C8B-B14F-4D97-AF65-F5344CB8AC3E}">
        <p14:creationId xmlns:p14="http://schemas.microsoft.com/office/powerpoint/2010/main" val="3495137871"/>
      </p:ext>
    </p:extLst>
  </p:cSld>
  <p:clrMapOvr>
    <a:masterClrMapping/>
  </p:clrMapOvr>
  <p:extLst>
    <p:ext uri="{DCECCB84-F9BA-43D5-87BE-67443E8EF086}">
      <p15:sldGuideLst xmlns:p15="http://schemas.microsoft.com/office/powerpoint/2012/main">
        <p15:guide id="1" orient="horz" pos="114">
          <p15:clr>
            <a:srgbClr val="FBAE40"/>
          </p15:clr>
        </p15:guide>
        <p15:guide id="2" orient="horz" pos="786">
          <p15:clr>
            <a:srgbClr val="FBAE40"/>
          </p15:clr>
        </p15:guide>
        <p15:guide id="3" orient="horz" pos="1155">
          <p15:clr>
            <a:srgbClr val="FBAE40"/>
          </p15:clr>
        </p15:guide>
        <p15:guide id="4" orient="horz" pos="1269">
          <p15:clr>
            <a:srgbClr val="FBAE40"/>
          </p15:clr>
        </p15:guide>
        <p15:guide id="5" pos="3783">
          <p15:clr>
            <a:srgbClr val="FBAE40"/>
          </p15:clr>
        </p15:guide>
        <p15:guide id="6" pos="3897">
          <p15:clr>
            <a:srgbClr val="FBAE40"/>
          </p15:clr>
        </p15:guide>
        <p15:guide id="7" orient="horz" pos="3741">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5C200AD-18D5-486A-A4CB-E94C0B69B40B}"/>
              </a:ext>
            </a:extLst>
          </p:cNvPr>
          <p:cNvGraphicFramePr>
            <a:graphicFrameLocks noChangeAspect="1"/>
          </p:cNvGraphicFramePr>
          <p:nvPr>
            <p:custDataLst>
              <p:tags r:id="rId1"/>
            </p:custDataLst>
            <p:extLst>
              <p:ext uri="{D42A27DB-BD31-4B8C-83A1-F6EECF244321}">
                <p14:modId xmlns:p14="http://schemas.microsoft.com/office/powerpoint/2010/main" val="5333989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55C200AD-18D5-486A-A4CB-E94C0B69B40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2A69E91C-60CE-4280-A020-6C74B0B2171F}"/>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4400" b="0" i="0" baseline="0">
              <a:latin typeface="Verdana" panose="020B0604030504040204" pitchFamily="34" charset="0"/>
              <a:ea typeface="+mj-ea"/>
              <a:cs typeface="+mj-cs"/>
              <a:sym typeface="Museo Sans 100"/>
            </a:endParaRPr>
          </a:p>
        </p:txBody>
      </p:sp>
      <p:sp>
        <p:nvSpPr>
          <p:cNvPr id="5" name="Slide Number Placeholder 4">
            <a:extLst>
              <a:ext uri="{FF2B5EF4-FFF2-40B4-BE49-F238E27FC236}">
                <a16:creationId xmlns:a16="http://schemas.microsoft.com/office/drawing/2014/main" id="{3E98EFC9-0015-445F-920E-4162760DF929}"/>
              </a:ext>
            </a:extLst>
          </p:cNvPr>
          <p:cNvSpPr>
            <a:spLocks noGrp="1"/>
          </p:cNvSpPr>
          <p:nvPr>
            <p:ph type="sldNum" sz="quarter" idx="12"/>
          </p:nvPr>
        </p:nvSpPr>
        <p:spPr/>
        <p:txBody>
          <a:bodyPr lIns="0" tIns="0" rIns="0" bIns="0"/>
          <a:lstStyle/>
          <a:p>
            <a:fld id="{ABB6D191-819E-455F-BC39-F2381519C0C1}" type="slidenum">
              <a:rPr lang="en-US" noProof="0" smtClean="0"/>
              <a:t>‹#›</a:t>
            </a:fld>
            <a:endParaRPr lang="en-US" noProof="0"/>
          </a:p>
        </p:txBody>
      </p:sp>
      <p:sp>
        <p:nvSpPr>
          <p:cNvPr id="8" name="Footer Placeholder 3">
            <a:extLst>
              <a:ext uri="{FF2B5EF4-FFF2-40B4-BE49-F238E27FC236}">
                <a16:creationId xmlns:a16="http://schemas.microsoft.com/office/drawing/2014/main" id="{E342A359-25FF-4CB6-93F5-1F3AF6A26741}"/>
              </a:ext>
            </a:extLst>
          </p:cNvPr>
          <p:cNvSpPr>
            <a:spLocks noGrp="1"/>
          </p:cNvSpPr>
          <p:nvPr>
            <p:ph type="ftr" sz="quarter" idx="3"/>
          </p:nvPr>
        </p:nvSpPr>
        <p:spPr>
          <a:xfrm>
            <a:off x="1520890" y="6342890"/>
            <a:ext cx="9675845" cy="374690"/>
          </a:xfrm>
          <a:prstGeom prst="rect">
            <a:avLst/>
          </a:prstGeom>
        </p:spPr>
        <p:txBody>
          <a:bodyPr lIns="0" tIns="0" rIns="0" bIns="0" anchor="b"/>
          <a:lstStyle>
            <a:lvl1pPr>
              <a:defRPr sz="900">
                <a:latin typeface="Century Gothic" panose="020B0502020202020204" pitchFamily="34" charset="0"/>
              </a:defRPr>
            </a:lvl1pPr>
          </a:lstStyle>
          <a:p>
            <a:r>
              <a:rPr lang="en-US"/>
              <a:t>Footer</a:t>
            </a:r>
          </a:p>
        </p:txBody>
      </p:sp>
    </p:spTree>
    <p:extLst>
      <p:ext uri="{BB962C8B-B14F-4D97-AF65-F5344CB8AC3E}">
        <p14:creationId xmlns:p14="http://schemas.microsoft.com/office/powerpoint/2010/main" val="4030290898"/>
      </p:ext>
    </p:extLst>
  </p:cSld>
  <p:clrMapOvr>
    <a:masterClrMapping/>
  </p:clrMapOvr>
  <p:extLst>
    <p:ext uri="{DCECCB84-F9BA-43D5-87BE-67443E8EF086}">
      <p15:sldGuideLst xmlns:p15="http://schemas.microsoft.com/office/powerpoint/2012/main">
        <p15:guide id="1" orient="horz" pos="114">
          <p15:clr>
            <a:srgbClr val="FBAE40"/>
          </p15:clr>
        </p15:guide>
        <p15:guide id="2" orient="horz" pos="786">
          <p15:clr>
            <a:srgbClr val="FBAE40"/>
          </p15:clr>
        </p15:guide>
        <p15:guide id="3" orient="horz" pos="1155">
          <p15:clr>
            <a:srgbClr val="FBAE40"/>
          </p15:clr>
        </p15:guide>
        <p15:guide id="4" orient="horz" pos="1269">
          <p15:clr>
            <a:srgbClr val="FBAE40"/>
          </p15:clr>
        </p15:guide>
        <p15:guide id="5" pos="3783">
          <p15:clr>
            <a:srgbClr val="FBAE40"/>
          </p15:clr>
        </p15:guide>
        <p15:guide id="6" pos="3897">
          <p15:clr>
            <a:srgbClr val="FBAE40"/>
          </p15:clr>
        </p15:guide>
        <p15:guide id="7" orient="horz" pos="3741">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CDA8D5C-4ABE-4CBA-9D0A-B520E820C1C4}"/>
              </a:ext>
            </a:extLst>
          </p:cNvPr>
          <p:cNvGraphicFramePr>
            <a:graphicFrameLocks noChangeAspect="1"/>
          </p:cNvGraphicFramePr>
          <p:nvPr>
            <p:custDataLst>
              <p:tags r:id="rId1"/>
            </p:custDataLst>
            <p:extLst>
              <p:ext uri="{D42A27DB-BD31-4B8C-83A1-F6EECF244321}">
                <p14:modId xmlns:p14="http://schemas.microsoft.com/office/powerpoint/2010/main" val="1698592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9" name="Object 8" hidden="1">
                        <a:extLst>
                          <a:ext uri="{FF2B5EF4-FFF2-40B4-BE49-F238E27FC236}">
                            <a16:creationId xmlns:a16="http://schemas.microsoft.com/office/drawing/2014/main" id="{DCDA8D5C-4ABE-4CBA-9D0A-B520E820C1C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30DE0B9-1D37-413A-9F14-DFA5702F739F}"/>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4400" b="0" i="0" baseline="0">
              <a:latin typeface="Verdana" panose="020B0604030504040204" pitchFamily="34" charset="0"/>
              <a:ea typeface="+mj-ea"/>
              <a:cs typeface="+mj-cs"/>
              <a:sym typeface="Museo Sans 100"/>
            </a:endParaRPr>
          </a:p>
        </p:txBody>
      </p:sp>
      <p:sp>
        <p:nvSpPr>
          <p:cNvPr id="2" name="Title 1">
            <a:extLst>
              <a:ext uri="{FF2B5EF4-FFF2-40B4-BE49-F238E27FC236}">
                <a16:creationId xmlns:a16="http://schemas.microsoft.com/office/drawing/2014/main" id="{7923FFFA-0F55-4A69-8CBA-48FD568E0D7A}"/>
              </a:ext>
            </a:extLst>
          </p:cNvPr>
          <p:cNvSpPr>
            <a:spLocks noGrp="1"/>
          </p:cNvSpPr>
          <p:nvPr>
            <p:ph type="title" hasCustomPrompt="1"/>
          </p:nvPr>
        </p:nvSpPr>
        <p:spPr>
          <a:xfrm>
            <a:off x="179388" y="179387"/>
            <a:ext cx="5824536" cy="1654175"/>
          </a:xfrm>
        </p:spPr>
        <p:txBody>
          <a:bodyPr vert="horz" lIns="0" tIns="0" rIns="0" bIns="0" anchor="t">
            <a:noAutofit/>
          </a:bodyPr>
          <a:lstStyle>
            <a:lvl1pPr>
              <a:defRPr sz="4400" cap="none"/>
            </a:lvl1pPr>
          </a:lstStyle>
          <a:p>
            <a:r>
              <a:rPr lang="en-US" noProof="0"/>
              <a:t>Click to edit master title style</a:t>
            </a:r>
          </a:p>
        </p:txBody>
      </p:sp>
      <p:sp>
        <p:nvSpPr>
          <p:cNvPr id="3" name="Content Placeholder 2">
            <a:extLst>
              <a:ext uri="{FF2B5EF4-FFF2-40B4-BE49-F238E27FC236}">
                <a16:creationId xmlns:a16="http://schemas.microsoft.com/office/drawing/2014/main" id="{B15D8B6A-7A61-408F-BDB0-38567CF8EC11}"/>
              </a:ext>
            </a:extLst>
          </p:cNvPr>
          <p:cNvSpPr>
            <a:spLocks noGrp="1"/>
          </p:cNvSpPr>
          <p:nvPr>
            <p:ph idx="1"/>
          </p:nvPr>
        </p:nvSpPr>
        <p:spPr>
          <a:xfrm>
            <a:off x="6186489" y="188014"/>
            <a:ext cx="5824536" cy="5759451"/>
          </a:xfrm>
        </p:spPr>
        <p:txBody>
          <a:bodyPr lIns="0" tIns="0" rIns="0" bIns="0">
            <a:noAutofit/>
          </a:bodyPr>
          <a:lstStyle>
            <a:lvl1pPr>
              <a:defRPr sz="1400"/>
            </a:lvl1pPr>
            <a:lvl2pPr>
              <a:defRPr sz="1400"/>
            </a:lvl2pPr>
            <a:lvl3pPr>
              <a:defRPr sz="1400"/>
            </a:lvl3pPr>
            <a:lvl4pPr>
              <a:defRPr sz="1400"/>
            </a:lvl4pPr>
            <a:lvl5pPr>
              <a:defRPr sz="1400"/>
            </a:lvl5pPr>
            <a:lvl6pPr>
              <a:defRPr sz="2000"/>
            </a:lvl6pPr>
            <a:lvl7pPr>
              <a:defRPr sz="2000"/>
            </a:lvl7pPr>
            <a:lvl8pPr>
              <a:defRPr sz="2000"/>
            </a:lvl8pPr>
            <a:lvl9pPr>
              <a:defRPr sz="20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Text Placeholder 3">
            <a:extLst>
              <a:ext uri="{FF2B5EF4-FFF2-40B4-BE49-F238E27FC236}">
                <a16:creationId xmlns:a16="http://schemas.microsoft.com/office/drawing/2014/main" id="{08DDAE1C-D6AE-48B7-9F5A-D6622B24751D}"/>
              </a:ext>
            </a:extLst>
          </p:cNvPr>
          <p:cNvSpPr>
            <a:spLocks noGrp="1"/>
          </p:cNvSpPr>
          <p:nvPr>
            <p:ph type="body" sz="half" idx="2"/>
          </p:nvPr>
        </p:nvSpPr>
        <p:spPr>
          <a:xfrm>
            <a:off x="179387" y="2014538"/>
            <a:ext cx="5824536" cy="3924301"/>
          </a:xfrm>
        </p:spPr>
        <p:txBody>
          <a:bodyPr>
            <a:noAutofit/>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noProof="0"/>
              <a:t>Click to edit Master text styles</a:t>
            </a:r>
          </a:p>
        </p:txBody>
      </p:sp>
      <p:sp>
        <p:nvSpPr>
          <p:cNvPr id="7" name="Slide Number Placeholder 6">
            <a:extLst>
              <a:ext uri="{FF2B5EF4-FFF2-40B4-BE49-F238E27FC236}">
                <a16:creationId xmlns:a16="http://schemas.microsoft.com/office/drawing/2014/main" id="{940C6EDE-4618-41A4-9573-E028EF41F681}"/>
              </a:ext>
            </a:extLst>
          </p:cNvPr>
          <p:cNvSpPr>
            <a:spLocks noGrp="1"/>
          </p:cNvSpPr>
          <p:nvPr>
            <p:ph type="sldNum" sz="quarter" idx="12"/>
          </p:nvPr>
        </p:nvSpPr>
        <p:spPr/>
        <p:txBody>
          <a:bodyPr lIns="0" tIns="0" rIns="0" bIns="0"/>
          <a:lstStyle/>
          <a:p>
            <a:fld id="{ABB6D191-819E-455F-BC39-F2381519C0C1}" type="slidenum">
              <a:rPr lang="en-US" noProof="0" smtClean="0"/>
              <a:t>‹#›</a:t>
            </a:fld>
            <a:endParaRPr lang="en-US" noProof="0"/>
          </a:p>
        </p:txBody>
      </p:sp>
      <p:sp>
        <p:nvSpPr>
          <p:cNvPr id="10" name="Footer Placeholder 3">
            <a:extLst>
              <a:ext uri="{FF2B5EF4-FFF2-40B4-BE49-F238E27FC236}">
                <a16:creationId xmlns:a16="http://schemas.microsoft.com/office/drawing/2014/main" id="{0F24D20C-D7F8-4213-B4E6-A72F46470ABF}"/>
              </a:ext>
            </a:extLst>
          </p:cNvPr>
          <p:cNvSpPr>
            <a:spLocks noGrp="1"/>
          </p:cNvSpPr>
          <p:nvPr>
            <p:ph type="ftr" sz="quarter" idx="3"/>
          </p:nvPr>
        </p:nvSpPr>
        <p:spPr>
          <a:xfrm>
            <a:off x="1520890" y="6342890"/>
            <a:ext cx="9675845" cy="374690"/>
          </a:xfrm>
          <a:prstGeom prst="rect">
            <a:avLst/>
          </a:prstGeom>
        </p:spPr>
        <p:txBody>
          <a:bodyPr lIns="0" tIns="0" rIns="0" bIns="0" anchor="b"/>
          <a:lstStyle>
            <a:lvl1pPr>
              <a:defRPr sz="900">
                <a:latin typeface="Century Gothic" panose="020B0502020202020204" pitchFamily="34" charset="0"/>
              </a:defRPr>
            </a:lvl1pPr>
          </a:lstStyle>
          <a:p>
            <a:r>
              <a:rPr lang="en-US"/>
              <a:t>Footer</a:t>
            </a:r>
          </a:p>
        </p:txBody>
      </p:sp>
    </p:spTree>
    <p:extLst>
      <p:ext uri="{BB962C8B-B14F-4D97-AF65-F5344CB8AC3E}">
        <p14:creationId xmlns:p14="http://schemas.microsoft.com/office/powerpoint/2010/main" val="738183407"/>
      </p:ext>
    </p:extLst>
  </p:cSld>
  <p:clrMapOvr>
    <a:masterClrMapping/>
  </p:clrMapOvr>
  <p:extLst>
    <p:ext uri="{DCECCB84-F9BA-43D5-87BE-67443E8EF086}">
      <p15:sldGuideLst xmlns:p15="http://schemas.microsoft.com/office/powerpoint/2012/main">
        <p15:guide id="3" orient="horz" pos="113">
          <p15:clr>
            <a:srgbClr val="FBAE40"/>
          </p15:clr>
        </p15:guide>
        <p15:guide id="6" orient="horz" pos="1155">
          <p15:clr>
            <a:srgbClr val="FBAE40"/>
          </p15:clr>
        </p15:guide>
        <p15:guide id="7" orient="horz" pos="1269">
          <p15:clr>
            <a:srgbClr val="FBAE40"/>
          </p15:clr>
        </p15:guide>
        <p15:guide id="8" pos="3783">
          <p15:clr>
            <a:srgbClr val="FBAE40"/>
          </p15:clr>
        </p15:guide>
        <p15:guide id="9" pos="3897">
          <p15:clr>
            <a:srgbClr val="FBAE40"/>
          </p15:clr>
        </p15:guide>
        <p15:guide id="10" orient="horz" pos="3741">
          <p15:clr>
            <a:srgbClr val="FBAE40"/>
          </p15:clr>
        </p15:guide>
        <p15:guide id="12" orient="horz" pos="786">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FD9A1697-4A4F-4D02-A31B-17F65E09F600}"/>
              </a:ext>
            </a:extLst>
          </p:cNvPr>
          <p:cNvGraphicFramePr>
            <a:graphicFrameLocks noChangeAspect="1"/>
          </p:cNvGraphicFramePr>
          <p:nvPr>
            <p:custDataLst>
              <p:tags r:id="rId1"/>
            </p:custDataLst>
            <p:extLst>
              <p:ext uri="{D42A27DB-BD31-4B8C-83A1-F6EECF244321}">
                <p14:modId xmlns:p14="http://schemas.microsoft.com/office/powerpoint/2010/main" val="37107170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9" name="Object 8" hidden="1">
                        <a:extLst>
                          <a:ext uri="{FF2B5EF4-FFF2-40B4-BE49-F238E27FC236}">
                            <a16:creationId xmlns:a16="http://schemas.microsoft.com/office/drawing/2014/main" id="{FD9A1697-4A4F-4D02-A31B-17F65E09F60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4326DCA2-1872-4334-AB48-F6ED42935B5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4400" b="0" i="0" baseline="0">
              <a:latin typeface="Verdana" panose="020B0604030504040204" pitchFamily="34" charset="0"/>
              <a:ea typeface="+mj-ea"/>
              <a:cs typeface="+mj-cs"/>
              <a:sym typeface="Museo Sans 100"/>
            </a:endParaRPr>
          </a:p>
        </p:txBody>
      </p:sp>
      <p:sp>
        <p:nvSpPr>
          <p:cNvPr id="2" name="Title 1">
            <a:extLst>
              <a:ext uri="{FF2B5EF4-FFF2-40B4-BE49-F238E27FC236}">
                <a16:creationId xmlns:a16="http://schemas.microsoft.com/office/drawing/2014/main" id="{88DC19BA-229D-452B-A482-D3AFD16EFC68}"/>
              </a:ext>
            </a:extLst>
          </p:cNvPr>
          <p:cNvSpPr>
            <a:spLocks noGrp="1"/>
          </p:cNvSpPr>
          <p:nvPr>
            <p:ph type="title" hasCustomPrompt="1"/>
          </p:nvPr>
        </p:nvSpPr>
        <p:spPr>
          <a:xfrm>
            <a:off x="179388" y="180974"/>
            <a:ext cx="5824536" cy="1652589"/>
          </a:xfrm>
        </p:spPr>
        <p:txBody>
          <a:bodyPr vert="horz" lIns="0" tIns="0" rIns="0" bIns="0" anchor="t">
            <a:noAutofit/>
          </a:bodyPr>
          <a:lstStyle>
            <a:lvl1pPr>
              <a:defRPr sz="4400" cap="none"/>
            </a:lvl1pPr>
          </a:lstStyle>
          <a:p>
            <a:r>
              <a:rPr lang="en-US" noProof="0"/>
              <a:t>Click to edit master title style</a:t>
            </a:r>
          </a:p>
        </p:txBody>
      </p:sp>
      <p:sp>
        <p:nvSpPr>
          <p:cNvPr id="4" name="Text Placeholder 3">
            <a:extLst>
              <a:ext uri="{FF2B5EF4-FFF2-40B4-BE49-F238E27FC236}">
                <a16:creationId xmlns:a16="http://schemas.microsoft.com/office/drawing/2014/main" id="{2021FE04-BB86-4EC5-AEC5-3FE8662175C6}"/>
              </a:ext>
            </a:extLst>
          </p:cNvPr>
          <p:cNvSpPr>
            <a:spLocks noGrp="1"/>
          </p:cNvSpPr>
          <p:nvPr>
            <p:ph type="body" sz="half" idx="2"/>
          </p:nvPr>
        </p:nvSpPr>
        <p:spPr>
          <a:xfrm>
            <a:off x="179389" y="2014538"/>
            <a:ext cx="5824536" cy="3924300"/>
          </a:xfrm>
        </p:spPr>
        <p:txBody>
          <a:bodyPr lIns="0" tIns="0" rIns="0" bIns="0">
            <a:noAutofit/>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noProof="0"/>
              <a:t>Click to edit Master text styles</a:t>
            </a:r>
          </a:p>
        </p:txBody>
      </p:sp>
      <p:sp>
        <p:nvSpPr>
          <p:cNvPr id="7" name="Slide Number Placeholder 6">
            <a:extLst>
              <a:ext uri="{FF2B5EF4-FFF2-40B4-BE49-F238E27FC236}">
                <a16:creationId xmlns:a16="http://schemas.microsoft.com/office/drawing/2014/main" id="{A71C7C56-963A-4163-B8A9-5FE4EDCA1FC1}"/>
              </a:ext>
            </a:extLst>
          </p:cNvPr>
          <p:cNvSpPr>
            <a:spLocks noGrp="1"/>
          </p:cNvSpPr>
          <p:nvPr>
            <p:ph type="sldNum" sz="quarter" idx="12"/>
          </p:nvPr>
        </p:nvSpPr>
        <p:spPr/>
        <p:txBody>
          <a:bodyPr lIns="0" tIns="0" rIns="0" bIns="0"/>
          <a:lstStyle/>
          <a:p>
            <a:fld id="{ABB6D191-819E-455F-BC39-F2381519C0C1}" type="slidenum">
              <a:rPr lang="en-US" noProof="0" smtClean="0"/>
              <a:t>‹#›</a:t>
            </a:fld>
            <a:endParaRPr lang="en-US" noProof="0"/>
          </a:p>
        </p:txBody>
      </p:sp>
      <p:sp>
        <p:nvSpPr>
          <p:cNvPr id="11" name="Picture Placeholder 4">
            <a:extLst>
              <a:ext uri="{FF2B5EF4-FFF2-40B4-BE49-F238E27FC236}">
                <a16:creationId xmlns:a16="http://schemas.microsoft.com/office/drawing/2014/main" id="{DF70E342-8A51-49B4-A2A2-BED8E1A13493}"/>
              </a:ext>
            </a:extLst>
          </p:cNvPr>
          <p:cNvSpPr>
            <a:spLocks noGrp="1"/>
          </p:cNvSpPr>
          <p:nvPr>
            <p:ph type="pic" sz="quarter" idx="10" hasCustomPrompt="1"/>
          </p:nvPr>
        </p:nvSpPr>
        <p:spPr>
          <a:xfrm>
            <a:off x="6186489" y="178594"/>
            <a:ext cx="5824536" cy="5757863"/>
          </a:xfrm>
        </p:spPr>
        <p:txBody>
          <a:bodyPr lIns="0" tIns="0" rIns="0" bIns="0">
            <a:noAutofit/>
          </a:bodyPr>
          <a:lstStyle>
            <a:lvl1pPr>
              <a:defRPr/>
            </a:lvl1pPr>
          </a:lstStyle>
          <a:p>
            <a:r>
              <a:rPr lang="en-US" noProof="0"/>
              <a:t>Click to select placeholder - insert picture from the Templafy library</a:t>
            </a:r>
          </a:p>
        </p:txBody>
      </p:sp>
      <p:sp>
        <p:nvSpPr>
          <p:cNvPr id="10" name="Footer Placeholder 3">
            <a:extLst>
              <a:ext uri="{FF2B5EF4-FFF2-40B4-BE49-F238E27FC236}">
                <a16:creationId xmlns:a16="http://schemas.microsoft.com/office/drawing/2014/main" id="{91FD5321-C0A0-44C7-A6D0-2B190BAEC702}"/>
              </a:ext>
            </a:extLst>
          </p:cNvPr>
          <p:cNvSpPr>
            <a:spLocks noGrp="1"/>
          </p:cNvSpPr>
          <p:nvPr>
            <p:ph type="ftr" sz="quarter" idx="3"/>
          </p:nvPr>
        </p:nvSpPr>
        <p:spPr>
          <a:xfrm>
            <a:off x="1520890" y="6342890"/>
            <a:ext cx="9675845" cy="374690"/>
          </a:xfrm>
          <a:prstGeom prst="rect">
            <a:avLst/>
          </a:prstGeom>
        </p:spPr>
        <p:txBody>
          <a:bodyPr lIns="0" tIns="0" rIns="0" bIns="0" anchor="b"/>
          <a:lstStyle>
            <a:lvl1pPr>
              <a:defRPr sz="900">
                <a:latin typeface="Century Gothic" panose="020B0502020202020204" pitchFamily="34" charset="0"/>
              </a:defRPr>
            </a:lvl1pPr>
          </a:lstStyle>
          <a:p>
            <a:r>
              <a:rPr lang="en-US"/>
              <a:t>Footer</a:t>
            </a:r>
          </a:p>
        </p:txBody>
      </p:sp>
    </p:spTree>
    <p:extLst>
      <p:ext uri="{BB962C8B-B14F-4D97-AF65-F5344CB8AC3E}">
        <p14:creationId xmlns:p14="http://schemas.microsoft.com/office/powerpoint/2010/main" val="409475521"/>
      </p:ext>
    </p:extLst>
  </p:cSld>
  <p:clrMapOvr>
    <a:masterClrMapping/>
  </p:clrMapOvr>
  <p:extLst>
    <p:ext uri="{DCECCB84-F9BA-43D5-87BE-67443E8EF086}">
      <p15:sldGuideLst xmlns:p15="http://schemas.microsoft.com/office/powerpoint/2012/main">
        <p15:guide id="3" orient="horz" pos="114">
          <p15:clr>
            <a:srgbClr val="FBAE40"/>
          </p15:clr>
        </p15:guide>
        <p15:guide id="5" orient="horz" pos="1269">
          <p15:clr>
            <a:srgbClr val="FBAE40"/>
          </p15:clr>
        </p15:guide>
        <p15:guide id="6" orient="horz" pos="1155">
          <p15:clr>
            <a:srgbClr val="FBAE40"/>
          </p15:clr>
        </p15:guide>
        <p15:guide id="7" orient="horz" pos="3741">
          <p15:clr>
            <a:srgbClr val="FBAE40"/>
          </p15:clr>
        </p15:guide>
        <p15:guide id="8" pos="3783">
          <p15:clr>
            <a:srgbClr val="FBAE40"/>
          </p15:clr>
        </p15:guide>
        <p15:guide id="9" pos="3896">
          <p15:clr>
            <a:srgbClr val="FBAE40"/>
          </p15:clr>
        </p15:guide>
        <p15:guide id="11" orient="horz" pos="786">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Legal Disclaimer">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DBAFEAE-D2DF-4A4F-A49A-53C2FE24164E}"/>
              </a:ext>
            </a:extLst>
          </p:cNvPr>
          <p:cNvSpPr/>
          <p:nvPr/>
        </p:nvSpPr>
        <p:spPr>
          <a:xfrm>
            <a:off x="96717" y="6216161"/>
            <a:ext cx="1204546" cy="526752"/>
          </a:xfrm>
          <a:prstGeom prst="rect">
            <a:avLst/>
          </a:prstGeom>
          <a:solidFill>
            <a:schemeClr val="bg2">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a:ln>
                <a:noFill/>
              </a:ln>
              <a:solidFill>
                <a:schemeClr val="bg1"/>
              </a:solidFill>
            </a:endParaRPr>
          </a:p>
        </p:txBody>
      </p:sp>
      <p:pic>
        <p:nvPicPr>
          <p:cNvPr id="5" name="Picture 4" descr="A close up of a logo&#10;&#10;Description automatically generated">
            <a:extLst>
              <a:ext uri="{FF2B5EF4-FFF2-40B4-BE49-F238E27FC236}">
                <a16:creationId xmlns:a16="http://schemas.microsoft.com/office/drawing/2014/main" id="{1B8D8A47-AE53-4EF6-A051-CE11E8186DB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15086" y="3582673"/>
            <a:ext cx="1572354" cy="1366889"/>
          </a:xfrm>
          <a:prstGeom prst="rect">
            <a:avLst/>
          </a:prstGeom>
        </p:spPr>
      </p:pic>
      <p:sp>
        <p:nvSpPr>
          <p:cNvPr id="7" name="Rectangle 6">
            <a:extLst>
              <a:ext uri="{FF2B5EF4-FFF2-40B4-BE49-F238E27FC236}">
                <a16:creationId xmlns:a16="http://schemas.microsoft.com/office/drawing/2014/main" id="{9C218987-B6BF-4113-B719-56B4BD1B6C8E}"/>
              </a:ext>
            </a:extLst>
          </p:cNvPr>
          <p:cNvSpPr/>
          <p:nvPr/>
        </p:nvSpPr>
        <p:spPr>
          <a:xfrm>
            <a:off x="96717" y="6216161"/>
            <a:ext cx="1572354" cy="526752"/>
          </a:xfrm>
          <a:prstGeom prst="rect">
            <a:avLst/>
          </a:prstGeom>
          <a:solidFill>
            <a:schemeClr val="bg2">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a:ln>
                <a:noFill/>
              </a:ln>
              <a:solidFill>
                <a:schemeClr val="bg1"/>
              </a:solidFill>
            </a:endParaRPr>
          </a:p>
        </p:txBody>
      </p:sp>
      <p:sp>
        <p:nvSpPr>
          <p:cNvPr id="2" name="text" descr="{&quot;templafy&quot;:{&quot;id&quot;:&quot;73195096-35c0-413e-9fdc-dc643feb0d1e&quot;}}" title="UserProfile.LegalEntity.DisclaimerPowerPoint_{{Form.Audience.Audience}}">
            <a:extLst>
              <a:ext uri="{FF2B5EF4-FFF2-40B4-BE49-F238E27FC236}">
                <a16:creationId xmlns:a16="http://schemas.microsoft.com/office/drawing/2014/main" id="{839D58AD-3DE0-4964-9CCB-2C06ADB010AD}"/>
              </a:ext>
            </a:extLst>
          </p:cNvPr>
          <p:cNvSpPr/>
          <p:nvPr/>
        </p:nvSpPr>
        <p:spPr>
          <a:xfrm>
            <a:off x="539750" y="5891633"/>
            <a:ext cx="4968000" cy="3921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algn="l"/>
            <a:r>
              <a:rPr lang="en-US" sz="900" noProof="0">
                <a:solidFill>
                  <a:schemeClr val="tx1"/>
                </a:solidFill>
              </a:rPr>
              <a:t>The Energy Transitions Commission is hosted by SYSTEMIQ Ltd.</a:t>
            </a:r>
          </a:p>
          <a:p>
            <a:pPr algn="l"/>
            <a:endParaRPr lang="en-US" sz="900" noProof="0">
              <a:solidFill>
                <a:schemeClr val="tx1"/>
              </a:solidFill>
            </a:endParaRPr>
          </a:p>
          <a:p>
            <a:pPr algn="l"/>
            <a:r>
              <a:rPr lang="en-US" sz="900" noProof="0">
                <a:solidFill>
                  <a:schemeClr val="tx1"/>
                </a:solidFill>
              </a:rPr>
              <a:t>© 2020 SYSTEMIQ Ltd. All rights reserved.
This is an internal document which provides confidential advice and guidance to partners and staff of SYSTEMIQ Ltd. and its subsidiaries. It is not to be copied or made available to any other party without prior written approval.</a:t>
            </a:r>
          </a:p>
        </p:txBody>
      </p:sp>
    </p:spTree>
    <p:extLst>
      <p:ext uri="{BB962C8B-B14F-4D97-AF65-F5344CB8AC3E}">
        <p14:creationId xmlns:p14="http://schemas.microsoft.com/office/powerpoint/2010/main" val="2552055900"/>
      </p:ext>
    </p:extLst>
  </p:cSld>
  <p:clrMapOvr>
    <a:masterClrMapping/>
  </p:clrMapOvr>
  <p:extLst>
    <p:ext uri="{DCECCB84-F9BA-43D5-87BE-67443E8EF086}">
      <p15:sldGuideLst xmlns:p15="http://schemas.microsoft.com/office/powerpoint/2012/main">
        <p15:guide id="1" orient="horz" pos="366">
          <p15:clr>
            <a:srgbClr val="FBAE40"/>
          </p15:clr>
        </p15:guide>
        <p15:guide id="4" orient="horz" pos="3741">
          <p15:clr>
            <a:srgbClr val="FBAE40"/>
          </p15:clr>
        </p15:guide>
        <p15:guide id="5" orient="horz" pos="1155">
          <p15:clr>
            <a:srgbClr val="FBAE40"/>
          </p15:clr>
        </p15:guide>
        <p15:guide id="6" pos="3783">
          <p15:clr>
            <a:srgbClr val="FBAE40"/>
          </p15:clr>
        </p15:guide>
        <p15:guide id="7" pos="3896">
          <p15:clr>
            <a:srgbClr val="FBAE40"/>
          </p15:clr>
        </p15:guide>
        <p15:guide id="8" orient="horz" pos="1269">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1_ActionTitl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5C200AD-18D5-486A-A4CB-E94C0B69B40B}"/>
              </a:ext>
            </a:extLst>
          </p:cNvPr>
          <p:cNvGraphicFramePr>
            <a:graphicFrameLocks noChangeAspect="1"/>
          </p:cNvGraphicFramePr>
          <p:nvPr>
            <p:custDataLst>
              <p:tags r:id="rId1"/>
            </p:custDataLst>
            <p:extLst>
              <p:ext uri="{D42A27DB-BD31-4B8C-83A1-F6EECF244321}">
                <p14:modId xmlns:p14="http://schemas.microsoft.com/office/powerpoint/2010/main" val="2387658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55C200AD-18D5-486A-A4CB-E94C0B69B40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2A69E91C-60CE-4280-A020-6C74B0B2171F}"/>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4400" b="0" i="0" baseline="0">
              <a:latin typeface="Century Gothic" panose="020B0502020202020204" pitchFamily="34" charset="0"/>
              <a:ea typeface="+mj-ea"/>
              <a:cs typeface="+mj-cs"/>
              <a:sym typeface="Century Gothic" panose="020B0502020202020204" pitchFamily="34" charset="0"/>
            </a:endParaRPr>
          </a:p>
        </p:txBody>
      </p:sp>
      <p:sp>
        <p:nvSpPr>
          <p:cNvPr id="2" name="Title 1">
            <a:extLst>
              <a:ext uri="{FF2B5EF4-FFF2-40B4-BE49-F238E27FC236}">
                <a16:creationId xmlns:a16="http://schemas.microsoft.com/office/drawing/2014/main" id="{41820E8D-4EE5-4F53-8446-F66BF7FA8047}"/>
              </a:ext>
            </a:extLst>
          </p:cNvPr>
          <p:cNvSpPr>
            <a:spLocks noGrp="1"/>
          </p:cNvSpPr>
          <p:nvPr>
            <p:ph type="title" hasCustomPrompt="1"/>
          </p:nvPr>
        </p:nvSpPr>
        <p:spPr/>
        <p:txBody>
          <a:bodyPr vert="horz" lIns="0" tIns="0" rIns="0" bIns="0"/>
          <a:lstStyle>
            <a:lvl1pPr>
              <a:defRPr cap="none"/>
            </a:lvl1pPr>
          </a:lstStyle>
          <a:p>
            <a:r>
              <a:rPr lang="en-US" noProof="0"/>
              <a:t>Click to edit master title style</a:t>
            </a:r>
          </a:p>
        </p:txBody>
      </p:sp>
      <p:sp>
        <p:nvSpPr>
          <p:cNvPr id="5" name="Slide Number Placeholder 4">
            <a:extLst>
              <a:ext uri="{FF2B5EF4-FFF2-40B4-BE49-F238E27FC236}">
                <a16:creationId xmlns:a16="http://schemas.microsoft.com/office/drawing/2014/main" id="{3E98EFC9-0015-445F-920E-4162760DF929}"/>
              </a:ext>
            </a:extLst>
          </p:cNvPr>
          <p:cNvSpPr>
            <a:spLocks noGrp="1"/>
          </p:cNvSpPr>
          <p:nvPr>
            <p:ph type="sldNum" sz="quarter" idx="12"/>
          </p:nvPr>
        </p:nvSpPr>
        <p:spPr/>
        <p:txBody>
          <a:bodyPr lIns="0" tIns="0" rIns="0" bIns="0"/>
          <a:lstStyle/>
          <a:p>
            <a:fld id="{ABB6D191-819E-455F-BC39-F2381519C0C1}" type="slidenum">
              <a:rPr lang="en-US" noProof="0" smtClean="0"/>
              <a:t>‹#›</a:t>
            </a:fld>
            <a:endParaRPr lang="en-US" noProof="0"/>
          </a:p>
        </p:txBody>
      </p:sp>
      <p:sp>
        <p:nvSpPr>
          <p:cNvPr id="10" name="Text Placeholder 9">
            <a:extLst>
              <a:ext uri="{FF2B5EF4-FFF2-40B4-BE49-F238E27FC236}">
                <a16:creationId xmlns:a16="http://schemas.microsoft.com/office/drawing/2014/main" id="{03957C2D-A49F-4DB6-BF75-79C374D34A24}"/>
              </a:ext>
            </a:extLst>
          </p:cNvPr>
          <p:cNvSpPr>
            <a:spLocks noGrp="1"/>
          </p:cNvSpPr>
          <p:nvPr>
            <p:ph type="body" sz="quarter" idx="13" hasCustomPrompt="1"/>
          </p:nvPr>
        </p:nvSpPr>
        <p:spPr>
          <a:xfrm>
            <a:off x="179388" y="887413"/>
            <a:ext cx="11831637" cy="374650"/>
          </a:xfrm>
        </p:spPr>
        <p:txBody>
          <a:bodyPr anchor="ctr">
            <a:normAutofit/>
          </a:bodyPr>
          <a:lstStyle>
            <a:lvl1pPr marL="0" indent="0">
              <a:buNone/>
              <a:defRPr sz="1400">
                <a:solidFill>
                  <a:schemeClr val="tx1">
                    <a:lumMod val="50000"/>
                    <a:lumOff val="50000"/>
                  </a:schemeClr>
                </a:solidFill>
              </a:defRPr>
            </a:lvl1pPr>
          </a:lstStyle>
          <a:p>
            <a:pPr lvl="0"/>
            <a:r>
              <a:rPr lang="de-DE"/>
              <a:t>Action title</a:t>
            </a:r>
            <a:endParaRPr lang="en-US"/>
          </a:p>
        </p:txBody>
      </p:sp>
      <p:sp>
        <p:nvSpPr>
          <p:cNvPr id="8" name="Footer Placeholder 3">
            <a:extLst>
              <a:ext uri="{FF2B5EF4-FFF2-40B4-BE49-F238E27FC236}">
                <a16:creationId xmlns:a16="http://schemas.microsoft.com/office/drawing/2014/main" id="{3681FE0A-99F2-4EF7-AABA-8D97B43E557A}"/>
              </a:ext>
            </a:extLst>
          </p:cNvPr>
          <p:cNvSpPr>
            <a:spLocks noGrp="1"/>
          </p:cNvSpPr>
          <p:nvPr>
            <p:ph type="ftr" sz="quarter" idx="3"/>
          </p:nvPr>
        </p:nvSpPr>
        <p:spPr>
          <a:xfrm>
            <a:off x="1520890" y="6342890"/>
            <a:ext cx="9675845" cy="374690"/>
          </a:xfrm>
          <a:prstGeom prst="rect">
            <a:avLst/>
          </a:prstGeom>
        </p:spPr>
        <p:txBody>
          <a:bodyPr lIns="0" tIns="0" rIns="0" bIns="0" anchor="b"/>
          <a:lstStyle>
            <a:lvl1pPr>
              <a:defRPr sz="900">
                <a:latin typeface="Century Gothic" panose="020B0502020202020204" pitchFamily="34" charset="0"/>
              </a:defRPr>
            </a:lvl1pPr>
          </a:lstStyle>
          <a:p>
            <a:r>
              <a:rPr lang="en-US"/>
              <a:t>Footer</a:t>
            </a:r>
          </a:p>
        </p:txBody>
      </p:sp>
    </p:spTree>
    <p:extLst>
      <p:ext uri="{BB962C8B-B14F-4D97-AF65-F5344CB8AC3E}">
        <p14:creationId xmlns:p14="http://schemas.microsoft.com/office/powerpoint/2010/main" val="2848579484"/>
      </p:ext>
    </p:extLst>
  </p:cSld>
  <p:clrMapOvr>
    <a:masterClrMapping/>
  </p:clrMapOvr>
  <p:extLst>
    <p:ext uri="{DCECCB84-F9BA-43D5-87BE-67443E8EF086}">
      <p15:sldGuideLst xmlns:p15="http://schemas.microsoft.com/office/powerpoint/2012/main">
        <p15:guide id="1" orient="horz" pos="114">
          <p15:clr>
            <a:srgbClr val="FBAE40"/>
          </p15:clr>
        </p15:guide>
        <p15:guide id="2" orient="horz" pos="786">
          <p15:clr>
            <a:srgbClr val="FBAE40"/>
          </p15:clr>
        </p15:guide>
        <p15:guide id="3" orient="horz" pos="1155">
          <p15:clr>
            <a:srgbClr val="FBAE40"/>
          </p15:clr>
        </p15:guide>
        <p15:guide id="4" orient="horz" pos="1269">
          <p15:clr>
            <a:srgbClr val="FBAE40"/>
          </p15:clr>
        </p15:guide>
        <p15:guide id="5" pos="3783">
          <p15:clr>
            <a:srgbClr val="FBAE40"/>
          </p15:clr>
        </p15:guide>
        <p15:guide id="6" pos="3897">
          <p15:clr>
            <a:srgbClr val="FBAE40"/>
          </p15:clr>
        </p15:guide>
        <p15:guide id="7" orient="horz" pos="3741">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1_ActionTitle_lin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5C200AD-18D5-486A-A4CB-E94C0B69B40B}"/>
              </a:ext>
            </a:extLst>
          </p:cNvPr>
          <p:cNvGraphicFramePr>
            <a:graphicFrameLocks noChangeAspect="1"/>
          </p:cNvGraphicFramePr>
          <p:nvPr>
            <p:custDataLst>
              <p:tags r:id="rId1"/>
            </p:custDataLst>
            <p:extLst>
              <p:ext uri="{D42A27DB-BD31-4B8C-83A1-F6EECF244321}">
                <p14:modId xmlns:p14="http://schemas.microsoft.com/office/powerpoint/2010/main" val="31245223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55C200AD-18D5-486A-A4CB-E94C0B69B40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2A69E91C-60CE-4280-A020-6C74B0B2171F}"/>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4400" b="0" i="0" baseline="0">
              <a:latin typeface="Century Gothic" panose="020B0502020202020204" pitchFamily="34" charset="0"/>
              <a:ea typeface="+mj-ea"/>
              <a:cs typeface="+mj-cs"/>
              <a:sym typeface="Century Gothic" panose="020B0502020202020204" pitchFamily="34" charset="0"/>
            </a:endParaRPr>
          </a:p>
        </p:txBody>
      </p:sp>
      <p:sp>
        <p:nvSpPr>
          <p:cNvPr id="2" name="Title 1">
            <a:extLst>
              <a:ext uri="{FF2B5EF4-FFF2-40B4-BE49-F238E27FC236}">
                <a16:creationId xmlns:a16="http://schemas.microsoft.com/office/drawing/2014/main" id="{41820E8D-4EE5-4F53-8446-F66BF7FA8047}"/>
              </a:ext>
            </a:extLst>
          </p:cNvPr>
          <p:cNvSpPr>
            <a:spLocks noGrp="1"/>
          </p:cNvSpPr>
          <p:nvPr>
            <p:ph type="title" hasCustomPrompt="1"/>
          </p:nvPr>
        </p:nvSpPr>
        <p:spPr/>
        <p:txBody>
          <a:bodyPr vert="horz" lIns="0" tIns="0" rIns="0" bIns="0"/>
          <a:lstStyle>
            <a:lvl1pPr>
              <a:defRPr cap="none"/>
            </a:lvl1pPr>
          </a:lstStyle>
          <a:p>
            <a:r>
              <a:rPr lang="en-US" noProof="0"/>
              <a:t>Click to edit master title style</a:t>
            </a:r>
          </a:p>
        </p:txBody>
      </p:sp>
      <p:sp>
        <p:nvSpPr>
          <p:cNvPr id="5" name="Slide Number Placeholder 4">
            <a:extLst>
              <a:ext uri="{FF2B5EF4-FFF2-40B4-BE49-F238E27FC236}">
                <a16:creationId xmlns:a16="http://schemas.microsoft.com/office/drawing/2014/main" id="{3E98EFC9-0015-445F-920E-4162760DF929}"/>
              </a:ext>
            </a:extLst>
          </p:cNvPr>
          <p:cNvSpPr>
            <a:spLocks noGrp="1"/>
          </p:cNvSpPr>
          <p:nvPr>
            <p:ph type="sldNum" sz="quarter" idx="12"/>
          </p:nvPr>
        </p:nvSpPr>
        <p:spPr/>
        <p:txBody>
          <a:bodyPr lIns="0" tIns="0" rIns="0" bIns="0"/>
          <a:lstStyle/>
          <a:p>
            <a:fld id="{ABB6D191-819E-455F-BC39-F2381519C0C1}" type="slidenum">
              <a:rPr lang="en-US" noProof="0" smtClean="0"/>
              <a:t>‹#›</a:t>
            </a:fld>
            <a:endParaRPr lang="en-US" noProof="0"/>
          </a:p>
        </p:txBody>
      </p:sp>
      <p:sp>
        <p:nvSpPr>
          <p:cNvPr id="10" name="Text Placeholder 9">
            <a:extLst>
              <a:ext uri="{FF2B5EF4-FFF2-40B4-BE49-F238E27FC236}">
                <a16:creationId xmlns:a16="http://schemas.microsoft.com/office/drawing/2014/main" id="{03957C2D-A49F-4DB6-BF75-79C374D34A24}"/>
              </a:ext>
            </a:extLst>
          </p:cNvPr>
          <p:cNvSpPr>
            <a:spLocks noGrp="1"/>
          </p:cNvSpPr>
          <p:nvPr>
            <p:ph type="body" sz="quarter" idx="13" hasCustomPrompt="1"/>
          </p:nvPr>
        </p:nvSpPr>
        <p:spPr>
          <a:xfrm>
            <a:off x="179389" y="1030346"/>
            <a:ext cx="11831637" cy="374650"/>
          </a:xfrm>
        </p:spPr>
        <p:txBody>
          <a:bodyPr anchor="ctr">
            <a:normAutofit/>
          </a:bodyPr>
          <a:lstStyle>
            <a:lvl1pPr marL="0" indent="0">
              <a:buNone/>
              <a:defRPr sz="1400">
                <a:solidFill>
                  <a:schemeClr val="tx1">
                    <a:lumMod val="50000"/>
                    <a:lumOff val="50000"/>
                  </a:schemeClr>
                </a:solidFill>
              </a:defRPr>
            </a:lvl1pPr>
          </a:lstStyle>
          <a:p>
            <a:pPr lvl="0"/>
            <a:r>
              <a:rPr lang="de-DE"/>
              <a:t>Action title</a:t>
            </a:r>
            <a:endParaRPr lang="en-US"/>
          </a:p>
        </p:txBody>
      </p:sp>
      <p:cxnSp>
        <p:nvCxnSpPr>
          <p:cNvPr id="8" name="Straight Connector 7">
            <a:extLst>
              <a:ext uri="{FF2B5EF4-FFF2-40B4-BE49-F238E27FC236}">
                <a16:creationId xmlns:a16="http://schemas.microsoft.com/office/drawing/2014/main" id="{EE47034B-D2F8-4408-9356-EA89719BDD6C}"/>
              </a:ext>
            </a:extLst>
          </p:cNvPr>
          <p:cNvCxnSpPr/>
          <p:nvPr/>
        </p:nvCxnSpPr>
        <p:spPr>
          <a:xfrm>
            <a:off x="179387" y="959224"/>
            <a:ext cx="11831639" cy="0"/>
          </a:xfrm>
          <a:prstGeom prst="line">
            <a:avLst/>
          </a:prstGeom>
          <a:ln w="19050" cap="flat" cmpd="sng" algn="ctr">
            <a:solidFill>
              <a:schemeClr val="tx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C1FCDAE2-21A7-4EA4-8D95-0A207A2FC5DA}"/>
              </a:ext>
            </a:extLst>
          </p:cNvPr>
          <p:cNvCxnSpPr/>
          <p:nvPr/>
        </p:nvCxnSpPr>
        <p:spPr>
          <a:xfrm>
            <a:off x="179387" y="959224"/>
            <a:ext cx="11831639" cy="0"/>
          </a:xfrm>
          <a:prstGeom prst="line">
            <a:avLst/>
          </a:prstGeom>
          <a:ln w="19050" cap="flat" cmpd="sng" algn="ctr">
            <a:solidFill>
              <a:schemeClr val="tx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 name="Footer Placeholder 3">
            <a:extLst>
              <a:ext uri="{FF2B5EF4-FFF2-40B4-BE49-F238E27FC236}">
                <a16:creationId xmlns:a16="http://schemas.microsoft.com/office/drawing/2014/main" id="{B24AB55F-20D8-4EAF-8EC9-7E1018294F26}"/>
              </a:ext>
            </a:extLst>
          </p:cNvPr>
          <p:cNvSpPr>
            <a:spLocks noGrp="1"/>
          </p:cNvSpPr>
          <p:nvPr>
            <p:ph type="ftr" sz="quarter" idx="3"/>
          </p:nvPr>
        </p:nvSpPr>
        <p:spPr>
          <a:xfrm>
            <a:off x="1520890" y="6342890"/>
            <a:ext cx="9675845" cy="374690"/>
          </a:xfrm>
          <a:prstGeom prst="rect">
            <a:avLst/>
          </a:prstGeom>
        </p:spPr>
        <p:txBody>
          <a:bodyPr lIns="0" tIns="0" rIns="0" bIns="0" anchor="b"/>
          <a:lstStyle>
            <a:lvl1pPr>
              <a:defRPr sz="900">
                <a:latin typeface="Century Gothic" panose="020B0502020202020204" pitchFamily="34" charset="0"/>
              </a:defRPr>
            </a:lvl1pPr>
          </a:lstStyle>
          <a:p>
            <a:r>
              <a:rPr lang="en-US"/>
              <a:t>Footer</a:t>
            </a:r>
          </a:p>
        </p:txBody>
      </p:sp>
    </p:spTree>
    <p:extLst>
      <p:ext uri="{BB962C8B-B14F-4D97-AF65-F5344CB8AC3E}">
        <p14:creationId xmlns:p14="http://schemas.microsoft.com/office/powerpoint/2010/main" val="213835723"/>
      </p:ext>
    </p:extLst>
  </p:cSld>
  <p:clrMapOvr>
    <a:masterClrMapping/>
  </p:clrMapOvr>
  <p:extLst>
    <p:ext uri="{DCECCB84-F9BA-43D5-87BE-67443E8EF086}">
      <p15:sldGuideLst xmlns:p15="http://schemas.microsoft.com/office/powerpoint/2012/main">
        <p15:guide id="1" orient="horz" pos="114">
          <p15:clr>
            <a:srgbClr val="FBAE40"/>
          </p15:clr>
        </p15:guide>
        <p15:guide id="2" orient="horz" pos="786">
          <p15:clr>
            <a:srgbClr val="FBAE40"/>
          </p15:clr>
        </p15:guide>
        <p15:guide id="3" orient="horz" pos="1155">
          <p15:clr>
            <a:srgbClr val="FBAE40"/>
          </p15:clr>
        </p15:guide>
        <p15:guide id="4" orient="horz" pos="1269">
          <p15:clr>
            <a:srgbClr val="FBAE40"/>
          </p15:clr>
        </p15:guide>
        <p15:guide id="5" pos="3783">
          <p15:clr>
            <a:srgbClr val="FBAE40"/>
          </p15:clr>
        </p15:guide>
        <p15:guide id="6" pos="3897">
          <p15:clr>
            <a:srgbClr val="FBAE40"/>
          </p15:clr>
        </p15:guide>
        <p15:guide id="7" orient="horz" pos="3741">
          <p15:clr>
            <a:srgbClr val="FBAE40"/>
          </p15:clr>
        </p15:guide>
      </p15:sldGuideLst>
    </p:ext>
  </p:extLs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image" Target="../media/image1.emf"/><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theme" Target="../theme/theme1.xml"/><Relationship Id="rId77" Type="http://schemas.openxmlformats.org/officeDocument/2006/relationships/image" Target="../media/image3.emf"/><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tags" Target="../tags/tag4.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tags" Target="../tags/tag2.xml"/><Relationship Id="rId75"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oleObject" Target="../embeddings/oleObject2.bin"/><Relationship Id="rId7" Type="http://schemas.openxmlformats.org/officeDocument/2006/relationships/slideLayout" Target="../slideLayouts/slideLayout7.xml"/><Relationship Id="rId71" Type="http://schemas.openxmlformats.org/officeDocument/2006/relationships/tags" Target="../tags/tag3.xml"/><Relationship Id="rId2" Type="http://schemas.openxmlformats.org/officeDocument/2006/relationships/slideLayout" Target="../slideLayouts/slideLayout2.xml"/><Relationship Id="rId29" Type="http://schemas.openxmlformats.org/officeDocument/2006/relationships/slideLayout" Target="../slideLayouts/slideLayout2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81.xml"/><Relationship Id="rId18" Type="http://schemas.openxmlformats.org/officeDocument/2006/relationships/slideLayout" Target="../slideLayouts/slideLayout86.xml"/><Relationship Id="rId26" Type="http://schemas.openxmlformats.org/officeDocument/2006/relationships/slideLayout" Target="../slideLayouts/slideLayout94.xml"/><Relationship Id="rId39" Type="http://schemas.openxmlformats.org/officeDocument/2006/relationships/oleObject" Target="../embeddings/oleObject51.bin"/><Relationship Id="rId21" Type="http://schemas.openxmlformats.org/officeDocument/2006/relationships/slideLayout" Target="../slideLayouts/slideLayout89.xml"/><Relationship Id="rId34" Type="http://schemas.openxmlformats.org/officeDocument/2006/relationships/slideLayout" Target="../slideLayouts/slideLayout102.xml"/><Relationship Id="rId7" Type="http://schemas.openxmlformats.org/officeDocument/2006/relationships/slideLayout" Target="../slideLayouts/slideLayout75.xml"/><Relationship Id="rId2" Type="http://schemas.openxmlformats.org/officeDocument/2006/relationships/slideLayout" Target="../slideLayouts/slideLayout70.xml"/><Relationship Id="rId16" Type="http://schemas.openxmlformats.org/officeDocument/2006/relationships/slideLayout" Target="../slideLayouts/slideLayout84.xml"/><Relationship Id="rId20" Type="http://schemas.openxmlformats.org/officeDocument/2006/relationships/slideLayout" Target="../slideLayouts/slideLayout88.xml"/><Relationship Id="rId29" Type="http://schemas.openxmlformats.org/officeDocument/2006/relationships/slideLayout" Target="../slideLayouts/slideLayout97.xml"/><Relationship Id="rId41" Type="http://schemas.openxmlformats.org/officeDocument/2006/relationships/image" Target="../media/image2.png"/><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24" Type="http://schemas.openxmlformats.org/officeDocument/2006/relationships/slideLayout" Target="../slideLayouts/slideLayout92.xml"/><Relationship Id="rId32" Type="http://schemas.openxmlformats.org/officeDocument/2006/relationships/slideLayout" Target="../slideLayouts/slideLayout100.xml"/><Relationship Id="rId37" Type="http://schemas.openxmlformats.org/officeDocument/2006/relationships/tags" Target="../tags/tag98.xml"/><Relationship Id="rId40" Type="http://schemas.openxmlformats.org/officeDocument/2006/relationships/image" Target="../media/image1.emf"/><Relationship Id="rId5" Type="http://schemas.openxmlformats.org/officeDocument/2006/relationships/slideLayout" Target="../slideLayouts/slideLayout73.xml"/><Relationship Id="rId15" Type="http://schemas.openxmlformats.org/officeDocument/2006/relationships/slideLayout" Target="../slideLayouts/slideLayout83.xml"/><Relationship Id="rId23" Type="http://schemas.openxmlformats.org/officeDocument/2006/relationships/slideLayout" Target="../slideLayouts/slideLayout91.xml"/><Relationship Id="rId28" Type="http://schemas.openxmlformats.org/officeDocument/2006/relationships/slideLayout" Target="../slideLayouts/slideLayout96.xml"/><Relationship Id="rId36" Type="http://schemas.openxmlformats.org/officeDocument/2006/relationships/theme" Target="../theme/theme2.xml"/><Relationship Id="rId10" Type="http://schemas.openxmlformats.org/officeDocument/2006/relationships/slideLayout" Target="../slideLayouts/slideLayout78.xml"/><Relationship Id="rId19" Type="http://schemas.openxmlformats.org/officeDocument/2006/relationships/slideLayout" Target="../slideLayouts/slideLayout87.xml"/><Relationship Id="rId31" Type="http://schemas.openxmlformats.org/officeDocument/2006/relationships/slideLayout" Target="../slideLayouts/slideLayout99.xml"/><Relationship Id="rId4" Type="http://schemas.openxmlformats.org/officeDocument/2006/relationships/slideLayout" Target="../slideLayouts/slideLayout72.xml"/><Relationship Id="rId9" Type="http://schemas.openxmlformats.org/officeDocument/2006/relationships/slideLayout" Target="../slideLayouts/slideLayout77.xml"/><Relationship Id="rId14" Type="http://schemas.openxmlformats.org/officeDocument/2006/relationships/slideLayout" Target="../slideLayouts/slideLayout82.xml"/><Relationship Id="rId22" Type="http://schemas.openxmlformats.org/officeDocument/2006/relationships/slideLayout" Target="../slideLayouts/slideLayout90.xml"/><Relationship Id="rId27" Type="http://schemas.openxmlformats.org/officeDocument/2006/relationships/slideLayout" Target="../slideLayouts/slideLayout95.xml"/><Relationship Id="rId30" Type="http://schemas.openxmlformats.org/officeDocument/2006/relationships/slideLayout" Target="../slideLayouts/slideLayout98.xml"/><Relationship Id="rId35" Type="http://schemas.openxmlformats.org/officeDocument/2006/relationships/slideLayout" Target="../slideLayouts/slideLayout103.xml"/><Relationship Id="rId8" Type="http://schemas.openxmlformats.org/officeDocument/2006/relationships/slideLayout" Target="../slideLayouts/slideLayout76.xml"/><Relationship Id="rId3" Type="http://schemas.openxmlformats.org/officeDocument/2006/relationships/slideLayout" Target="../slideLayouts/slideLayout71.xml"/><Relationship Id="rId12" Type="http://schemas.openxmlformats.org/officeDocument/2006/relationships/slideLayout" Target="../slideLayouts/slideLayout80.xml"/><Relationship Id="rId17" Type="http://schemas.openxmlformats.org/officeDocument/2006/relationships/slideLayout" Target="../slideLayouts/slideLayout85.xml"/><Relationship Id="rId25" Type="http://schemas.openxmlformats.org/officeDocument/2006/relationships/slideLayout" Target="../slideLayouts/slideLayout93.xml"/><Relationship Id="rId33" Type="http://schemas.openxmlformats.org/officeDocument/2006/relationships/slideLayout" Target="../slideLayouts/slideLayout101.xml"/><Relationship Id="rId38" Type="http://schemas.openxmlformats.org/officeDocument/2006/relationships/tags" Target="../tags/tag99.xml"/></Relationships>
</file>

<file path=ppt/slideMasters/_rels/slideMaster3.xml.rels><?xml version="1.0" encoding="UTF-8" standalone="yes"?>
<Relationships xmlns="http://schemas.openxmlformats.org/package/2006/relationships"><Relationship Id="rId8" Type="http://schemas.openxmlformats.org/officeDocument/2006/relationships/oleObject" Target="../embeddings/oleObject84.bin"/><Relationship Id="rId3" Type="http://schemas.openxmlformats.org/officeDocument/2006/relationships/slideLayout" Target="../slideLayouts/slideLayout106.xml"/><Relationship Id="rId7" Type="http://schemas.openxmlformats.org/officeDocument/2006/relationships/tags" Target="../tags/tag170.xml"/><Relationship Id="rId2" Type="http://schemas.openxmlformats.org/officeDocument/2006/relationships/slideLayout" Target="../slideLayouts/slideLayout105.xml"/><Relationship Id="rId1" Type="http://schemas.openxmlformats.org/officeDocument/2006/relationships/slideLayout" Target="../slideLayouts/slideLayout104.xml"/><Relationship Id="rId6" Type="http://schemas.openxmlformats.org/officeDocument/2006/relationships/tags" Target="../tags/tag169.xml"/><Relationship Id="rId5" Type="http://schemas.openxmlformats.org/officeDocument/2006/relationships/theme" Target="../theme/theme3.xml"/><Relationship Id="rId10" Type="http://schemas.openxmlformats.org/officeDocument/2006/relationships/image" Target="../media/image2.png"/><Relationship Id="rId4" Type="http://schemas.openxmlformats.org/officeDocument/2006/relationships/slideLayout" Target="../slideLayouts/slideLayout107.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2">
            <a:alpha val="0"/>
          </a:schemeClr>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F11DD12-5469-4EA3-9311-8331E8A21755}"/>
              </a:ext>
            </a:extLst>
          </p:cNvPr>
          <p:cNvGraphicFramePr>
            <a:graphicFrameLocks noChangeAspect="1"/>
          </p:cNvGraphicFramePr>
          <p:nvPr>
            <p:custDataLst>
              <p:tags r:id="rId70"/>
            </p:custDataLst>
            <p:extLst>
              <p:ext uri="{D42A27DB-BD31-4B8C-83A1-F6EECF244321}">
                <p14:modId xmlns:p14="http://schemas.microsoft.com/office/powerpoint/2010/main" val="15349084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3" imgW="347" imgH="348" progId="TCLayout.ActiveDocument.1">
                  <p:embed/>
                </p:oleObj>
              </mc:Choice>
              <mc:Fallback>
                <p:oleObj name="think-cell Slide" r:id="rId73" imgW="347" imgH="348" progId="TCLayout.ActiveDocument.1">
                  <p:embed/>
                  <p:pic>
                    <p:nvPicPr>
                      <p:cNvPr id="8" name="Object 7" hidden="1">
                        <a:extLst>
                          <a:ext uri="{FF2B5EF4-FFF2-40B4-BE49-F238E27FC236}">
                            <a16:creationId xmlns:a16="http://schemas.microsoft.com/office/drawing/2014/main" id="{9F11DD12-5469-4EA3-9311-8331E8A21755}"/>
                          </a:ext>
                        </a:extLst>
                      </p:cNvPr>
                      <p:cNvPicPr/>
                      <p:nvPr/>
                    </p:nvPicPr>
                    <p:blipFill>
                      <a:blip r:embed="rId74"/>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8B4F704D-00B4-48DD-A117-41BEFDA4A691}"/>
              </a:ext>
            </a:extLst>
          </p:cNvPr>
          <p:cNvSpPr/>
          <p:nvPr>
            <p:custDataLst>
              <p:tags r:id="rId7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1" i="0" baseline="0">
              <a:latin typeface="Inter" panose="020B0502030000000004" pitchFamily="34" charset="0"/>
              <a:ea typeface="Inter" panose="020B0502030000000004" pitchFamily="34" charset="0"/>
              <a:cs typeface="Inter" panose="020B0502030000000004" pitchFamily="34" charset="0"/>
              <a:sym typeface="Inter" panose="020B0502030000000004" pitchFamily="34" charset="0"/>
            </a:endParaRPr>
          </a:p>
        </p:txBody>
      </p:sp>
      <p:sp>
        <p:nvSpPr>
          <p:cNvPr id="2" name="Title Placeholder 1">
            <a:extLst>
              <a:ext uri="{FF2B5EF4-FFF2-40B4-BE49-F238E27FC236}">
                <a16:creationId xmlns:a16="http://schemas.microsoft.com/office/drawing/2014/main" id="{0540AAAF-33FA-4223-B7E3-CC8D2F042CC1}"/>
              </a:ext>
            </a:extLst>
          </p:cNvPr>
          <p:cNvSpPr>
            <a:spLocks noGrp="1"/>
          </p:cNvSpPr>
          <p:nvPr>
            <p:ph type="title"/>
          </p:nvPr>
        </p:nvSpPr>
        <p:spPr>
          <a:xfrm>
            <a:off x="382384" y="179388"/>
            <a:ext cx="11438313" cy="708715"/>
          </a:xfrm>
          <a:prstGeom prst="rect">
            <a:avLst/>
          </a:prstGeom>
        </p:spPr>
        <p:txBody>
          <a:bodyPr vert="horz" lIns="0" tIns="0" rIns="0" bIns="0" rtlCol="0" anchor="ctr">
            <a:normAutofit/>
          </a:bodyPr>
          <a:lstStyle/>
          <a:p>
            <a:r>
              <a:rPr lang="en-US" noProof="0"/>
              <a:t>Click to edit Master title style</a:t>
            </a:r>
          </a:p>
        </p:txBody>
      </p:sp>
      <p:sp>
        <p:nvSpPr>
          <p:cNvPr id="3" name="Text Placeholder 2">
            <a:extLst>
              <a:ext uri="{FF2B5EF4-FFF2-40B4-BE49-F238E27FC236}">
                <a16:creationId xmlns:a16="http://schemas.microsoft.com/office/drawing/2014/main" id="{B926D567-524F-4499-A030-E098F89DCD34}"/>
              </a:ext>
            </a:extLst>
          </p:cNvPr>
          <p:cNvSpPr>
            <a:spLocks noGrp="1"/>
          </p:cNvSpPr>
          <p:nvPr>
            <p:ph type="body" idx="1"/>
          </p:nvPr>
        </p:nvSpPr>
        <p:spPr>
          <a:xfrm>
            <a:off x="382384" y="1247775"/>
            <a:ext cx="11438313" cy="4690732"/>
          </a:xfrm>
          <a:prstGeom prst="rect">
            <a:avLst/>
          </a:prstGeom>
        </p:spPr>
        <p:txBody>
          <a:bodyPr vert="horz" lIns="72000" tIns="72000" rIns="72000" bIns="7200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Slide Number Placeholder 5">
            <a:extLst>
              <a:ext uri="{FF2B5EF4-FFF2-40B4-BE49-F238E27FC236}">
                <a16:creationId xmlns:a16="http://schemas.microsoft.com/office/drawing/2014/main" id="{52DA3F14-F130-47E8-84A4-CD0D7060F0EE}"/>
              </a:ext>
            </a:extLst>
          </p:cNvPr>
          <p:cNvSpPr>
            <a:spLocks noGrp="1"/>
          </p:cNvSpPr>
          <p:nvPr>
            <p:ph type="sldNum" sz="quarter" idx="4"/>
          </p:nvPr>
        </p:nvSpPr>
        <p:spPr>
          <a:xfrm>
            <a:off x="11314734" y="6342890"/>
            <a:ext cx="505963" cy="374690"/>
          </a:xfrm>
          <a:prstGeom prst="rect">
            <a:avLst/>
          </a:prstGeom>
        </p:spPr>
        <p:txBody>
          <a:bodyPr vert="horz" lIns="0" tIns="0" rIns="0" bIns="0" rtlCol="0" anchor="b"/>
          <a:lstStyle>
            <a:lvl1pPr algn="r">
              <a:defRPr sz="1200">
                <a:solidFill>
                  <a:schemeClr val="tx1">
                    <a:tint val="75000"/>
                  </a:schemeClr>
                </a:solidFill>
                <a:latin typeface="Century Gothic" panose="020B0502020202020204" pitchFamily="34" charset="0"/>
                <a:ea typeface="Inter" panose="020B0502030000000004" pitchFamily="34" charset="0"/>
                <a:cs typeface="Inter" panose="020B0502030000000004" pitchFamily="34" charset="0"/>
              </a:defRPr>
            </a:lvl1pPr>
          </a:lstStyle>
          <a:p>
            <a:fld id="{DDF71BC8-773F-4A54-968E-450E29C75AD4}" type="slidenum">
              <a:rPr lang="en-GB" smtClean="0"/>
              <a:pPr/>
              <a:t>‹#›</a:t>
            </a:fld>
            <a:endParaRPr lang="en-GB"/>
          </a:p>
        </p:txBody>
      </p:sp>
      <p:pic>
        <p:nvPicPr>
          <p:cNvPr id="9" name="Picture 8" descr="A close up of a logo&#10;&#10;Description automatically generated">
            <a:extLst>
              <a:ext uri="{FF2B5EF4-FFF2-40B4-BE49-F238E27FC236}">
                <a16:creationId xmlns:a16="http://schemas.microsoft.com/office/drawing/2014/main" id="{B037E079-A572-462D-B540-026FBADEE11E}"/>
              </a:ext>
            </a:extLst>
          </p:cNvPr>
          <p:cNvPicPr>
            <a:picLocks noChangeAspect="1"/>
          </p:cNvPicPr>
          <p:nvPr/>
        </p:nvPicPr>
        <p:blipFill rotWithShape="1">
          <a:blip r:embed="rId75" cstate="screen">
            <a:extLst>
              <a:ext uri="{28A0092B-C50C-407E-A947-70E740481C1C}">
                <a14:useLocalDpi xmlns:a14="http://schemas.microsoft.com/office/drawing/2010/main"/>
              </a:ext>
            </a:extLst>
          </a:blip>
          <a:srcRect/>
          <a:stretch/>
        </p:blipFill>
        <p:spPr>
          <a:xfrm>
            <a:off x="216215" y="6272680"/>
            <a:ext cx="1229785" cy="515110"/>
          </a:xfrm>
          <a:prstGeom prst="rect">
            <a:avLst/>
          </a:prstGeom>
        </p:spPr>
      </p:pic>
      <p:sp>
        <p:nvSpPr>
          <p:cNvPr id="11" name="Footer Placeholder 3">
            <a:extLst>
              <a:ext uri="{FF2B5EF4-FFF2-40B4-BE49-F238E27FC236}">
                <a16:creationId xmlns:a16="http://schemas.microsoft.com/office/drawing/2014/main" id="{A3259C6A-402C-49AA-97C3-F462C14CCEED}"/>
              </a:ext>
            </a:extLst>
          </p:cNvPr>
          <p:cNvSpPr>
            <a:spLocks noGrp="1"/>
          </p:cNvSpPr>
          <p:nvPr>
            <p:ph type="ftr" sz="quarter" idx="3"/>
          </p:nvPr>
        </p:nvSpPr>
        <p:spPr>
          <a:xfrm>
            <a:off x="1520890" y="6342890"/>
            <a:ext cx="9675845" cy="374690"/>
          </a:xfrm>
          <a:prstGeom prst="rect">
            <a:avLst/>
          </a:prstGeom>
        </p:spPr>
        <p:txBody>
          <a:bodyPr lIns="0" tIns="0" rIns="0" bIns="0" anchor="b"/>
          <a:lstStyle>
            <a:lvl1pPr>
              <a:defRPr sz="900">
                <a:latin typeface="Century Gothic" panose="020B0502020202020204" pitchFamily="34" charset="0"/>
              </a:defRPr>
            </a:lvl1pPr>
          </a:lstStyle>
          <a:p>
            <a:endParaRPr lang="en-GB"/>
          </a:p>
        </p:txBody>
      </p:sp>
      <p:graphicFrame>
        <p:nvGraphicFramePr>
          <p:cNvPr id="4" name="think-cell data - do not delete" hidden="1">
            <a:extLst>
              <a:ext uri="{FF2B5EF4-FFF2-40B4-BE49-F238E27FC236}">
                <a16:creationId xmlns:a16="http://schemas.microsoft.com/office/drawing/2014/main" id="{66147CA3-AFF0-C545-101E-DDB03FC812D0}"/>
              </a:ext>
            </a:extLst>
          </p:cNvPr>
          <p:cNvGraphicFramePr>
            <a:graphicFrameLocks noChangeAspect="1"/>
          </p:cNvGraphicFramePr>
          <p:nvPr userDrawn="1">
            <p:custDataLst>
              <p:tags r:id="rId72"/>
            </p:custDataLst>
            <p:extLst>
              <p:ext uri="{D42A27DB-BD31-4B8C-83A1-F6EECF244321}">
                <p14:modId xmlns:p14="http://schemas.microsoft.com/office/powerpoint/2010/main" val="24990928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6" imgW="344" imgH="343" progId="TCLayout.ActiveDocument.1">
                  <p:embed/>
                </p:oleObj>
              </mc:Choice>
              <mc:Fallback>
                <p:oleObj name="think-cell Slide" r:id="rId76" imgW="344" imgH="343" progId="TCLayout.ActiveDocument.1">
                  <p:embed/>
                  <p:pic>
                    <p:nvPicPr>
                      <p:cNvPr id="4" name="think-cell data - do not delete" hidden="1">
                        <a:extLst>
                          <a:ext uri="{FF2B5EF4-FFF2-40B4-BE49-F238E27FC236}">
                            <a16:creationId xmlns:a16="http://schemas.microsoft.com/office/drawing/2014/main" id="{66147CA3-AFF0-C545-101E-DDB03FC812D0}"/>
                          </a:ext>
                        </a:extLst>
                      </p:cNvPr>
                      <p:cNvPicPr/>
                      <p:nvPr/>
                    </p:nvPicPr>
                    <p:blipFill>
                      <a:blip r:embed="rId77"/>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149704991"/>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 id="2147483697" r:id="rId11"/>
    <p:sldLayoutId id="2147483707" r:id="rId12"/>
    <p:sldLayoutId id="2147483708" r:id="rId13"/>
    <p:sldLayoutId id="2147483710" r:id="rId14"/>
    <p:sldLayoutId id="2147483711" r:id="rId15"/>
    <p:sldLayoutId id="2147483712" r:id="rId16"/>
    <p:sldLayoutId id="2147483713" r:id="rId17"/>
    <p:sldLayoutId id="2147483714" r:id="rId18"/>
    <p:sldLayoutId id="2147483715" r:id="rId19"/>
    <p:sldLayoutId id="2147483716" r:id="rId20"/>
    <p:sldLayoutId id="2147483717" r:id="rId21"/>
    <p:sldLayoutId id="2147483718" r:id="rId22"/>
    <p:sldLayoutId id="2147483719" r:id="rId23"/>
    <p:sldLayoutId id="2147483720" r:id="rId24"/>
    <p:sldLayoutId id="2147483721" r:id="rId25"/>
    <p:sldLayoutId id="2147483722" r:id="rId26"/>
    <p:sldLayoutId id="2147483723" r:id="rId27"/>
    <p:sldLayoutId id="2147483724" r:id="rId28"/>
    <p:sldLayoutId id="2147483725" r:id="rId29"/>
    <p:sldLayoutId id="2147483726" r:id="rId30"/>
    <p:sldLayoutId id="2147483727" r:id="rId31"/>
    <p:sldLayoutId id="2147483728" r:id="rId32"/>
    <p:sldLayoutId id="2147483729" r:id="rId33"/>
    <p:sldLayoutId id="2147483730" r:id="rId34"/>
    <p:sldLayoutId id="2147483731" r:id="rId35"/>
    <p:sldLayoutId id="2147483660" r:id="rId36"/>
    <p:sldLayoutId id="2147483661" r:id="rId37"/>
    <p:sldLayoutId id="2147483662" r:id="rId38"/>
    <p:sldLayoutId id="2147483663" r:id="rId39"/>
    <p:sldLayoutId id="2147483664" r:id="rId40"/>
    <p:sldLayoutId id="2147483665" r:id="rId41"/>
    <p:sldLayoutId id="2147483666" r:id="rId42"/>
    <p:sldLayoutId id="2147483667" r:id="rId43"/>
    <p:sldLayoutId id="2147483650" r:id="rId44"/>
    <p:sldLayoutId id="2147483669" r:id="rId45"/>
    <p:sldLayoutId id="2147483654" r:id="rId46"/>
    <p:sldLayoutId id="2147483670" r:id="rId47"/>
    <p:sldLayoutId id="2147483671" r:id="rId48"/>
    <p:sldLayoutId id="2147483672" r:id="rId49"/>
    <p:sldLayoutId id="2147483652" r:id="rId50"/>
    <p:sldLayoutId id="2147483653" r:id="rId51"/>
    <p:sldLayoutId id="2147483677" r:id="rId52"/>
    <p:sldLayoutId id="2147483678" r:id="rId53"/>
    <p:sldLayoutId id="2147483673" r:id="rId54"/>
    <p:sldLayoutId id="2147483674" r:id="rId55"/>
    <p:sldLayoutId id="2147483675" r:id="rId56"/>
    <p:sldLayoutId id="2147483676" r:id="rId57"/>
    <p:sldLayoutId id="2147483679" r:id="rId58"/>
    <p:sldLayoutId id="2147483680" r:id="rId59"/>
    <p:sldLayoutId id="2147483681" r:id="rId60"/>
    <p:sldLayoutId id="2147483682" r:id="rId61"/>
    <p:sldLayoutId id="2147483655" r:id="rId62"/>
    <p:sldLayoutId id="2147483656" r:id="rId63"/>
    <p:sldLayoutId id="2147483683" r:id="rId64"/>
    <p:sldLayoutId id="2147483668" r:id="rId65"/>
    <p:sldLayoutId id="2147483684" r:id="rId66"/>
    <p:sldLayoutId id="2147483658" r:id="rId67"/>
    <p:sldLayoutId id="2147483659" r:id="rId68"/>
  </p:sldLayoutIdLst>
  <p:hf hdr="0" dt="0"/>
  <p:txStyles>
    <p:titleStyle>
      <a:lvl1pPr algn="l" defTabSz="914400" rtl="0" eaLnBrk="1" latinLnBrk="0" hangingPunct="1">
        <a:lnSpc>
          <a:spcPct val="90000"/>
        </a:lnSpc>
        <a:spcBef>
          <a:spcPct val="0"/>
        </a:spcBef>
        <a:buNone/>
        <a:defRPr sz="2400" b="1" kern="1200" cap="none" baseline="0">
          <a:solidFill>
            <a:schemeClr val="tx2"/>
          </a:solidFill>
          <a:latin typeface="Century Gothic" panose="020B0502020202020204" pitchFamily="34" charset="0"/>
          <a:ea typeface="Verdana" panose="020B0604030504040204" pitchFamily="34" charset="0"/>
          <a:cs typeface="Inter" panose="020B0502030000000004" pitchFamily="34" charset="0"/>
        </a:defRPr>
      </a:lvl1pPr>
    </p:titleStyle>
    <p:body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566">
          <p15:clr>
            <a:srgbClr val="F26B43"/>
          </p15:clr>
        </p15:guide>
        <p15:guide id="2" pos="113">
          <p15:clr>
            <a:srgbClr val="F26B43"/>
          </p15:clr>
        </p15:guide>
        <p15:guide id="3" orient="horz" pos="113">
          <p15:clr>
            <a:srgbClr val="F26B43"/>
          </p15:clr>
        </p15:guide>
        <p15:guide id="4" orient="horz" pos="4206">
          <p15:clr>
            <a:srgbClr val="F26B43"/>
          </p15:clr>
        </p15:guide>
        <p15:guide id="5" orient="horz" pos="832" userDrawn="1">
          <p15:clr>
            <a:srgbClr val="F26B43"/>
          </p15:clr>
        </p15:guide>
        <p15:guide id="6" pos="7576" userDrawn="1">
          <p15:clr>
            <a:srgbClr val="F26B43"/>
          </p15:clr>
        </p15:guide>
        <p15:guide id="7" pos="101" userDrawn="1">
          <p15:clr>
            <a:srgbClr val="F26B43"/>
          </p15:clr>
        </p15:guide>
        <p15:guide id="8" orient="horz" pos="4224" userDrawn="1">
          <p15:clr>
            <a:srgbClr val="F26B43"/>
          </p15:clr>
        </p15:guide>
        <p15:guide id="9" orient="horz" pos="3840" userDrawn="1">
          <p15:clr>
            <a:srgbClr val="F26B43"/>
          </p15:clr>
        </p15:guide>
        <p15:guide id="10" orient="horz" pos="3593" userDrawn="1">
          <p15:clr>
            <a:srgbClr val="F26B43"/>
          </p15:clr>
        </p15:guide>
        <p15:guide id="11" pos="3785" userDrawn="1">
          <p15:clr>
            <a:srgbClr val="F26B43"/>
          </p15:clr>
        </p15:guide>
        <p15:guide id="12" pos="3895"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2">
            <a:alpha val="0"/>
          </a:schemeClr>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F11DD12-5469-4EA3-9311-8331E8A21755}"/>
              </a:ext>
            </a:extLst>
          </p:cNvPr>
          <p:cNvGraphicFramePr>
            <a:graphicFrameLocks noChangeAspect="1"/>
          </p:cNvGraphicFramePr>
          <p:nvPr>
            <p:custDataLst>
              <p:tags r:id="rId37"/>
            </p:custDataLst>
            <p:extLst>
              <p:ext uri="{D42A27DB-BD31-4B8C-83A1-F6EECF244321}">
                <p14:modId xmlns:p14="http://schemas.microsoft.com/office/powerpoint/2010/main" val="15349084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9" imgW="347" imgH="348" progId="TCLayout.ActiveDocument.1">
                  <p:embed/>
                </p:oleObj>
              </mc:Choice>
              <mc:Fallback>
                <p:oleObj name="think-cell Slide" r:id="rId39" imgW="347" imgH="348" progId="TCLayout.ActiveDocument.1">
                  <p:embed/>
                  <p:pic>
                    <p:nvPicPr>
                      <p:cNvPr id="8" name="Object 7" hidden="1">
                        <a:extLst>
                          <a:ext uri="{FF2B5EF4-FFF2-40B4-BE49-F238E27FC236}">
                            <a16:creationId xmlns:a16="http://schemas.microsoft.com/office/drawing/2014/main" id="{9F11DD12-5469-4EA3-9311-8331E8A21755}"/>
                          </a:ext>
                        </a:extLst>
                      </p:cNvPr>
                      <p:cNvPicPr/>
                      <p:nvPr/>
                    </p:nvPicPr>
                    <p:blipFill>
                      <a:blip r:embed="rId40"/>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8B4F704D-00B4-48DD-A117-41BEFDA4A691}"/>
              </a:ext>
            </a:extLst>
          </p:cNvPr>
          <p:cNvSpPr/>
          <p:nvPr>
            <p:custDataLst>
              <p:tags r:id="rId3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1" i="0" baseline="0">
              <a:latin typeface="Inter" panose="020B0502030000000004" pitchFamily="34" charset="0"/>
              <a:ea typeface="Inter" panose="020B0502030000000004" pitchFamily="34" charset="0"/>
              <a:cs typeface="Inter" panose="020B0502030000000004" pitchFamily="34" charset="0"/>
              <a:sym typeface="Inter" panose="020B0502030000000004" pitchFamily="34" charset="0"/>
            </a:endParaRPr>
          </a:p>
        </p:txBody>
      </p:sp>
      <p:sp>
        <p:nvSpPr>
          <p:cNvPr id="2" name="Title Placeholder 1">
            <a:extLst>
              <a:ext uri="{FF2B5EF4-FFF2-40B4-BE49-F238E27FC236}">
                <a16:creationId xmlns:a16="http://schemas.microsoft.com/office/drawing/2014/main" id="{0540AAAF-33FA-4223-B7E3-CC8D2F042CC1}"/>
              </a:ext>
            </a:extLst>
          </p:cNvPr>
          <p:cNvSpPr>
            <a:spLocks noGrp="1"/>
          </p:cNvSpPr>
          <p:nvPr>
            <p:ph type="title"/>
          </p:nvPr>
        </p:nvSpPr>
        <p:spPr>
          <a:xfrm>
            <a:off x="382384" y="179388"/>
            <a:ext cx="11438313" cy="708715"/>
          </a:xfrm>
          <a:prstGeom prst="rect">
            <a:avLst/>
          </a:prstGeom>
        </p:spPr>
        <p:txBody>
          <a:bodyPr vert="horz" lIns="0" tIns="0" rIns="0" bIns="0" rtlCol="0" anchor="ctr">
            <a:normAutofit/>
          </a:bodyPr>
          <a:lstStyle/>
          <a:p>
            <a:r>
              <a:rPr lang="en-US" noProof="0"/>
              <a:t>Click to edit Master title style</a:t>
            </a:r>
          </a:p>
        </p:txBody>
      </p:sp>
      <p:sp>
        <p:nvSpPr>
          <p:cNvPr id="3" name="Text Placeholder 2">
            <a:extLst>
              <a:ext uri="{FF2B5EF4-FFF2-40B4-BE49-F238E27FC236}">
                <a16:creationId xmlns:a16="http://schemas.microsoft.com/office/drawing/2014/main" id="{B926D567-524F-4499-A030-E098F89DCD34}"/>
              </a:ext>
            </a:extLst>
          </p:cNvPr>
          <p:cNvSpPr>
            <a:spLocks noGrp="1"/>
          </p:cNvSpPr>
          <p:nvPr>
            <p:ph type="body" idx="1"/>
          </p:nvPr>
        </p:nvSpPr>
        <p:spPr>
          <a:xfrm>
            <a:off x="382384" y="1247775"/>
            <a:ext cx="11438313" cy="4690732"/>
          </a:xfrm>
          <a:prstGeom prst="rect">
            <a:avLst/>
          </a:prstGeom>
        </p:spPr>
        <p:txBody>
          <a:bodyPr vert="horz" lIns="72000" tIns="72000" rIns="72000" bIns="7200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Slide Number Placeholder 5">
            <a:extLst>
              <a:ext uri="{FF2B5EF4-FFF2-40B4-BE49-F238E27FC236}">
                <a16:creationId xmlns:a16="http://schemas.microsoft.com/office/drawing/2014/main" id="{52DA3F14-F130-47E8-84A4-CD0D7060F0EE}"/>
              </a:ext>
            </a:extLst>
          </p:cNvPr>
          <p:cNvSpPr>
            <a:spLocks noGrp="1"/>
          </p:cNvSpPr>
          <p:nvPr>
            <p:ph type="sldNum" sz="quarter" idx="4"/>
          </p:nvPr>
        </p:nvSpPr>
        <p:spPr>
          <a:xfrm>
            <a:off x="11314734" y="6342890"/>
            <a:ext cx="505963" cy="374690"/>
          </a:xfrm>
          <a:prstGeom prst="rect">
            <a:avLst/>
          </a:prstGeom>
        </p:spPr>
        <p:txBody>
          <a:bodyPr vert="horz" lIns="0" tIns="0" rIns="0" bIns="0" rtlCol="0" anchor="b"/>
          <a:lstStyle>
            <a:lvl1pPr algn="r">
              <a:defRPr sz="1200">
                <a:solidFill>
                  <a:schemeClr val="tx1">
                    <a:tint val="75000"/>
                  </a:schemeClr>
                </a:solidFill>
                <a:latin typeface="Century Gothic" panose="020B0502020202020204" pitchFamily="34" charset="0"/>
                <a:ea typeface="Inter" panose="020B0502030000000004" pitchFamily="34" charset="0"/>
                <a:cs typeface="Inter" panose="020B0502030000000004" pitchFamily="34" charset="0"/>
              </a:defRPr>
            </a:lvl1pPr>
          </a:lstStyle>
          <a:p>
            <a:fld id="{ABB6D191-819E-455F-BC39-F2381519C0C1}" type="slidenum">
              <a:rPr lang="en-US" smtClean="0"/>
              <a:pPr/>
              <a:t>‹#›</a:t>
            </a:fld>
            <a:endParaRPr lang="en-US"/>
          </a:p>
        </p:txBody>
      </p:sp>
      <p:pic>
        <p:nvPicPr>
          <p:cNvPr id="9" name="Picture 8" descr="A close up of a logo&#10;&#10;Description automatically generated">
            <a:extLst>
              <a:ext uri="{FF2B5EF4-FFF2-40B4-BE49-F238E27FC236}">
                <a16:creationId xmlns:a16="http://schemas.microsoft.com/office/drawing/2014/main" id="{B037E079-A572-462D-B540-026FBADEE11E}"/>
              </a:ext>
            </a:extLst>
          </p:cNvPr>
          <p:cNvPicPr>
            <a:picLocks noChangeAspect="1"/>
          </p:cNvPicPr>
          <p:nvPr/>
        </p:nvPicPr>
        <p:blipFill rotWithShape="1">
          <a:blip r:embed="rId41" cstate="screen">
            <a:extLst>
              <a:ext uri="{28A0092B-C50C-407E-A947-70E740481C1C}">
                <a14:useLocalDpi xmlns:a14="http://schemas.microsoft.com/office/drawing/2010/main"/>
              </a:ext>
            </a:extLst>
          </a:blip>
          <a:srcRect/>
          <a:stretch/>
        </p:blipFill>
        <p:spPr>
          <a:xfrm>
            <a:off x="216215" y="6272680"/>
            <a:ext cx="1229785" cy="515110"/>
          </a:xfrm>
          <a:prstGeom prst="rect">
            <a:avLst/>
          </a:prstGeom>
        </p:spPr>
      </p:pic>
      <p:sp>
        <p:nvSpPr>
          <p:cNvPr id="11" name="Footer Placeholder 3">
            <a:extLst>
              <a:ext uri="{FF2B5EF4-FFF2-40B4-BE49-F238E27FC236}">
                <a16:creationId xmlns:a16="http://schemas.microsoft.com/office/drawing/2014/main" id="{A3259C6A-402C-49AA-97C3-F462C14CCEED}"/>
              </a:ext>
            </a:extLst>
          </p:cNvPr>
          <p:cNvSpPr>
            <a:spLocks noGrp="1"/>
          </p:cNvSpPr>
          <p:nvPr>
            <p:ph type="ftr" sz="quarter" idx="3"/>
          </p:nvPr>
        </p:nvSpPr>
        <p:spPr>
          <a:xfrm>
            <a:off x="1520890" y="6342890"/>
            <a:ext cx="9675845" cy="374690"/>
          </a:xfrm>
          <a:prstGeom prst="rect">
            <a:avLst/>
          </a:prstGeom>
        </p:spPr>
        <p:txBody>
          <a:bodyPr lIns="0" tIns="0" rIns="0" bIns="0" anchor="b"/>
          <a:lstStyle>
            <a:lvl1pPr>
              <a:defRPr sz="900">
                <a:latin typeface="Century Gothic" panose="020B0502020202020204" pitchFamily="34" charset="0"/>
              </a:defRPr>
            </a:lvl1pPr>
          </a:lstStyle>
          <a:p>
            <a:r>
              <a:rPr lang="en-US"/>
              <a:t>Footer</a:t>
            </a:r>
          </a:p>
        </p:txBody>
      </p:sp>
    </p:spTree>
    <p:extLst>
      <p:ext uri="{BB962C8B-B14F-4D97-AF65-F5344CB8AC3E}">
        <p14:creationId xmlns:p14="http://schemas.microsoft.com/office/powerpoint/2010/main" val="2209151298"/>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 id="2147483746" r:id="rId12"/>
    <p:sldLayoutId id="2147483747" r:id="rId13"/>
    <p:sldLayoutId id="2147483748" r:id="rId14"/>
    <p:sldLayoutId id="2147483749" r:id="rId15"/>
    <p:sldLayoutId id="2147483750" r:id="rId16"/>
    <p:sldLayoutId id="2147483751" r:id="rId17"/>
    <p:sldLayoutId id="2147483752" r:id="rId18"/>
    <p:sldLayoutId id="2147483753" r:id="rId19"/>
    <p:sldLayoutId id="2147483754" r:id="rId20"/>
    <p:sldLayoutId id="2147483755" r:id="rId21"/>
    <p:sldLayoutId id="2147483756" r:id="rId22"/>
    <p:sldLayoutId id="2147483757" r:id="rId23"/>
    <p:sldLayoutId id="2147483758" r:id="rId24"/>
    <p:sldLayoutId id="2147483759" r:id="rId25"/>
    <p:sldLayoutId id="2147483760" r:id="rId26"/>
    <p:sldLayoutId id="2147483761" r:id="rId27"/>
    <p:sldLayoutId id="2147483762" r:id="rId28"/>
    <p:sldLayoutId id="2147483763" r:id="rId29"/>
    <p:sldLayoutId id="2147483764" r:id="rId30"/>
    <p:sldLayoutId id="2147483765" r:id="rId31"/>
    <p:sldLayoutId id="2147483766" r:id="rId32"/>
    <p:sldLayoutId id="2147483767" r:id="rId33"/>
    <p:sldLayoutId id="2147483768" r:id="rId34"/>
    <p:sldLayoutId id="2147483769" r:id="rId35"/>
  </p:sldLayoutIdLst>
  <p:hf hdr="0" dt="0"/>
  <p:txStyles>
    <p:titleStyle>
      <a:lvl1pPr algn="l" defTabSz="914400" rtl="0" eaLnBrk="1" latinLnBrk="0" hangingPunct="1">
        <a:lnSpc>
          <a:spcPct val="90000"/>
        </a:lnSpc>
        <a:spcBef>
          <a:spcPct val="0"/>
        </a:spcBef>
        <a:buNone/>
        <a:defRPr sz="2400" b="1" kern="1200" cap="none" baseline="0">
          <a:solidFill>
            <a:schemeClr val="tx2"/>
          </a:solidFill>
          <a:latin typeface="Century Gothic" panose="020B0502020202020204" pitchFamily="34" charset="0"/>
          <a:ea typeface="Verdana" panose="020B0604030504040204" pitchFamily="34" charset="0"/>
          <a:cs typeface="Inter" panose="020B0502030000000004" pitchFamily="34" charset="0"/>
        </a:defRPr>
      </a:lvl1pPr>
    </p:titleStyle>
    <p:body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566">
          <p15:clr>
            <a:srgbClr val="F26B43"/>
          </p15:clr>
        </p15:guide>
        <p15:guide id="2" pos="113">
          <p15:clr>
            <a:srgbClr val="F26B43"/>
          </p15:clr>
        </p15:guide>
        <p15:guide id="3" orient="horz" pos="113">
          <p15:clr>
            <a:srgbClr val="F26B43"/>
          </p15:clr>
        </p15:guide>
        <p15:guide id="4" orient="horz" pos="420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2">
            <a:alpha val="0"/>
          </a:schemeClr>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F11DD12-5469-4EA3-9311-8331E8A21755}"/>
              </a:ext>
            </a:extLst>
          </p:cNvPr>
          <p:cNvGraphicFramePr>
            <a:graphicFrameLocks noChangeAspect="1"/>
          </p:cNvGraphicFramePr>
          <p:nvPr>
            <p:custDataLst>
              <p:tags r:id="rId6"/>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47" imgH="348" progId="TCLayout.ActiveDocument.1">
                  <p:embed/>
                </p:oleObj>
              </mc:Choice>
              <mc:Fallback>
                <p:oleObj name="think-cell Slide" r:id="rId8" imgW="347" imgH="348" progId="TCLayout.ActiveDocument.1">
                  <p:embed/>
                  <p:pic>
                    <p:nvPicPr>
                      <p:cNvPr id="8" name="Object 7" hidden="1">
                        <a:extLst>
                          <a:ext uri="{FF2B5EF4-FFF2-40B4-BE49-F238E27FC236}">
                            <a16:creationId xmlns:a16="http://schemas.microsoft.com/office/drawing/2014/main" id="{9F11DD12-5469-4EA3-9311-8331E8A2175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8B4F704D-00B4-48DD-A117-41BEFDA4A691}"/>
              </a:ext>
            </a:extLst>
          </p:cNvPr>
          <p:cNvSpPr/>
          <p:nvPr>
            <p:custDataLst>
              <p:tags r:id="rId7"/>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1" i="0" baseline="0">
              <a:latin typeface="Inter" panose="020B0502030000000004" pitchFamily="34" charset="0"/>
              <a:ea typeface="Inter" panose="020B0502030000000004" pitchFamily="34" charset="0"/>
              <a:cs typeface="Inter" panose="020B0502030000000004" pitchFamily="34" charset="0"/>
              <a:sym typeface="Inter" panose="020B0502030000000004" pitchFamily="34" charset="0"/>
            </a:endParaRPr>
          </a:p>
        </p:txBody>
      </p:sp>
      <p:sp>
        <p:nvSpPr>
          <p:cNvPr id="2" name="Title Placeholder 1">
            <a:extLst>
              <a:ext uri="{FF2B5EF4-FFF2-40B4-BE49-F238E27FC236}">
                <a16:creationId xmlns:a16="http://schemas.microsoft.com/office/drawing/2014/main" id="{0540AAAF-33FA-4223-B7E3-CC8D2F042CC1}"/>
              </a:ext>
            </a:extLst>
          </p:cNvPr>
          <p:cNvSpPr>
            <a:spLocks noGrp="1"/>
          </p:cNvSpPr>
          <p:nvPr>
            <p:ph type="title"/>
          </p:nvPr>
        </p:nvSpPr>
        <p:spPr>
          <a:xfrm>
            <a:off x="382384" y="179388"/>
            <a:ext cx="11438313" cy="708715"/>
          </a:xfrm>
          <a:prstGeom prst="rect">
            <a:avLst/>
          </a:prstGeom>
        </p:spPr>
        <p:txBody>
          <a:bodyPr vert="horz" lIns="0" tIns="0" rIns="0" bIns="0" rtlCol="0" anchor="ctr">
            <a:normAutofit/>
          </a:bodyPr>
          <a:lstStyle/>
          <a:p>
            <a:r>
              <a:rPr lang="en-US" noProof="0"/>
              <a:t>Click to edit Master title style</a:t>
            </a:r>
          </a:p>
        </p:txBody>
      </p:sp>
      <p:sp>
        <p:nvSpPr>
          <p:cNvPr id="3" name="Text Placeholder 2">
            <a:extLst>
              <a:ext uri="{FF2B5EF4-FFF2-40B4-BE49-F238E27FC236}">
                <a16:creationId xmlns:a16="http://schemas.microsoft.com/office/drawing/2014/main" id="{B926D567-524F-4499-A030-E098F89DCD34}"/>
              </a:ext>
            </a:extLst>
          </p:cNvPr>
          <p:cNvSpPr>
            <a:spLocks noGrp="1"/>
          </p:cNvSpPr>
          <p:nvPr>
            <p:ph type="body" idx="1"/>
          </p:nvPr>
        </p:nvSpPr>
        <p:spPr>
          <a:xfrm>
            <a:off x="382384" y="1247775"/>
            <a:ext cx="11438313" cy="4690732"/>
          </a:xfrm>
          <a:prstGeom prst="rect">
            <a:avLst/>
          </a:prstGeom>
        </p:spPr>
        <p:txBody>
          <a:bodyPr vert="horz" lIns="72000" tIns="72000" rIns="72000" bIns="7200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Slide Number Placeholder 5">
            <a:extLst>
              <a:ext uri="{FF2B5EF4-FFF2-40B4-BE49-F238E27FC236}">
                <a16:creationId xmlns:a16="http://schemas.microsoft.com/office/drawing/2014/main" id="{52DA3F14-F130-47E8-84A4-CD0D7060F0EE}"/>
              </a:ext>
            </a:extLst>
          </p:cNvPr>
          <p:cNvSpPr>
            <a:spLocks noGrp="1"/>
          </p:cNvSpPr>
          <p:nvPr>
            <p:ph type="sldNum" sz="quarter" idx="4"/>
          </p:nvPr>
        </p:nvSpPr>
        <p:spPr>
          <a:xfrm>
            <a:off x="11314734" y="6342890"/>
            <a:ext cx="505963" cy="374690"/>
          </a:xfrm>
          <a:prstGeom prst="rect">
            <a:avLst/>
          </a:prstGeom>
        </p:spPr>
        <p:txBody>
          <a:bodyPr vert="horz" lIns="0" tIns="0" rIns="0" bIns="0" rtlCol="0" anchor="b"/>
          <a:lstStyle>
            <a:lvl1pPr algn="r">
              <a:defRPr sz="1200">
                <a:solidFill>
                  <a:schemeClr val="tx1">
                    <a:tint val="75000"/>
                  </a:schemeClr>
                </a:solidFill>
                <a:latin typeface="Century Gothic" panose="020B0502020202020204" pitchFamily="34" charset="0"/>
                <a:ea typeface="Inter" panose="020B0502030000000004" pitchFamily="34" charset="0"/>
                <a:cs typeface="Inter" panose="020B0502030000000004" pitchFamily="34" charset="0"/>
              </a:defRPr>
            </a:lvl1pPr>
          </a:lstStyle>
          <a:p>
            <a:fld id="{ABB6D191-819E-455F-BC39-F2381519C0C1}" type="slidenum">
              <a:rPr lang="en-US" smtClean="0"/>
              <a:pPr/>
              <a:t>‹#›</a:t>
            </a:fld>
            <a:endParaRPr lang="en-US"/>
          </a:p>
        </p:txBody>
      </p:sp>
      <p:pic>
        <p:nvPicPr>
          <p:cNvPr id="9" name="Picture 8" descr="A close up of a logo&#10;&#10;Description automatically generated">
            <a:extLst>
              <a:ext uri="{FF2B5EF4-FFF2-40B4-BE49-F238E27FC236}">
                <a16:creationId xmlns:a16="http://schemas.microsoft.com/office/drawing/2014/main" id="{B037E079-A572-462D-B540-026FBADEE11E}"/>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216215" y="6272680"/>
            <a:ext cx="1229785" cy="515110"/>
          </a:xfrm>
          <a:prstGeom prst="rect">
            <a:avLst/>
          </a:prstGeom>
        </p:spPr>
      </p:pic>
      <p:sp>
        <p:nvSpPr>
          <p:cNvPr id="10" name="Footer Placeholder 3">
            <a:extLst>
              <a:ext uri="{FF2B5EF4-FFF2-40B4-BE49-F238E27FC236}">
                <a16:creationId xmlns:a16="http://schemas.microsoft.com/office/drawing/2014/main" id="{BD9A595F-5676-77AE-04B5-2BA77EE55120}"/>
              </a:ext>
            </a:extLst>
          </p:cNvPr>
          <p:cNvSpPr>
            <a:spLocks noGrp="1"/>
          </p:cNvSpPr>
          <p:nvPr>
            <p:ph type="ftr" sz="quarter" idx="3"/>
          </p:nvPr>
        </p:nvSpPr>
        <p:spPr>
          <a:xfrm>
            <a:off x="1446000" y="6339057"/>
            <a:ext cx="9675845" cy="374690"/>
          </a:xfrm>
          <a:prstGeom prst="rect">
            <a:avLst/>
          </a:prstGeom>
        </p:spPr>
        <p:txBody>
          <a:bodyPr/>
          <a:lstStyle>
            <a:lvl1pPr>
              <a:defRPr sz="900">
                <a:latin typeface="Century Gothic" panose="020B0502020202020204" pitchFamily="34" charset="0"/>
              </a:defRPr>
            </a:lvl1pPr>
          </a:lstStyle>
          <a:p>
            <a:endParaRPr lang="en-US"/>
          </a:p>
        </p:txBody>
      </p:sp>
    </p:spTree>
    <p:extLst>
      <p:ext uri="{BB962C8B-B14F-4D97-AF65-F5344CB8AC3E}">
        <p14:creationId xmlns:p14="http://schemas.microsoft.com/office/powerpoint/2010/main" val="3655154219"/>
      </p:ext>
    </p:extLst>
  </p:cSld>
  <p:clrMap bg1="lt1" tx1="dk1" bg2="lt2" tx2="dk2" accent1="accent1" accent2="accent2" accent3="accent3" accent4="accent4" accent5="accent5" accent6="accent6" hlink="hlink" folHlink="folHlink"/>
  <p:sldLayoutIdLst>
    <p:sldLayoutId id="2147483771" r:id="rId1"/>
    <p:sldLayoutId id="2147483772" r:id="rId2"/>
    <p:sldLayoutId id="2147483773" r:id="rId3"/>
    <p:sldLayoutId id="2147483774" r:id="rId4"/>
  </p:sldLayoutIdLst>
  <p:hf hdr="0" dt="0"/>
  <p:txStyles>
    <p:titleStyle>
      <a:lvl1pPr algn="l" defTabSz="914400" rtl="0" eaLnBrk="1" latinLnBrk="0" hangingPunct="1">
        <a:lnSpc>
          <a:spcPct val="90000"/>
        </a:lnSpc>
        <a:spcBef>
          <a:spcPct val="0"/>
        </a:spcBef>
        <a:buNone/>
        <a:defRPr sz="2400" b="1" kern="1200" cap="none" baseline="0">
          <a:solidFill>
            <a:schemeClr val="tx2"/>
          </a:solidFill>
          <a:latin typeface="Century Gothic" panose="020B0502020202020204" pitchFamily="34" charset="0"/>
          <a:ea typeface="Verdana" panose="020B0604030504040204" pitchFamily="34" charset="0"/>
          <a:cs typeface="Inter" panose="020B0502030000000004" pitchFamily="34" charset="0"/>
        </a:defRPr>
      </a:lvl1pPr>
    </p:titleStyle>
    <p:body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566">
          <p15:clr>
            <a:srgbClr val="F26B43"/>
          </p15:clr>
        </p15:guide>
        <p15:guide id="2" pos="113">
          <p15:clr>
            <a:srgbClr val="F26B43"/>
          </p15:clr>
        </p15:guide>
        <p15:guide id="3" orient="horz" pos="113">
          <p15:clr>
            <a:srgbClr val="F26B43"/>
          </p15:clr>
        </p15:guide>
        <p15:guide id="4" orient="horz" pos="4206">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89.bin"/><Relationship Id="rId2" Type="http://schemas.openxmlformats.org/officeDocument/2006/relationships/slideLayout" Target="../slideLayouts/slideLayout5.xml"/><Relationship Id="rId1" Type="http://schemas.openxmlformats.org/officeDocument/2006/relationships/tags" Target="../tags/tag179.xml"/><Relationship Id="rId4" Type="http://schemas.openxmlformats.org/officeDocument/2006/relationships/image" Target="../media/image15.emf"/></Relationships>
</file>

<file path=ppt/slides/_rels/slide10.xml.rels><?xml version="1.0" encoding="UTF-8" standalone="yes"?>
<Relationships xmlns="http://schemas.openxmlformats.org/package/2006/relationships"><Relationship Id="rId8" Type="http://schemas.openxmlformats.org/officeDocument/2006/relationships/image" Target="../media/image103.png"/><Relationship Id="rId13" Type="http://schemas.openxmlformats.org/officeDocument/2006/relationships/image" Target="../media/image119.png"/><Relationship Id="rId18" Type="http://schemas.openxmlformats.org/officeDocument/2006/relationships/image" Target="../media/image124.png"/><Relationship Id="rId26" Type="http://schemas.openxmlformats.org/officeDocument/2006/relationships/image" Target="../media/image106.png"/><Relationship Id="rId3" Type="http://schemas.openxmlformats.org/officeDocument/2006/relationships/oleObject" Target="../embeddings/oleObject98.bin"/><Relationship Id="rId21" Type="http://schemas.openxmlformats.org/officeDocument/2006/relationships/image" Target="../media/image127.png"/><Relationship Id="rId7" Type="http://schemas.openxmlformats.org/officeDocument/2006/relationships/image" Target="../media/image102.png"/><Relationship Id="rId12" Type="http://schemas.openxmlformats.org/officeDocument/2006/relationships/image" Target="../media/image118.png"/><Relationship Id="rId17" Type="http://schemas.openxmlformats.org/officeDocument/2006/relationships/image" Target="../media/image123.png"/><Relationship Id="rId25" Type="http://schemas.openxmlformats.org/officeDocument/2006/relationships/image" Target="../media/image131.png"/><Relationship Id="rId2" Type="http://schemas.openxmlformats.org/officeDocument/2006/relationships/slideLayout" Target="../slideLayouts/slideLayout2.xml"/><Relationship Id="rId16" Type="http://schemas.openxmlformats.org/officeDocument/2006/relationships/image" Target="../media/image122.png"/><Relationship Id="rId20" Type="http://schemas.openxmlformats.org/officeDocument/2006/relationships/image" Target="../media/image126.png"/><Relationship Id="rId29" Type="http://schemas.openxmlformats.org/officeDocument/2006/relationships/image" Target="../media/image134.png"/><Relationship Id="rId1" Type="http://schemas.openxmlformats.org/officeDocument/2006/relationships/tags" Target="../tags/tag241.xml"/><Relationship Id="rId6" Type="http://schemas.openxmlformats.org/officeDocument/2006/relationships/image" Target="../media/image101.png"/><Relationship Id="rId11" Type="http://schemas.openxmlformats.org/officeDocument/2006/relationships/image" Target="../media/image117.png"/><Relationship Id="rId24" Type="http://schemas.openxmlformats.org/officeDocument/2006/relationships/image" Target="../media/image130.png"/><Relationship Id="rId5" Type="http://schemas.openxmlformats.org/officeDocument/2006/relationships/image" Target="../media/image100.png"/><Relationship Id="rId15" Type="http://schemas.openxmlformats.org/officeDocument/2006/relationships/image" Target="../media/image121.png"/><Relationship Id="rId23" Type="http://schemas.openxmlformats.org/officeDocument/2006/relationships/image" Target="../media/image129.png"/><Relationship Id="rId28" Type="http://schemas.openxmlformats.org/officeDocument/2006/relationships/image" Target="../media/image133.png"/><Relationship Id="rId10" Type="http://schemas.openxmlformats.org/officeDocument/2006/relationships/image" Target="../media/image105.png"/><Relationship Id="rId19" Type="http://schemas.openxmlformats.org/officeDocument/2006/relationships/image" Target="../media/image125.png"/><Relationship Id="rId4" Type="http://schemas.openxmlformats.org/officeDocument/2006/relationships/image" Target="../media/image15.emf"/><Relationship Id="rId9" Type="http://schemas.openxmlformats.org/officeDocument/2006/relationships/image" Target="../media/image104.png"/><Relationship Id="rId14" Type="http://schemas.openxmlformats.org/officeDocument/2006/relationships/image" Target="../media/image120.png"/><Relationship Id="rId22" Type="http://schemas.openxmlformats.org/officeDocument/2006/relationships/image" Target="../media/image128.png"/><Relationship Id="rId27" Type="http://schemas.openxmlformats.org/officeDocument/2006/relationships/image" Target="../media/image132.png"/></Relationships>
</file>

<file path=ppt/slides/_rels/slide11.xml.rels><?xml version="1.0" encoding="UTF-8" standalone="yes"?>
<Relationships xmlns="http://schemas.openxmlformats.org/package/2006/relationships"><Relationship Id="rId13" Type="http://schemas.openxmlformats.org/officeDocument/2006/relationships/tags" Target="../tags/tag254.xml"/><Relationship Id="rId18" Type="http://schemas.openxmlformats.org/officeDocument/2006/relationships/tags" Target="../tags/tag259.xml"/><Relationship Id="rId26" Type="http://schemas.openxmlformats.org/officeDocument/2006/relationships/tags" Target="../tags/tag267.xml"/><Relationship Id="rId39" Type="http://schemas.openxmlformats.org/officeDocument/2006/relationships/oleObject" Target="../embeddings/oleObject99.bin"/><Relationship Id="rId21" Type="http://schemas.openxmlformats.org/officeDocument/2006/relationships/tags" Target="../tags/tag262.xml"/><Relationship Id="rId34" Type="http://schemas.openxmlformats.org/officeDocument/2006/relationships/tags" Target="../tags/tag275.xml"/><Relationship Id="rId42" Type="http://schemas.openxmlformats.org/officeDocument/2006/relationships/image" Target="../media/image117.png"/><Relationship Id="rId47" Type="http://schemas.openxmlformats.org/officeDocument/2006/relationships/image" Target="../media/image122.png"/><Relationship Id="rId50" Type="http://schemas.openxmlformats.org/officeDocument/2006/relationships/image" Target="../media/image125.png"/><Relationship Id="rId55" Type="http://schemas.openxmlformats.org/officeDocument/2006/relationships/image" Target="../media/image130.png"/><Relationship Id="rId7" Type="http://schemas.openxmlformats.org/officeDocument/2006/relationships/tags" Target="../tags/tag248.xml"/><Relationship Id="rId2" Type="http://schemas.openxmlformats.org/officeDocument/2006/relationships/tags" Target="../tags/tag243.xml"/><Relationship Id="rId16" Type="http://schemas.openxmlformats.org/officeDocument/2006/relationships/tags" Target="../tags/tag257.xml"/><Relationship Id="rId29" Type="http://schemas.openxmlformats.org/officeDocument/2006/relationships/tags" Target="../tags/tag270.xml"/><Relationship Id="rId11" Type="http://schemas.openxmlformats.org/officeDocument/2006/relationships/tags" Target="../tags/tag252.xml"/><Relationship Id="rId24" Type="http://schemas.openxmlformats.org/officeDocument/2006/relationships/tags" Target="../tags/tag265.xml"/><Relationship Id="rId32" Type="http://schemas.openxmlformats.org/officeDocument/2006/relationships/tags" Target="../tags/tag273.xml"/><Relationship Id="rId37" Type="http://schemas.openxmlformats.org/officeDocument/2006/relationships/slideLayout" Target="../slideLayouts/slideLayout2.xml"/><Relationship Id="rId40" Type="http://schemas.openxmlformats.org/officeDocument/2006/relationships/image" Target="../media/image15.emf"/><Relationship Id="rId45" Type="http://schemas.openxmlformats.org/officeDocument/2006/relationships/image" Target="../media/image120.png"/><Relationship Id="rId53" Type="http://schemas.openxmlformats.org/officeDocument/2006/relationships/image" Target="../media/image128.png"/><Relationship Id="rId5" Type="http://schemas.openxmlformats.org/officeDocument/2006/relationships/tags" Target="../tags/tag246.xml"/><Relationship Id="rId10" Type="http://schemas.openxmlformats.org/officeDocument/2006/relationships/tags" Target="../tags/tag251.xml"/><Relationship Id="rId19" Type="http://schemas.openxmlformats.org/officeDocument/2006/relationships/tags" Target="../tags/tag260.xml"/><Relationship Id="rId31" Type="http://schemas.openxmlformats.org/officeDocument/2006/relationships/tags" Target="../tags/tag272.xml"/><Relationship Id="rId44" Type="http://schemas.openxmlformats.org/officeDocument/2006/relationships/image" Target="../media/image119.png"/><Relationship Id="rId52" Type="http://schemas.openxmlformats.org/officeDocument/2006/relationships/image" Target="../media/image127.png"/><Relationship Id="rId4" Type="http://schemas.openxmlformats.org/officeDocument/2006/relationships/tags" Target="../tags/tag245.xml"/><Relationship Id="rId9" Type="http://schemas.openxmlformats.org/officeDocument/2006/relationships/tags" Target="../tags/tag250.xml"/><Relationship Id="rId14" Type="http://schemas.openxmlformats.org/officeDocument/2006/relationships/tags" Target="../tags/tag255.xml"/><Relationship Id="rId22" Type="http://schemas.openxmlformats.org/officeDocument/2006/relationships/tags" Target="../tags/tag263.xml"/><Relationship Id="rId27" Type="http://schemas.openxmlformats.org/officeDocument/2006/relationships/tags" Target="../tags/tag268.xml"/><Relationship Id="rId30" Type="http://schemas.openxmlformats.org/officeDocument/2006/relationships/tags" Target="../tags/tag271.xml"/><Relationship Id="rId35" Type="http://schemas.openxmlformats.org/officeDocument/2006/relationships/tags" Target="../tags/tag276.xml"/><Relationship Id="rId43" Type="http://schemas.openxmlformats.org/officeDocument/2006/relationships/image" Target="../media/image118.png"/><Relationship Id="rId48" Type="http://schemas.openxmlformats.org/officeDocument/2006/relationships/image" Target="../media/image123.png"/><Relationship Id="rId56" Type="http://schemas.openxmlformats.org/officeDocument/2006/relationships/image" Target="../media/image131.png"/><Relationship Id="rId8" Type="http://schemas.openxmlformats.org/officeDocument/2006/relationships/tags" Target="../tags/tag249.xml"/><Relationship Id="rId51" Type="http://schemas.openxmlformats.org/officeDocument/2006/relationships/image" Target="../media/image126.png"/><Relationship Id="rId3" Type="http://schemas.openxmlformats.org/officeDocument/2006/relationships/tags" Target="../tags/tag244.xml"/><Relationship Id="rId12" Type="http://schemas.openxmlformats.org/officeDocument/2006/relationships/tags" Target="../tags/tag253.xml"/><Relationship Id="rId17" Type="http://schemas.openxmlformats.org/officeDocument/2006/relationships/tags" Target="../tags/tag258.xml"/><Relationship Id="rId25" Type="http://schemas.openxmlformats.org/officeDocument/2006/relationships/tags" Target="../tags/tag266.xml"/><Relationship Id="rId33" Type="http://schemas.openxmlformats.org/officeDocument/2006/relationships/tags" Target="../tags/tag274.xml"/><Relationship Id="rId38" Type="http://schemas.openxmlformats.org/officeDocument/2006/relationships/notesSlide" Target="../notesSlides/notesSlide3.xml"/><Relationship Id="rId46" Type="http://schemas.openxmlformats.org/officeDocument/2006/relationships/image" Target="../media/image121.png"/><Relationship Id="rId20" Type="http://schemas.openxmlformats.org/officeDocument/2006/relationships/tags" Target="../tags/tag261.xml"/><Relationship Id="rId41" Type="http://schemas.openxmlformats.org/officeDocument/2006/relationships/chart" Target="../charts/chart3.xml"/><Relationship Id="rId54" Type="http://schemas.openxmlformats.org/officeDocument/2006/relationships/image" Target="../media/image129.png"/><Relationship Id="rId1" Type="http://schemas.openxmlformats.org/officeDocument/2006/relationships/tags" Target="../tags/tag242.xml"/><Relationship Id="rId6" Type="http://schemas.openxmlformats.org/officeDocument/2006/relationships/tags" Target="../tags/tag247.xml"/><Relationship Id="rId15" Type="http://schemas.openxmlformats.org/officeDocument/2006/relationships/tags" Target="../tags/tag256.xml"/><Relationship Id="rId23" Type="http://schemas.openxmlformats.org/officeDocument/2006/relationships/tags" Target="../tags/tag264.xml"/><Relationship Id="rId28" Type="http://schemas.openxmlformats.org/officeDocument/2006/relationships/tags" Target="../tags/tag269.xml"/><Relationship Id="rId36" Type="http://schemas.openxmlformats.org/officeDocument/2006/relationships/tags" Target="../tags/tag277.xml"/><Relationship Id="rId49" Type="http://schemas.openxmlformats.org/officeDocument/2006/relationships/image" Target="../media/image124.png"/></Relationships>
</file>

<file path=ppt/slides/_rels/slide12.xml.rels><?xml version="1.0" encoding="UTF-8" standalone="yes"?>
<Relationships xmlns="http://schemas.openxmlformats.org/package/2006/relationships"><Relationship Id="rId13" Type="http://schemas.openxmlformats.org/officeDocument/2006/relationships/tags" Target="../tags/tag290.xml"/><Relationship Id="rId18" Type="http://schemas.openxmlformats.org/officeDocument/2006/relationships/tags" Target="../tags/tag295.xml"/><Relationship Id="rId26" Type="http://schemas.openxmlformats.org/officeDocument/2006/relationships/tags" Target="../tags/tag303.xml"/><Relationship Id="rId39" Type="http://schemas.openxmlformats.org/officeDocument/2006/relationships/tags" Target="../tags/tag316.xml"/><Relationship Id="rId21" Type="http://schemas.openxmlformats.org/officeDocument/2006/relationships/tags" Target="../tags/tag298.xml"/><Relationship Id="rId34" Type="http://schemas.openxmlformats.org/officeDocument/2006/relationships/tags" Target="../tags/tag311.xml"/><Relationship Id="rId42" Type="http://schemas.openxmlformats.org/officeDocument/2006/relationships/slideLayout" Target="../slideLayouts/slideLayout1.xml"/><Relationship Id="rId47" Type="http://schemas.openxmlformats.org/officeDocument/2006/relationships/chart" Target="../charts/chart6.xml"/><Relationship Id="rId50" Type="http://schemas.openxmlformats.org/officeDocument/2006/relationships/image" Target="../media/image119.png"/><Relationship Id="rId55" Type="http://schemas.openxmlformats.org/officeDocument/2006/relationships/image" Target="../media/image124.png"/><Relationship Id="rId7" Type="http://schemas.openxmlformats.org/officeDocument/2006/relationships/tags" Target="../tags/tag284.xml"/><Relationship Id="rId2" Type="http://schemas.openxmlformats.org/officeDocument/2006/relationships/tags" Target="../tags/tag279.xml"/><Relationship Id="rId16" Type="http://schemas.openxmlformats.org/officeDocument/2006/relationships/tags" Target="../tags/tag293.xml"/><Relationship Id="rId29" Type="http://schemas.openxmlformats.org/officeDocument/2006/relationships/tags" Target="../tags/tag306.xml"/><Relationship Id="rId11" Type="http://schemas.openxmlformats.org/officeDocument/2006/relationships/tags" Target="../tags/tag288.xml"/><Relationship Id="rId24" Type="http://schemas.openxmlformats.org/officeDocument/2006/relationships/tags" Target="../tags/tag301.xml"/><Relationship Id="rId32" Type="http://schemas.openxmlformats.org/officeDocument/2006/relationships/tags" Target="../tags/tag309.xml"/><Relationship Id="rId37" Type="http://schemas.openxmlformats.org/officeDocument/2006/relationships/tags" Target="../tags/tag314.xml"/><Relationship Id="rId40" Type="http://schemas.openxmlformats.org/officeDocument/2006/relationships/tags" Target="../tags/tag317.xml"/><Relationship Id="rId45" Type="http://schemas.openxmlformats.org/officeDocument/2006/relationships/chart" Target="../charts/chart4.xml"/><Relationship Id="rId53" Type="http://schemas.openxmlformats.org/officeDocument/2006/relationships/image" Target="../media/image122.png"/><Relationship Id="rId58" Type="http://schemas.openxmlformats.org/officeDocument/2006/relationships/image" Target="../media/image127.png"/><Relationship Id="rId5" Type="http://schemas.openxmlformats.org/officeDocument/2006/relationships/tags" Target="../tags/tag282.xml"/><Relationship Id="rId61" Type="http://schemas.openxmlformats.org/officeDocument/2006/relationships/image" Target="../media/image130.png"/><Relationship Id="rId19" Type="http://schemas.openxmlformats.org/officeDocument/2006/relationships/tags" Target="../tags/tag296.xml"/><Relationship Id="rId14" Type="http://schemas.openxmlformats.org/officeDocument/2006/relationships/tags" Target="../tags/tag291.xml"/><Relationship Id="rId22" Type="http://schemas.openxmlformats.org/officeDocument/2006/relationships/tags" Target="../tags/tag299.xml"/><Relationship Id="rId27" Type="http://schemas.openxmlformats.org/officeDocument/2006/relationships/tags" Target="../tags/tag304.xml"/><Relationship Id="rId30" Type="http://schemas.openxmlformats.org/officeDocument/2006/relationships/tags" Target="../tags/tag307.xml"/><Relationship Id="rId35" Type="http://schemas.openxmlformats.org/officeDocument/2006/relationships/tags" Target="../tags/tag312.xml"/><Relationship Id="rId43" Type="http://schemas.openxmlformats.org/officeDocument/2006/relationships/oleObject" Target="../embeddings/oleObject100.bin"/><Relationship Id="rId48" Type="http://schemas.openxmlformats.org/officeDocument/2006/relationships/image" Target="../media/image117.png"/><Relationship Id="rId56" Type="http://schemas.openxmlformats.org/officeDocument/2006/relationships/image" Target="../media/image125.png"/><Relationship Id="rId8" Type="http://schemas.openxmlformats.org/officeDocument/2006/relationships/tags" Target="../tags/tag285.xml"/><Relationship Id="rId51" Type="http://schemas.openxmlformats.org/officeDocument/2006/relationships/image" Target="../media/image120.png"/><Relationship Id="rId3" Type="http://schemas.openxmlformats.org/officeDocument/2006/relationships/tags" Target="../tags/tag280.xml"/><Relationship Id="rId12" Type="http://schemas.openxmlformats.org/officeDocument/2006/relationships/tags" Target="../tags/tag289.xml"/><Relationship Id="rId17" Type="http://schemas.openxmlformats.org/officeDocument/2006/relationships/tags" Target="../tags/tag294.xml"/><Relationship Id="rId25" Type="http://schemas.openxmlformats.org/officeDocument/2006/relationships/tags" Target="../tags/tag302.xml"/><Relationship Id="rId33" Type="http://schemas.openxmlformats.org/officeDocument/2006/relationships/tags" Target="../tags/tag310.xml"/><Relationship Id="rId38" Type="http://schemas.openxmlformats.org/officeDocument/2006/relationships/tags" Target="../tags/tag315.xml"/><Relationship Id="rId46" Type="http://schemas.openxmlformats.org/officeDocument/2006/relationships/chart" Target="../charts/chart5.xml"/><Relationship Id="rId59" Type="http://schemas.openxmlformats.org/officeDocument/2006/relationships/image" Target="../media/image128.png"/><Relationship Id="rId20" Type="http://schemas.openxmlformats.org/officeDocument/2006/relationships/tags" Target="../tags/tag297.xml"/><Relationship Id="rId41" Type="http://schemas.openxmlformats.org/officeDocument/2006/relationships/tags" Target="../tags/tag318.xml"/><Relationship Id="rId54" Type="http://schemas.openxmlformats.org/officeDocument/2006/relationships/image" Target="../media/image123.png"/><Relationship Id="rId62" Type="http://schemas.openxmlformats.org/officeDocument/2006/relationships/image" Target="../media/image131.png"/><Relationship Id="rId1" Type="http://schemas.openxmlformats.org/officeDocument/2006/relationships/tags" Target="../tags/tag278.xml"/><Relationship Id="rId6" Type="http://schemas.openxmlformats.org/officeDocument/2006/relationships/tags" Target="../tags/tag283.xml"/><Relationship Id="rId15" Type="http://schemas.openxmlformats.org/officeDocument/2006/relationships/tags" Target="../tags/tag292.xml"/><Relationship Id="rId23" Type="http://schemas.openxmlformats.org/officeDocument/2006/relationships/tags" Target="../tags/tag300.xml"/><Relationship Id="rId28" Type="http://schemas.openxmlformats.org/officeDocument/2006/relationships/tags" Target="../tags/tag305.xml"/><Relationship Id="rId36" Type="http://schemas.openxmlformats.org/officeDocument/2006/relationships/tags" Target="../tags/tag313.xml"/><Relationship Id="rId49" Type="http://schemas.openxmlformats.org/officeDocument/2006/relationships/image" Target="../media/image118.png"/><Relationship Id="rId57" Type="http://schemas.openxmlformats.org/officeDocument/2006/relationships/image" Target="../media/image126.png"/><Relationship Id="rId10" Type="http://schemas.openxmlformats.org/officeDocument/2006/relationships/tags" Target="../tags/tag287.xml"/><Relationship Id="rId31" Type="http://schemas.openxmlformats.org/officeDocument/2006/relationships/tags" Target="../tags/tag308.xml"/><Relationship Id="rId44" Type="http://schemas.openxmlformats.org/officeDocument/2006/relationships/image" Target="../media/image15.emf"/><Relationship Id="rId52" Type="http://schemas.openxmlformats.org/officeDocument/2006/relationships/image" Target="../media/image121.png"/><Relationship Id="rId60" Type="http://schemas.openxmlformats.org/officeDocument/2006/relationships/image" Target="../media/image129.png"/><Relationship Id="rId4" Type="http://schemas.openxmlformats.org/officeDocument/2006/relationships/tags" Target="../tags/tag281.xml"/><Relationship Id="rId9" Type="http://schemas.openxmlformats.org/officeDocument/2006/relationships/tags" Target="../tags/tag286.xml"/></Relationships>
</file>

<file path=ppt/slides/_rels/slide13.xml.rels><?xml version="1.0" encoding="UTF-8" standalone="yes"?>
<Relationships xmlns="http://schemas.openxmlformats.org/package/2006/relationships"><Relationship Id="rId8" Type="http://schemas.openxmlformats.org/officeDocument/2006/relationships/image" Target="../media/image137.emf"/><Relationship Id="rId13" Type="http://schemas.openxmlformats.org/officeDocument/2006/relationships/image" Target="../media/image142.png"/><Relationship Id="rId18" Type="http://schemas.openxmlformats.org/officeDocument/2006/relationships/image" Target="../media/image117.png"/><Relationship Id="rId26" Type="http://schemas.openxmlformats.org/officeDocument/2006/relationships/image" Target="../media/image125.png"/><Relationship Id="rId3" Type="http://schemas.openxmlformats.org/officeDocument/2006/relationships/notesSlide" Target="../notesSlides/notesSlide4.xml"/><Relationship Id="rId21" Type="http://schemas.openxmlformats.org/officeDocument/2006/relationships/image" Target="../media/image120.png"/><Relationship Id="rId7" Type="http://schemas.openxmlformats.org/officeDocument/2006/relationships/image" Target="../media/image136.emf"/><Relationship Id="rId12" Type="http://schemas.openxmlformats.org/officeDocument/2006/relationships/image" Target="../media/image141.emf"/><Relationship Id="rId17" Type="http://schemas.openxmlformats.org/officeDocument/2006/relationships/image" Target="../media/image106.png"/><Relationship Id="rId25" Type="http://schemas.openxmlformats.org/officeDocument/2006/relationships/image" Target="../media/image124.png"/><Relationship Id="rId2" Type="http://schemas.openxmlformats.org/officeDocument/2006/relationships/slideLayout" Target="../slideLayouts/slideLayout2.xml"/><Relationship Id="rId16" Type="http://schemas.openxmlformats.org/officeDocument/2006/relationships/image" Target="../media/image145.svg"/><Relationship Id="rId20" Type="http://schemas.openxmlformats.org/officeDocument/2006/relationships/image" Target="../media/image119.png"/><Relationship Id="rId29" Type="http://schemas.openxmlformats.org/officeDocument/2006/relationships/image" Target="../media/image128.png"/><Relationship Id="rId1" Type="http://schemas.openxmlformats.org/officeDocument/2006/relationships/tags" Target="../tags/tag319.xml"/><Relationship Id="rId6" Type="http://schemas.openxmlformats.org/officeDocument/2006/relationships/image" Target="../media/image135.emf"/><Relationship Id="rId11" Type="http://schemas.openxmlformats.org/officeDocument/2006/relationships/image" Target="../media/image140.emf"/><Relationship Id="rId24" Type="http://schemas.openxmlformats.org/officeDocument/2006/relationships/image" Target="../media/image123.png"/><Relationship Id="rId32" Type="http://schemas.openxmlformats.org/officeDocument/2006/relationships/image" Target="../media/image131.png"/><Relationship Id="rId5" Type="http://schemas.openxmlformats.org/officeDocument/2006/relationships/image" Target="../media/image15.emf"/><Relationship Id="rId15" Type="http://schemas.openxmlformats.org/officeDocument/2006/relationships/image" Target="../media/image144.png"/><Relationship Id="rId23" Type="http://schemas.openxmlformats.org/officeDocument/2006/relationships/image" Target="../media/image122.png"/><Relationship Id="rId28" Type="http://schemas.openxmlformats.org/officeDocument/2006/relationships/image" Target="../media/image127.png"/><Relationship Id="rId10" Type="http://schemas.openxmlformats.org/officeDocument/2006/relationships/image" Target="../media/image139.emf"/><Relationship Id="rId19" Type="http://schemas.openxmlformats.org/officeDocument/2006/relationships/image" Target="../media/image118.png"/><Relationship Id="rId31" Type="http://schemas.openxmlformats.org/officeDocument/2006/relationships/image" Target="../media/image130.png"/><Relationship Id="rId4" Type="http://schemas.openxmlformats.org/officeDocument/2006/relationships/oleObject" Target="../embeddings/oleObject101.bin"/><Relationship Id="rId9" Type="http://schemas.openxmlformats.org/officeDocument/2006/relationships/image" Target="../media/image138.emf"/><Relationship Id="rId14" Type="http://schemas.openxmlformats.org/officeDocument/2006/relationships/image" Target="../media/image143.svg"/><Relationship Id="rId22" Type="http://schemas.openxmlformats.org/officeDocument/2006/relationships/image" Target="../media/image121.png"/><Relationship Id="rId27" Type="http://schemas.openxmlformats.org/officeDocument/2006/relationships/image" Target="../media/image126.png"/><Relationship Id="rId30" Type="http://schemas.openxmlformats.org/officeDocument/2006/relationships/image" Target="../media/image129.png"/></Relationships>
</file>

<file path=ppt/slides/_rels/slide14.xml.rels><?xml version="1.0" encoding="UTF-8" standalone="yes"?>
<Relationships xmlns="http://schemas.openxmlformats.org/package/2006/relationships"><Relationship Id="rId8" Type="http://schemas.openxmlformats.org/officeDocument/2006/relationships/image" Target="../media/image147.jpeg"/><Relationship Id="rId3" Type="http://schemas.openxmlformats.org/officeDocument/2006/relationships/oleObject" Target="../embeddings/oleObject102.bin"/><Relationship Id="rId7" Type="http://schemas.openxmlformats.org/officeDocument/2006/relationships/image" Target="../media/image133.png"/><Relationship Id="rId2" Type="http://schemas.openxmlformats.org/officeDocument/2006/relationships/slideLayout" Target="../slideLayouts/slideLayout1.xml"/><Relationship Id="rId1" Type="http://schemas.openxmlformats.org/officeDocument/2006/relationships/tags" Target="../tags/tag320.xml"/><Relationship Id="rId6" Type="http://schemas.openxmlformats.org/officeDocument/2006/relationships/image" Target="../media/image132.png"/><Relationship Id="rId5" Type="http://schemas.openxmlformats.org/officeDocument/2006/relationships/image" Target="../media/image146.jpeg"/><Relationship Id="rId4" Type="http://schemas.openxmlformats.org/officeDocument/2006/relationships/image" Target="../media/image15.emf"/><Relationship Id="rId9" Type="http://schemas.openxmlformats.org/officeDocument/2006/relationships/image" Target="../media/image148.jpeg"/></Relationships>
</file>

<file path=ppt/slides/_rels/slide15.xml.rels><?xml version="1.0" encoding="UTF-8" standalone="yes"?>
<Relationships xmlns="http://schemas.openxmlformats.org/package/2006/relationships"><Relationship Id="rId13" Type="http://schemas.openxmlformats.org/officeDocument/2006/relationships/tags" Target="../tags/tag333.xml"/><Relationship Id="rId18" Type="http://schemas.openxmlformats.org/officeDocument/2006/relationships/tags" Target="../tags/tag338.xml"/><Relationship Id="rId26" Type="http://schemas.openxmlformats.org/officeDocument/2006/relationships/tags" Target="../tags/tag346.xml"/><Relationship Id="rId39" Type="http://schemas.openxmlformats.org/officeDocument/2006/relationships/image" Target="../media/image106.png"/><Relationship Id="rId21" Type="http://schemas.openxmlformats.org/officeDocument/2006/relationships/tags" Target="../tags/tag341.xml"/><Relationship Id="rId34" Type="http://schemas.openxmlformats.org/officeDocument/2006/relationships/slideLayout" Target="../slideLayouts/slideLayout1.xml"/><Relationship Id="rId42" Type="http://schemas.openxmlformats.org/officeDocument/2006/relationships/image" Target="../media/image119.png"/><Relationship Id="rId47" Type="http://schemas.openxmlformats.org/officeDocument/2006/relationships/image" Target="../media/image124.png"/><Relationship Id="rId50" Type="http://schemas.openxmlformats.org/officeDocument/2006/relationships/image" Target="../media/image127.png"/><Relationship Id="rId55" Type="http://schemas.openxmlformats.org/officeDocument/2006/relationships/image" Target="../media/image132.png"/><Relationship Id="rId7" Type="http://schemas.openxmlformats.org/officeDocument/2006/relationships/tags" Target="../tags/tag327.xml"/><Relationship Id="rId2" Type="http://schemas.openxmlformats.org/officeDocument/2006/relationships/tags" Target="../tags/tag322.xml"/><Relationship Id="rId16" Type="http://schemas.openxmlformats.org/officeDocument/2006/relationships/tags" Target="../tags/tag336.xml"/><Relationship Id="rId29" Type="http://schemas.openxmlformats.org/officeDocument/2006/relationships/tags" Target="../tags/tag349.xml"/><Relationship Id="rId11" Type="http://schemas.openxmlformats.org/officeDocument/2006/relationships/tags" Target="../tags/tag331.xml"/><Relationship Id="rId24" Type="http://schemas.openxmlformats.org/officeDocument/2006/relationships/tags" Target="../tags/tag344.xml"/><Relationship Id="rId32" Type="http://schemas.openxmlformats.org/officeDocument/2006/relationships/tags" Target="../tags/tag352.xml"/><Relationship Id="rId37" Type="http://schemas.openxmlformats.org/officeDocument/2006/relationships/image" Target="../media/image15.emf"/><Relationship Id="rId40" Type="http://schemas.openxmlformats.org/officeDocument/2006/relationships/image" Target="../media/image117.png"/><Relationship Id="rId45" Type="http://schemas.openxmlformats.org/officeDocument/2006/relationships/image" Target="../media/image122.png"/><Relationship Id="rId53" Type="http://schemas.openxmlformats.org/officeDocument/2006/relationships/image" Target="../media/image130.png"/><Relationship Id="rId5" Type="http://schemas.openxmlformats.org/officeDocument/2006/relationships/tags" Target="../tags/tag325.xml"/><Relationship Id="rId10" Type="http://schemas.openxmlformats.org/officeDocument/2006/relationships/tags" Target="../tags/tag330.xml"/><Relationship Id="rId19" Type="http://schemas.openxmlformats.org/officeDocument/2006/relationships/tags" Target="../tags/tag339.xml"/><Relationship Id="rId31" Type="http://schemas.openxmlformats.org/officeDocument/2006/relationships/tags" Target="../tags/tag351.xml"/><Relationship Id="rId44" Type="http://schemas.openxmlformats.org/officeDocument/2006/relationships/image" Target="../media/image121.png"/><Relationship Id="rId52" Type="http://schemas.openxmlformats.org/officeDocument/2006/relationships/image" Target="../media/image129.png"/><Relationship Id="rId4" Type="http://schemas.openxmlformats.org/officeDocument/2006/relationships/tags" Target="../tags/tag324.xml"/><Relationship Id="rId9" Type="http://schemas.openxmlformats.org/officeDocument/2006/relationships/tags" Target="../tags/tag329.xml"/><Relationship Id="rId14" Type="http://schemas.openxmlformats.org/officeDocument/2006/relationships/tags" Target="../tags/tag334.xml"/><Relationship Id="rId22" Type="http://schemas.openxmlformats.org/officeDocument/2006/relationships/tags" Target="../tags/tag342.xml"/><Relationship Id="rId27" Type="http://schemas.openxmlformats.org/officeDocument/2006/relationships/tags" Target="../tags/tag347.xml"/><Relationship Id="rId30" Type="http://schemas.openxmlformats.org/officeDocument/2006/relationships/tags" Target="../tags/tag350.xml"/><Relationship Id="rId35" Type="http://schemas.openxmlformats.org/officeDocument/2006/relationships/notesSlide" Target="../notesSlides/notesSlide5.xml"/><Relationship Id="rId43" Type="http://schemas.openxmlformats.org/officeDocument/2006/relationships/image" Target="../media/image120.png"/><Relationship Id="rId48" Type="http://schemas.openxmlformats.org/officeDocument/2006/relationships/image" Target="../media/image125.png"/><Relationship Id="rId56" Type="http://schemas.openxmlformats.org/officeDocument/2006/relationships/image" Target="../media/image133.png"/><Relationship Id="rId8" Type="http://schemas.openxmlformats.org/officeDocument/2006/relationships/tags" Target="../tags/tag328.xml"/><Relationship Id="rId51" Type="http://schemas.openxmlformats.org/officeDocument/2006/relationships/image" Target="../media/image128.png"/><Relationship Id="rId3" Type="http://schemas.openxmlformats.org/officeDocument/2006/relationships/tags" Target="../tags/tag323.xml"/><Relationship Id="rId12" Type="http://schemas.openxmlformats.org/officeDocument/2006/relationships/tags" Target="../tags/tag332.xml"/><Relationship Id="rId17" Type="http://schemas.openxmlformats.org/officeDocument/2006/relationships/tags" Target="../tags/tag337.xml"/><Relationship Id="rId25" Type="http://schemas.openxmlformats.org/officeDocument/2006/relationships/tags" Target="../tags/tag345.xml"/><Relationship Id="rId33" Type="http://schemas.openxmlformats.org/officeDocument/2006/relationships/tags" Target="../tags/tag353.xml"/><Relationship Id="rId38" Type="http://schemas.openxmlformats.org/officeDocument/2006/relationships/chart" Target="../charts/chart7.xml"/><Relationship Id="rId46" Type="http://schemas.openxmlformats.org/officeDocument/2006/relationships/image" Target="../media/image123.png"/><Relationship Id="rId20" Type="http://schemas.openxmlformats.org/officeDocument/2006/relationships/tags" Target="../tags/tag340.xml"/><Relationship Id="rId41" Type="http://schemas.openxmlformats.org/officeDocument/2006/relationships/image" Target="../media/image118.png"/><Relationship Id="rId54" Type="http://schemas.openxmlformats.org/officeDocument/2006/relationships/image" Target="../media/image131.png"/><Relationship Id="rId1" Type="http://schemas.openxmlformats.org/officeDocument/2006/relationships/tags" Target="../tags/tag321.xml"/><Relationship Id="rId6" Type="http://schemas.openxmlformats.org/officeDocument/2006/relationships/tags" Target="../tags/tag326.xml"/><Relationship Id="rId15" Type="http://schemas.openxmlformats.org/officeDocument/2006/relationships/tags" Target="../tags/tag335.xml"/><Relationship Id="rId23" Type="http://schemas.openxmlformats.org/officeDocument/2006/relationships/tags" Target="../tags/tag343.xml"/><Relationship Id="rId28" Type="http://schemas.openxmlformats.org/officeDocument/2006/relationships/tags" Target="../tags/tag348.xml"/><Relationship Id="rId36" Type="http://schemas.openxmlformats.org/officeDocument/2006/relationships/oleObject" Target="../embeddings/oleObject103.bin"/><Relationship Id="rId49" Type="http://schemas.openxmlformats.org/officeDocument/2006/relationships/image" Target="../media/image126.png"/></Relationships>
</file>

<file path=ppt/slides/_rels/slide16.xml.rels><?xml version="1.0" encoding="UTF-8" standalone="yes"?>
<Relationships xmlns="http://schemas.openxmlformats.org/package/2006/relationships"><Relationship Id="rId13" Type="http://schemas.openxmlformats.org/officeDocument/2006/relationships/tags" Target="../tags/tag366.xml"/><Relationship Id="rId18" Type="http://schemas.openxmlformats.org/officeDocument/2006/relationships/image" Target="../media/image15.emf"/><Relationship Id="rId26" Type="http://schemas.openxmlformats.org/officeDocument/2006/relationships/image" Target="../media/image123.png"/><Relationship Id="rId21" Type="http://schemas.openxmlformats.org/officeDocument/2006/relationships/image" Target="../media/image118.png"/><Relationship Id="rId34" Type="http://schemas.openxmlformats.org/officeDocument/2006/relationships/image" Target="../media/image131.png"/><Relationship Id="rId7" Type="http://schemas.openxmlformats.org/officeDocument/2006/relationships/tags" Target="../tags/tag360.xml"/><Relationship Id="rId12" Type="http://schemas.openxmlformats.org/officeDocument/2006/relationships/tags" Target="../tags/tag365.xml"/><Relationship Id="rId17" Type="http://schemas.openxmlformats.org/officeDocument/2006/relationships/oleObject" Target="../embeddings/oleObject104.bin"/><Relationship Id="rId25" Type="http://schemas.openxmlformats.org/officeDocument/2006/relationships/image" Target="../media/image122.png"/><Relationship Id="rId33" Type="http://schemas.openxmlformats.org/officeDocument/2006/relationships/image" Target="../media/image130.png"/><Relationship Id="rId38" Type="http://schemas.openxmlformats.org/officeDocument/2006/relationships/image" Target="../media/image149.png"/><Relationship Id="rId2" Type="http://schemas.openxmlformats.org/officeDocument/2006/relationships/tags" Target="../tags/tag355.xml"/><Relationship Id="rId16" Type="http://schemas.openxmlformats.org/officeDocument/2006/relationships/notesSlide" Target="../notesSlides/notesSlide6.xml"/><Relationship Id="rId20" Type="http://schemas.openxmlformats.org/officeDocument/2006/relationships/image" Target="../media/image117.png"/><Relationship Id="rId29" Type="http://schemas.openxmlformats.org/officeDocument/2006/relationships/image" Target="../media/image126.png"/><Relationship Id="rId1" Type="http://schemas.openxmlformats.org/officeDocument/2006/relationships/tags" Target="../tags/tag354.xml"/><Relationship Id="rId6" Type="http://schemas.openxmlformats.org/officeDocument/2006/relationships/tags" Target="../tags/tag359.xml"/><Relationship Id="rId11" Type="http://schemas.openxmlformats.org/officeDocument/2006/relationships/tags" Target="../tags/tag364.xml"/><Relationship Id="rId24" Type="http://schemas.openxmlformats.org/officeDocument/2006/relationships/image" Target="../media/image121.png"/><Relationship Id="rId32" Type="http://schemas.openxmlformats.org/officeDocument/2006/relationships/image" Target="../media/image129.png"/><Relationship Id="rId37" Type="http://schemas.openxmlformats.org/officeDocument/2006/relationships/chart" Target="../charts/chart8.xml"/><Relationship Id="rId5" Type="http://schemas.openxmlformats.org/officeDocument/2006/relationships/tags" Target="../tags/tag358.xml"/><Relationship Id="rId15" Type="http://schemas.openxmlformats.org/officeDocument/2006/relationships/slideLayout" Target="../slideLayouts/slideLayout1.xml"/><Relationship Id="rId23" Type="http://schemas.openxmlformats.org/officeDocument/2006/relationships/image" Target="../media/image120.png"/><Relationship Id="rId28" Type="http://schemas.openxmlformats.org/officeDocument/2006/relationships/image" Target="../media/image125.png"/><Relationship Id="rId36" Type="http://schemas.openxmlformats.org/officeDocument/2006/relationships/image" Target="../media/image133.png"/><Relationship Id="rId10" Type="http://schemas.openxmlformats.org/officeDocument/2006/relationships/tags" Target="../tags/tag363.xml"/><Relationship Id="rId19" Type="http://schemas.openxmlformats.org/officeDocument/2006/relationships/image" Target="../media/image106.png"/><Relationship Id="rId31" Type="http://schemas.openxmlformats.org/officeDocument/2006/relationships/image" Target="../media/image128.png"/><Relationship Id="rId4" Type="http://schemas.openxmlformats.org/officeDocument/2006/relationships/tags" Target="../tags/tag357.xml"/><Relationship Id="rId9" Type="http://schemas.openxmlformats.org/officeDocument/2006/relationships/tags" Target="../tags/tag362.xml"/><Relationship Id="rId14" Type="http://schemas.openxmlformats.org/officeDocument/2006/relationships/tags" Target="../tags/tag367.xml"/><Relationship Id="rId22" Type="http://schemas.openxmlformats.org/officeDocument/2006/relationships/image" Target="../media/image119.png"/><Relationship Id="rId27" Type="http://schemas.openxmlformats.org/officeDocument/2006/relationships/image" Target="../media/image124.png"/><Relationship Id="rId30" Type="http://schemas.openxmlformats.org/officeDocument/2006/relationships/image" Target="../media/image127.png"/><Relationship Id="rId35" Type="http://schemas.openxmlformats.org/officeDocument/2006/relationships/image" Target="../media/image132.png"/><Relationship Id="rId8" Type="http://schemas.openxmlformats.org/officeDocument/2006/relationships/tags" Target="../tags/tag361.xml"/><Relationship Id="rId3" Type="http://schemas.openxmlformats.org/officeDocument/2006/relationships/tags" Target="../tags/tag356.xml"/></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105.bin"/><Relationship Id="rId2" Type="http://schemas.openxmlformats.org/officeDocument/2006/relationships/slideLayout" Target="../slideLayouts/slideLayout1.xml"/><Relationship Id="rId1" Type="http://schemas.openxmlformats.org/officeDocument/2006/relationships/tags" Target="../tags/tag368.xml"/><Relationship Id="rId4" Type="http://schemas.openxmlformats.org/officeDocument/2006/relationships/image" Target="../media/image15.emf"/></Relationships>
</file>

<file path=ppt/slides/_rels/slide18.xml.rels><?xml version="1.0" encoding="UTF-8" standalone="yes"?>
<Relationships xmlns="http://schemas.openxmlformats.org/package/2006/relationships"><Relationship Id="rId13" Type="http://schemas.openxmlformats.org/officeDocument/2006/relationships/tags" Target="../tags/tag381.xml"/><Relationship Id="rId18" Type="http://schemas.openxmlformats.org/officeDocument/2006/relationships/slideLayout" Target="../slideLayouts/slideLayout1.xml"/><Relationship Id="rId26" Type="http://schemas.openxmlformats.org/officeDocument/2006/relationships/image" Target="../media/image154.png"/><Relationship Id="rId21" Type="http://schemas.openxmlformats.org/officeDocument/2006/relationships/chart" Target="../charts/chart9.xml"/><Relationship Id="rId34" Type="http://schemas.openxmlformats.org/officeDocument/2006/relationships/image" Target="../media/image160.jpeg"/><Relationship Id="rId7" Type="http://schemas.openxmlformats.org/officeDocument/2006/relationships/tags" Target="../tags/tag375.xml"/><Relationship Id="rId12" Type="http://schemas.openxmlformats.org/officeDocument/2006/relationships/tags" Target="../tags/tag380.xml"/><Relationship Id="rId17" Type="http://schemas.openxmlformats.org/officeDocument/2006/relationships/tags" Target="../tags/tag385.xml"/><Relationship Id="rId25" Type="http://schemas.openxmlformats.org/officeDocument/2006/relationships/image" Target="../media/image153.png"/><Relationship Id="rId33" Type="http://schemas.openxmlformats.org/officeDocument/2006/relationships/image" Target="../media/image159.jpeg"/><Relationship Id="rId2" Type="http://schemas.openxmlformats.org/officeDocument/2006/relationships/tags" Target="../tags/tag370.xml"/><Relationship Id="rId16" Type="http://schemas.openxmlformats.org/officeDocument/2006/relationships/tags" Target="../tags/tag384.xml"/><Relationship Id="rId20" Type="http://schemas.openxmlformats.org/officeDocument/2006/relationships/image" Target="../media/image15.emf"/><Relationship Id="rId29" Type="http://schemas.openxmlformats.org/officeDocument/2006/relationships/image" Target="../media/image156.png"/><Relationship Id="rId1" Type="http://schemas.openxmlformats.org/officeDocument/2006/relationships/tags" Target="../tags/tag369.xml"/><Relationship Id="rId6" Type="http://schemas.openxmlformats.org/officeDocument/2006/relationships/tags" Target="../tags/tag374.xml"/><Relationship Id="rId11" Type="http://schemas.openxmlformats.org/officeDocument/2006/relationships/tags" Target="../tags/tag379.xml"/><Relationship Id="rId24" Type="http://schemas.openxmlformats.org/officeDocument/2006/relationships/image" Target="../media/image152.png"/><Relationship Id="rId32" Type="http://schemas.openxmlformats.org/officeDocument/2006/relationships/image" Target="../media/image158.png"/><Relationship Id="rId37" Type="http://schemas.openxmlformats.org/officeDocument/2006/relationships/image" Target="../media/image162.png"/><Relationship Id="rId5" Type="http://schemas.openxmlformats.org/officeDocument/2006/relationships/tags" Target="../tags/tag373.xml"/><Relationship Id="rId15" Type="http://schemas.openxmlformats.org/officeDocument/2006/relationships/tags" Target="../tags/tag383.xml"/><Relationship Id="rId23" Type="http://schemas.openxmlformats.org/officeDocument/2006/relationships/image" Target="../media/image151.png"/><Relationship Id="rId28" Type="http://schemas.openxmlformats.org/officeDocument/2006/relationships/chart" Target="../charts/chart10.xml"/><Relationship Id="rId36" Type="http://schemas.openxmlformats.org/officeDocument/2006/relationships/image" Target="../media/image161.png"/><Relationship Id="rId10" Type="http://schemas.openxmlformats.org/officeDocument/2006/relationships/tags" Target="../tags/tag378.xml"/><Relationship Id="rId19" Type="http://schemas.openxmlformats.org/officeDocument/2006/relationships/oleObject" Target="../embeddings/oleObject106.bin"/><Relationship Id="rId31" Type="http://schemas.openxmlformats.org/officeDocument/2006/relationships/chart" Target="../charts/chart11.xml"/><Relationship Id="rId4" Type="http://schemas.openxmlformats.org/officeDocument/2006/relationships/tags" Target="../tags/tag372.xml"/><Relationship Id="rId9" Type="http://schemas.openxmlformats.org/officeDocument/2006/relationships/tags" Target="../tags/tag377.xml"/><Relationship Id="rId14" Type="http://schemas.openxmlformats.org/officeDocument/2006/relationships/tags" Target="../tags/tag382.xml"/><Relationship Id="rId22" Type="http://schemas.openxmlformats.org/officeDocument/2006/relationships/image" Target="../media/image150.png"/><Relationship Id="rId27" Type="http://schemas.openxmlformats.org/officeDocument/2006/relationships/image" Target="../media/image155.png"/><Relationship Id="rId30" Type="http://schemas.openxmlformats.org/officeDocument/2006/relationships/image" Target="../media/image157.png"/><Relationship Id="rId35" Type="http://schemas.openxmlformats.org/officeDocument/2006/relationships/chart" Target="../charts/chart12.xml"/><Relationship Id="rId8" Type="http://schemas.openxmlformats.org/officeDocument/2006/relationships/tags" Target="../tags/tag376.xml"/><Relationship Id="rId3" Type="http://schemas.openxmlformats.org/officeDocument/2006/relationships/tags" Target="../tags/tag371.xml"/></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07.bin"/><Relationship Id="rId2" Type="http://schemas.openxmlformats.org/officeDocument/2006/relationships/slideLayout" Target="../slideLayouts/slideLayout1.xml"/><Relationship Id="rId1" Type="http://schemas.openxmlformats.org/officeDocument/2006/relationships/tags" Target="../tags/tag386.xml"/><Relationship Id="rId5" Type="http://schemas.openxmlformats.org/officeDocument/2006/relationships/image" Target="../media/image163.png"/><Relationship Id="rId4" Type="http://schemas.openxmlformats.org/officeDocument/2006/relationships/image" Target="../media/image15.emf"/></Relationships>
</file>

<file path=ppt/slides/_rels/slide2.xml.rels><?xml version="1.0" encoding="UTF-8" standalone="yes"?>
<Relationships xmlns="http://schemas.openxmlformats.org/package/2006/relationships"><Relationship Id="rId13" Type="http://schemas.openxmlformats.org/officeDocument/2006/relationships/image" Target="../media/image23.png"/><Relationship Id="rId18" Type="http://schemas.openxmlformats.org/officeDocument/2006/relationships/image" Target="../media/image28.png"/><Relationship Id="rId26" Type="http://schemas.openxmlformats.org/officeDocument/2006/relationships/image" Target="../media/image36.png"/><Relationship Id="rId39" Type="http://schemas.openxmlformats.org/officeDocument/2006/relationships/image" Target="../media/image49.png"/><Relationship Id="rId21" Type="http://schemas.openxmlformats.org/officeDocument/2006/relationships/image" Target="../media/image31.gif"/><Relationship Id="rId34" Type="http://schemas.openxmlformats.org/officeDocument/2006/relationships/image" Target="../media/image44.png"/><Relationship Id="rId42" Type="http://schemas.openxmlformats.org/officeDocument/2006/relationships/image" Target="../media/image52.png"/><Relationship Id="rId47" Type="http://schemas.openxmlformats.org/officeDocument/2006/relationships/image" Target="../media/image56.png"/><Relationship Id="rId50" Type="http://schemas.openxmlformats.org/officeDocument/2006/relationships/image" Target="../media/image59.png"/><Relationship Id="rId55" Type="http://schemas.openxmlformats.org/officeDocument/2006/relationships/image" Target="../media/image64.png"/><Relationship Id="rId63" Type="http://schemas.openxmlformats.org/officeDocument/2006/relationships/image" Target="../media/image72.png"/><Relationship Id="rId7" Type="http://schemas.openxmlformats.org/officeDocument/2006/relationships/image" Target="../media/image4.emf"/><Relationship Id="rId2" Type="http://schemas.openxmlformats.org/officeDocument/2006/relationships/tags" Target="../tags/tag181.xml"/><Relationship Id="rId16" Type="http://schemas.openxmlformats.org/officeDocument/2006/relationships/image" Target="../media/image26.png"/><Relationship Id="rId29" Type="http://schemas.openxmlformats.org/officeDocument/2006/relationships/image" Target="../media/image39.png"/><Relationship Id="rId11" Type="http://schemas.openxmlformats.org/officeDocument/2006/relationships/image" Target="../media/image21.jpeg"/><Relationship Id="rId24" Type="http://schemas.openxmlformats.org/officeDocument/2006/relationships/image" Target="../media/image34.png"/><Relationship Id="rId32" Type="http://schemas.openxmlformats.org/officeDocument/2006/relationships/image" Target="../media/image42.png"/><Relationship Id="rId37" Type="http://schemas.openxmlformats.org/officeDocument/2006/relationships/image" Target="../media/image47.png"/><Relationship Id="rId40" Type="http://schemas.openxmlformats.org/officeDocument/2006/relationships/image" Target="../media/image50.png"/><Relationship Id="rId45" Type="http://schemas.openxmlformats.org/officeDocument/2006/relationships/image" Target="../media/image54.png"/><Relationship Id="rId53" Type="http://schemas.openxmlformats.org/officeDocument/2006/relationships/image" Target="../media/image62.png"/><Relationship Id="rId58" Type="http://schemas.openxmlformats.org/officeDocument/2006/relationships/image" Target="../media/image67.png"/><Relationship Id="rId5" Type="http://schemas.openxmlformats.org/officeDocument/2006/relationships/notesSlide" Target="../notesSlides/notesSlide1.xml"/><Relationship Id="rId61" Type="http://schemas.openxmlformats.org/officeDocument/2006/relationships/image" Target="../media/image70.png"/><Relationship Id="rId19" Type="http://schemas.openxmlformats.org/officeDocument/2006/relationships/image" Target="../media/image29.png"/><Relationship Id="rId14" Type="http://schemas.openxmlformats.org/officeDocument/2006/relationships/image" Target="../media/image24.jpeg"/><Relationship Id="rId22" Type="http://schemas.openxmlformats.org/officeDocument/2006/relationships/image" Target="../media/image32.png"/><Relationship Id="rId27" Type="http://schemas.openxmlformats.org/officeDocument/2006/relationships/image" Target="../media/image37.png"/><Relationship Id="rId30" Type="http://schemas.openxmlformats.org/officeDocument/2006/relationships/image" Target="../media/image40.png"/><Relationship Id="rId35" Type="http://schemas.openxmlformats.org/officeDocument/2006/relationships/image" Target="../media/image45.png"/><Relationship Id="rId43" Type="http://schemas.microsoft.com/office/2007/relationships/hdphoto" Target="../media/hdphoto1.wdp"/><Relationship Id="rId48" Type="http://schemas.openxmlformats.org/officeDocument/2006/relationships/image" Target="../media/image57.png"/><Relationship Id="rId56" Type="http://schemas.openxmlformats.org/officeDocument/2006/relationships/image" Target="../media/image65.png"/><Relationship Id="rId8" Type="http://schemas.openxmlformats.org/officeDocument/2006/relationships/image" Target="../media/image18.jpeg"/><Relationship Id="rId51" Type="http://schemas.openxmlformats.org/officeDocument/2006/relationships/image" Target="../media/image60.png"/><Relationship Id="rId3" Type="http://schemas.openxmlformats.org/officeDocument/2006/relationships/tags" Target="../tags/tag182.xml"/><Relationship Id="rId12" Type="http://schemas.openxmlformats.org/officeDocument/2006/relationships/image" Target="../media/image22.png"/><Relationship Id="rId17" Type="http://schemas.openxmlformats.org/officeDocument/2006/relationships/image" Target="../media/image27.png"/><Relationship Id="rId25" Type="http://schemas.openxmlformats.org/officeDocument/2006/relationships/image" Target="../media/image35.png"/><Relationship Id="rId33" Type="http://schemas.openxmlformats.org/officeDocument/2006/relationships/image" Target="../media/image43.png"/><Relationship Id="rId38" Type="http://schemas.openxmlformats.org/officeDocument/2006/relationships/image" Target="../media/image48.png"/><Relationship Id="rId46" Type="http://schemas.openxmlformats.org/officeDocument/2006/relationships/image" Target="../media/image55.png"/><Relationship Id="rId59" Type="http://schemas.openxmlformats.org/officeDocument/2006/relationships/image" Target="../media/image68.png"/><Relationship Id="rId20" Type="http://schemas.openxmlformats.org/officeDocument/2006/relationships/image" Target="../media/image30.png"/><Relationship Id="rId41" Type="http://schemas.openxmlformats.org/officeDocument/2006/relationships/image" Target="../media/image51.png"/><Relationship Id="rId54" Type="http://schemas.openxmlformats.org/officeDocument/2006/relationships/image" Target="../media/image63.png"/><Relationship Id="rId62" Type="http://schemas.openxmlformats.org/officeDocument/2006/relationships/image" Target="../media/image71.png"/><Relationship Id="rId1" Type="http://schemas.openxmlformats.org/officeDocument/2006/relationships/tags" Target="../tags/tag180.xml"/><Relationship Id="rId6" Type="http://schemas.openxmlformats.org/officeDocument/2006/relationships/oleObject" Target="../embeddings/oleObject90.bin"/><Relationship Id="rId15" Type="http://schemas.openxmlformats.org/officeDocument/2006/relationships/image" Target="../media/image25.png"/><Relationship Id="rId23" Type="http://schemas.openxmlformats.org/officeDocument/2006/relationships/image" Target="../media/image33.png"/><Relationship Id="rId28" Type="http://schemas.openxmlformats.org/officeDocument/2006/relationships/image" Target="../media/image38.png"/><Relationship Id="rId36" Type="http://schemas.openxmlformats.org/officeDocument/2006/relationships/image" Target="../media/image46.png"/><Relationship Id="rId49" Type="http://schemas.openxmlformats.org/officeDocument/2006/relationships/image" Target="../media/image58.png"/><Relationship Id="rId57" Type="http://schemas.openxmlformats.org/officeDocument/2006/relationships/image" Target="../media/image66.png"/><Relationship Id="rId10" Type="http://schemas.openxmlformats.org/officeDocument/2006/relationships/image" Target="../media/image20.png"/><Relationship Id="rId31" Type="http://schemas.openxmlformats.org/officeDocument/2006/relationships/image" Target="../media/image41.png"/><Relationship Id="rId44" Type="http://schemas.openxmlformats.org/officeDocument/2006/relationships/image" Target="../media/image53.png"/><Relationship Id="rId52" Type="http://schemas.openxmlformats.org/officeDocument/2006/relationships/image" Target="../media/image61.png"/><Relationship Id="rId60" Type="http://schemas.openxmlformats.org/officeDocument/2006/relationships/image" Target="../media/image69.png"/><Relationship Id="rId4" Type="http://schemas.openxmlformats.org/officeDocument/2006/relationships/slideLayout" Target="../slideLayouts/slideLayout1.xml"/><Relationship Id="rId9" Type="http://schemas.openxmlformats.org/officeDocument/2006/relationships/image" Target="../media/image19.gi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108.bin"/><Relationship Id="rId2" Type="http://schemas.openxmlformats.org/officeDocument/2006/relationships/slideLayout" Target="../slideLayouts/slideLayout1.xml"/><Relationship Id="rId1" Type="http://schemas.openxmlformats.org/officeDocument/2006/relationships/tags" Target="../tags/tag387.xml"/><Relationship Id="rId4" Type="http://schemas.openxmlformats.org/officeDocument/2006/relationships/image" Target="../media/image15.emf"/></Relationships>
</file>

<file path=ppt/slides/_rels/slide3.xml.rels><?xml version="1.0" encoding="UTF-8" standalone="yes"?>
<Relationships xmlns="http://schemas.openxmlformats.org/package/2006/relationships"><Relationship Id="rId8" Type="http://schemas.openxmlformats.org/officeDocument/2006/relationships/image" Target="../media/image76.svg"/><Relationship Id="rId3" Type="http://schemas.openxmlformats.org/officeDocument/2006/relationships/oleObject" Target="../embeddings/oleObject91.bin"/><Relationship Id="rId7" Type="http://schemas.openxmlformats.org/officeDocument/2006/relationships/image" Target="../media/image75.png"/><Relationship Id="rId2" Type="http://schemas.openxmlformats.org/officeDocument/2006/relationships/slideLayout" Target="../slideLayouts/slideLayout1.xml"/><Relationship Id="rId1" Type="http://schemas.openxmlformats.org/officeDocument/2006/relationships/tags" Target="../tags/tag183.xml"/><Relationship Id="rId6" Type="http://schemas.openxmlformats.org/officeDocument/2006/relationships/image" Target="../media/image74.svg"/><Relationship Id="rId5" Type="http://schemas.openxmlformats.org/officeDocument/2006/relationships/image" Target="../media/image73.png"/><Relationship Id="rId10" Type="http://schemas.openxmlformats.org/officeDocument/2006/relationships/image" Target="../media/image78.svg"/><Relationship Id="rId4" Type="http://schemas.openxmlformats.org/officeDocument/2006/relationships/image" Target="../media/image15.emf"/><Relationship Id="rId9" Type="http://schemas.openxmlformats.org/officeDocument/2006/relationships/image" Target="../media/image77.png"/></Relationships>
</file>

<file path=ppt/slides/_rels/slide4.xml.rels><?xml version="1.0" encoding="UTF-8" standalone="yes"?>
<Relationships xmlns="http://schemas.openxmlformats.org/package/2006/relationships"><Relationship Id="rId8" Type="http://schemas.openxmlformats.org/officeDocument/2006/relationships/image" Target="../media/image82.png"/><Relationship Id="rId13" Type="http://schemas.openxmlformats.org/officeDocument/2006/relationships/image" Target="../media/image87.png"/><Relationship Id="rId18" Type="http://schemas.openxmlformats.org/officeDocument/2006/relationships/image" Target="../media/image92.jpeg"/><Relationship Id="rId3" Type="http://schemas.openxmlformats.org/officeDocument/2006/relationships/oleObject" Target="../embeddings/oleObject92.bin"/><Relationship Id="rId21" Type="http://schemas.openxmlformats.org/officeDocument/2006/relationships/image" Target="../media/image95.jpeg"/><Relationship Id="rId7" Type="http://schemas.openxmlformats.org/officeDocument/2006/relationships/image" Target="../media/image81.png"/><Relationship Id="rId12" Type="http://schemas.openxmlformats.org/officeDocument/2006/relationships/image" Target="../media/image86.png"/><Relationship Id="rId17" Type="http://schemas.openxmlformats.org/officeDocument/2006/relationships/image" Target="../media/image91.png"/><Relationship Id="rId2" Type="http://schemas.openxmlformats.org/officeDocument/2006/relationships/slideLayout" Target="../slideLayouts/slideLayout1.xml"/><Relationship Id="rId16" Type="http://schemas.openxmlformats.org/officeDocument/2006/relationships/image" Target="../media/image90.jpeg"/><Relationship Id="rId20" Type="http://schemas.openxmlformats.org/officeDocument/2006/relationships/image" Target="../media/image94.jpeg"/><Relationship Id="rId1" Type="http://schemas.openxmlformats.org/officeDocument/2006/relationships/tags" Target="../tags/tag184.xml"/><Relationship Id="rId6" Type="http://schemas.openxmlformats.org/officeDocument/2006/relationships/image" Target="../media/image80.png"/><Relationship Id="rId11" Type="http://schemas.openxmlformats.org/officeDocument/2006/relationships/image" Target="../media/image85.png"/><Relationship Id="rId5" Type="http://schemas.openxmlformats.org/officeDocument/2006/relationships/image" Target="../media/image79.png"/><Relationship Id="rId15" Type="http://schemas.openxmlformats.org/officeDocument/2006/relationships/image" Target="../media/image89.png"/><Relationship Id="rId10" Type="http://schemas.openxmlformats.org/officeDocument/2006/relationships/image" Target="../media/image84.png"/><Relationship Id="rId19" Type="http://schemas.openxmlformats.org/officeDocument/2006/relationships/image" Target="../media/image93.jpeg"/><Relationship Id="rId4" Type="http://schemas.openxmlformats.org/officeDocument/2006/relationships/image" Target="../media/image15.emf"/><Relationship Id="rId9" Type="http://schemas.openxmlformats.org/officeDocument/2006/relationships/image" Target="../media/image83.png"/><Relationship Id="rId14" Type="http://schemas.openxmlformats.org/officeDocument/2006/relationships/image" Target="../media/image88.png"/></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93.bin"/><Relationship Id="rId2" Type="http://schemas.openxmlformats.org/officeDocument/2006/relationships/slideLayout" Target="../slideLayouts/slideLayout2.xml"/><Relationship Id="rId1" Type="http://schemas.openxmlformats.org/officeDocument/2006/relationships/tags" Target="../tags/tag185.xml"/><Relationship Id="rId5" Type="http://schemas.openxmlformats.org/officeDocument/2006/relationships/image" Target="../media/image96.png"/><Relationship Id="rId4" Type="http://schemas.openxmlformats.org/officeDocument/2006/relationships/image" Target="../media/image15.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94.bin"/><Relationship Id="rId2" Type="http://schemas.openxmlformats.org/officeDocument/2006/relationships/slideLayout" Target="../slideLayouts/slideLayout1.xml"/><Relationship Id="rId1" Type="http://schemas.openxmlformats.org/officeDocument/2006/relationships/tags" Target="../tags/tag186.xml"/><Relationship Id="rId5" Type="http://schemas.openxmlformats.org/officeDocument/2006/relationships/image" Target="../media/image97.png"/><Relationship Id="rId4" Type="http://schemas.openxmlformats.org/officeDocument/2006/relationships/image" Target="../media/image15.emf"/></Relationships>
</file>

<file path=ppt/slides/_rels/slide7.xml.rels><?xml version="1.0" encoding="UTF-8" standalone="yes"?>
<Relationships xmlns="http://schemas.openxmlformats.org/package/2006/relationships"><Relationship Id="rId8" Type="http://schemas.openxmlformats.org/officeDocument/2006/relationships/tags" Target="../tags/tag194.xml"/><Relationship Id="rId13" Type="http://schemas.openxmlformats.org/officeDocument/2006/relationships/tags" Target="../tags/tag199.xml"/><Relationship Id="rId18" Type="http://schemas.openxmlformats.org/officeDocument/2006/relationships/tags" Target="../tags/tag204.xml"/><Relationship Id="rId3" Type="http://schemas.openxmlformats.org/officeDocument/2006/relationships/tags" Target="../tags/tag189.xml"/><Relationship Id="rId21" Type="http://schemas.openxmlformats.org/officeDocument/2006/relationships/image" Target="../media/image15.emf"/><Relationship Id="rId7" Type="http://schemas.openxmlformats.org/officeDocument/2006/relationships/tags" Target="../tags/tag193.xml"/><Relationship Id="rId12" Type="http://schemas.openxmlformats.org/officeDocument/2006/relationships/tags" Target="../tags/tag198.xml"/><Relationship Id="rId17" Type="http://schemas.openxmlformats.org/officeDocument/2006/relationships/tags" Target="../tags/tag203.xml"/><Relationship Id="rId2" Type="http://schemas.openxmlformats.org/officeDocument/2006/relationships/tags" Target="../tags/tag188.xml"/><Relationship Id="rId16" Type="http://schemas.openxmlformats.org/officeDocument/2006/relationships/tags" Target="../tags/tag202.xml"/><Relationship Id="rId20" Type="http://schemas.openxmlformats.org/officeDocument/2006/relationships/oleObject" Target="../embeddings/oleObject95.bin"/><Relationship Id="rId1" Type="http://schemas.openxmlformats.org/officeDocument/2006/relationships/tags" Target="../tags/tag187.xml"/><Relationship Id="rId6" Type="http://schemas.openxmlformats.org/officeDocument/2006/relationships/tags" Target="../tags/tag192.xml"/><Relationship Id="rId11" Type="http://schemas.openxmlformats.org/officeDocument/2006/relationships/tags" Target="../tags/tag197.xml"/><Relationship Id="rId5" Type="http://schemas.openxmlformats.org/officeDocument/2006/relationships/tags" Target="../tags/tag191.xml"/><Relationship Id="rId15" Type="http://schemas.openxmlformats.org/officeDocument/2006/relationships/tags" Target="../tags/tag201.xml"/><Relationship Id="rId10" Type="http://schemas.openxmlformats.org/officeDocument/2006/relationships/tags" Target="../tags/tag196.xml"/><Relationship Id="rId19" Type="http://schemas.openxmlformats.org/officeDocument/2006/relationships/slideLayout" Target="../slideLayouts/slideLayout1.xml"/><Relationship Id="rId4" Type="http://schemas.openxmlformats.org/officeDocument/2006/relationships/tags" Target="../tags/tag190.xml"/><Relationship Id="rId9" Type="http://schemas.openxmlformats.org/officeDocument/2006/relationships/tags" Target="../tags/tag195.xml"/><Relationship Id="rId14" Type="http://schemas.openxmlformats.org/officeDocument/2006/relationships/tags" Target="../tags/tag200.xml"/><Relationship Id="rId22" Type="http://schemas.openxmlformats.org/officeDocument/2006/relationships/chart" Target="../charts/chart1.xml"/></Relationships>
</file>

<file path=ppt/slides/_rels/slide8.xml.rels><?xml version="1.0" encoding="UTF-8" standalone="yes"?>
<Relationships xmlns="http://schemas.openxmlformats.org/package/2006/relationships"><Relationship Id="rId13" Type="http://schemas.openxmlformats.org/officeDocument/2006/relationships/tags" Target="../tags/tag217.xml"/><Relationship Id="rId18" Type="http://schemas.openxmlformats.org/officeDocument/2006/relationships/tags" Target="../tags/tag222.xml"/><Relationship Id="rId26" Type="http://schemas.openxmlformats.org/officeDocument/2006/relationships/tags" Target="../tags/tag230.xml"/><Relationship Id="rId39" Type="http://schemas.openxmlformats.org/officeDocument/2006/relationships/image" Target="../media/image15.emf"/><Relationship Id="rId21" Type="http://schemas.openxmlformats.org/officeDocument/2006/relationships/tags" Target="../tags/tag225.xml"/><Relationship Id="rId34" Type="http://schemas.openxmlformats.org/officeDocument/2006/relationships/tags" Target="../tags/tag238.xml"/><Relationship Id="rId7" Type="http://schemas.openxmlformats.org/officeDocument/2006/relationships/tags" Target="../tags/tag211.xml"/><Relationship Id="rId12" Type="http://schemas.openxmlformats.org/officeDocument/2006/relationships/tags" Target="../tags/tag216.xml"/><Relationship Id="rId17" Type="http://schemas.openxmlformats.org/officeDocument/2006/relationships/tags" Target="../tags/tag221.xml"/><Relationship Id="rId25" Type="http://schemas.openxmlformats.org/officeDocument/2006/relationships/tags" Target="../tags/tag229.xml"/><Relationship Id="rId33" Type="http://schemas.openxmlformats.org/officeDocument/2006/relationships/tags" Target="../tags/tag237.xml"/><Relationship Id="rId38" Type="http://schemas.openxmlformats.org/officeDocument/2006/relationships/oleObject" Target="../embeddings/oleObject96.bin"/><Relationship Id="rId2" Type="http://schemas.openxmlformats.org/officeDocument/2006/relationships/tags" Target="../tags/tag206.xml"/><Relationship Id="rId16" Type="http://schemas.openxmlformats.org/officeDocument/2006/relationships/tags" Target="../tags/tag220.xml"/><Relationship Id="rId20" Type="http://schemas.openxmlformats.org/officeDocument/2006/relationships/tags" Target="../tags/tag224.xml"/><Relationship Id="rId29" Type="http://schemas.openxmlformats.org/officeDocument/2006/relationships/tags" Target="../tags/tag233.xml"/><Relationship Id="rId1" Type="http://schemas.openxmlformats.org/officeDocument/2006/relationships/tags" Target="../tags/tag205.xml"/><Relationship Id="rId6" Type="http://schemas.openxmlformats.org/officeDocument/2006/relationships/tags" Target="../tags/tag210.xml"/><Relationship Id="rId11" Type="http://schemas.openxmlformats.org/officeDocument/2006/relationships/tags" Target="../tags/tag215.xml"/><Relationship Id="rId24" Type="http://schemas.openxmlformats.org/officeDocument/2006/relationships/tags" Target="../tags/tag228.xml"/><Relationship Id="rId32" Type="http://schemas.openxmlformats.org/officeDocument/2006/relationships/tags" Target="../tags/tag236.xml"/><Relationship Id="rId37" Type="http://schemas.openxmlformats.org/officeDocument/2006/relationships/notesSlide" Target="../notesSlides/notesSlide2.xml"/><Relationship Id="rId40" Type="http://schemas.openxmlformats.org/officeDocument/2006/relationships/chart" Target="../charts/chart2.xml"/><Relationship Id="rId5" Type="http://schemas.openxmlformats.org/officeDocument/2006/relationships/tags" Target="../tags/tag209.xml"/><Relationship Id="rId15" Type="http://schemas.openxmlformats.org/officeDocument/2006/relationships/tags" Target="../tags/tag219.xml"/><Relationship Id="rId23" Type="http://schemas.openxmlformats.org/officeDocument/2006/relationships/tags" Target="../tags/tag227.xml"/><Relationship Id="rId28" Type="http://schemas.openxmlformats.org/officeDocument/2006/relationships/tags" Target="../tags/tag232.xml"/><Relationship Id="rId36" Type="http://schemas.openxmlformats.org/officeDocument/2006/relationships/slideLayout" Target="../slideLayouts/slideLayout1.xml"/><Relationship Id="rId10" Type="http://schemas.openxmlformats.org/officeDocument/2006/relationships/tags" Target="../tags/tag214.xml"/><Relationship Id="rId19" Type="http://schemas.openxmlformats.org/officeDocument/2006/relationships/tags" Target="../tags/tag223.xml"/><Relationship Id="rId31" Type="http://schemas.openxmlformats.org/officeDocument/2006/relationships/tags" Target="../tags/tag235.xml"/><Relationship Id="rId4" Type="http://schemas.openxmlformats.org/officeDocument/2006/relationships/tags" Target="../tags/tag208.xml"/><Relationship Id="rId9" Type="http://schemas.openxmlformats.org/officeDocument/2006/relationships/tags" Target="../tags/tag213.xml"/><Relationship Id="rId14" Type="http://schemas.openxmlformats.org/officeDocument/2006/relationships/tags" Target="../tags/tag218.xml"/><Relationship Id="rId22" Type="http://schemas.openxmlformats.org/officeDocument/2006/relationships/tags" Target="../tags/tag226.xml"/><Relationship Id="rId27" Type="http://schemas.openxmlformats.org/officeDocument/2006/relationships/tags" Target="../tags/tag231.xml"/><Relationship Id="rId30" Type="http://schemas.openxmlformats.org/officeDocument/2006/relationships/tags" Target="../tags/tag234.xml"/><Relationship Id="rId35" Type="http://schemas.openxmlformats.org/officeDocument/2006/relationships/tags" Target="../tags/tag239.xml"/><Relationship Id="rId8" Type="http://schemas.openxmlformats.org/officeDocument/2006/relationships/tags" Target="../tags/tag212.xml"/><Relationship Id="rId3" Type="http://schemas.openxmlformats.org/officeDocument/2006/relationships/tags" Target="../tags/tag207.xml"/></Relationships>
</file>

<file path=ppt/slides/_rels/slide9.xml.rels><?xml version="1.0" encoding="UTF-8" standalone="yes"?>
<Relationships xmlns="http://schemas.openxmlformats.org/package/2006/relationships"><Relationship Id="rId8" Type="http://schemas.openxmlformats.org/officeDocument/2006/relationships/image" Target="../media/image101.png"/><Relationship Id="rId13" Type="http://schemas.openxmlformats.org/officeDocument/2006/relationships/image" Target="../media/image106.png"/><Relationship Id="rId18" Type="http://schemas.openxmlformats.org/officeDocument/2006/relationships/image" Target="../media/image111.png"/><Relationship Id="rId3" Type="http://schemas.openxmlformats.org/officeDocument/2006/relationships/oleObject" Target="../embeddings/oleObject97.bin"/><Relationship Id="rId21" Type="http://schemas.openxmlformats.org/officeDocument/2006/relationships/image" Target="../media/image114.png"/><Relationship Id="rId7" Type="http://schemas.openxmlformats.org/officeDocument/2006/relationships/image" Target="../media/image100.png"/><Relationship Id="rId12" Type="http://schemas.openxmlformats.org/officeDocument/2006/relationships/image" Target="../media/image105.png"/><Relationship Id="rId17" Type="http://schemas.openxmlformats.org/officeDocument/2006/relationships/image" Target="../media/image110.png"/><Relationship Id="rId2" Type="http://schemas.openxmlformats.org/officeDocument/2006/relationships/slideLayout" Target="../slideLayouts/slideLayout1.xml"/><Relationship Id="rId16" Type="http://schemas.openxmlformats.org/officeDocument/2006/relationships/image" Target="../media/image109.png"/><Relationship Id="rId20" Type="http://schemas.openxmlformats.org/officeDocument/2006/relationships/image" Target="../media/image113.png"/><Relationship Id="rId1" Type="http://schemas.openxmlformats.org/officeDocument/2006/relationships/tags" Target="../tags/tag240.xml"/><Relationship Id="rId6" Type="http://schemas.openxmlformats.org/officeDocument/2006/relationships/image" Target="../media/image99.svg"/><Relationship Id="rId11" Type="http://schemas.openxmlformats.org/officeDocument/2006/relationships/image" Target="../media/image104.png"/><Relationship Id="rId5" Type="http://schemas.openxmlformats.org/officeDocument/2006/relationships/image" Target="../media/image98.png"/><Relationship Id="rId15" Type="http://schemas.openxmlformats.org/officeDocument/2006/relationships/image" Target="../media/image108.png"/><Relationship Id="rId23" Type="http://schemas.openxmlformats.org/officeDocument/2006/relationships/image" Target="../media/image116.png"/><Relationship Id="rId10" Type="http://schemas.openxmlformats.org/officeDocument/2006/relationships/image" Target="../media/image103.png"/><Relationship Id="rId19" Type="http://schemas.openxmlformats.org/officeDocument/2006/relationships/image" Target="../media/image112.png"/><Relationship Id="rId4" Type="http://schemas.openxmlformats.org/officeDocument/2006/relationships/image" Target="../media/image15.emf"/><Relationship Id="rId9" Type="http://schemas.openxmlformats.org/officeDocument/2006/relationships/image" Target="../media/image102.png"/><Relationship Id="rId14" Type="http://schemas.openxmlformats.org/officeDocument/2006/relationships/image" Target="../media/image107.png"/><Relationship Id="rId22" Type="http://schemas.openxmlformats.org/officeDocument/2006/relationships/image" Target="../media/image11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EF4F512-078A-38CE-D193-2CBB298CB160}"/>
              </a:ext>
            </a:extLst>
          </p:cNvPr>
          <p:cNvGraphicFramePr>
            <a:graphicFrameLocks noChangeAspect="1"/>
          </p:cNvGraphicFramePr>
          <p:nvPr>
            <p:custDataLst>
              <p:tags r:id="rId1"/>
            </p:custDataLst>
            <p:extLst>
              <p:ext uri="{D42A27DB-BD31-4B8C-83A1-F6EECF244321}">
                <p14:modId xmlns:p14="http://schemas.microsoft.com/office/powerpoint/2010/main" val="27260622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think-cell data - do not delete" hidden="1">
                        <a:extLst>
                          <a:ext uri="{FF2B5EF4-FFF2-40B4-BE49-F238E27FC236}">
                            <a16:creationId xmlns:a16="http://schemas.microsoft.com/office/drawing/2014/main" id="{9EF4F512-078A-38CE-D193-2CBB298CB16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404AF31F-BC0E-A97A-ABEB-6EAF0EBEB63E}"/>
              </a:ext>
            </a:extLst>
          </p:cNvPr>
          <p:cNvSpPr>
            <a:spLocks noGrp="1"/>
          </p:cNvSpPr>
          <p:nvPr>
            <p:ph type="ctrTitle"/>
          </p:nvPr>
        </p:nvSpPr>
        <p:spPr>
          <a:xfrm>
            <a:off x="348343" y="2051891"/>
            <a:ext cx="8158348" cy="1801524"/>
          </a:xfrm>
        </p:spPr>
        <p:txBody>
          <a:bodyPr vert="horz"/>
          <a:lstStyle/>
          <a:p>
            <a:r>
              <a:rPr lang="en-GB"/>
              <a:t>Credible Contributions: </a:t>
            </a:r>
            <a:br>
              <a:rPr lang="en-GB"/>
            </a:br>
            <a:r>
              <a:rPr lang="en-GB" sz="3600" i="1"/>
              <a:t>Bolder plans for higher climate ambition in the next round of NDCs</a:t>
            </a:r>
            <a:endParaRPr lang="en-GB"/>
          </a:p>
        </p:txBody>
      </p:sp>
      <p:sp>
        <p:nvSpPr>
          <p:cNvPr id="7" name="Subtitle 6">
            <a:extLst>
              <a:ext uri="{FF2B5EF4-FFF2-40B4-BE49-F238E27FC236}">
                <a16:creationId xmlns:a16="http://schemas.microsoft.com/office/drawing/2014/main" id="{D489BF79-1C78-3E74-FF99-4FE7AC6C8879}"/>
              </a:ext>
            </a:extLst>
          </p:cNvPr>
          <p:cNvSpPr>
            <a:spLocks noGrp="1"/>
          </p:cNvSpPr>
          <p:nvPr>
            <p:ph type="subTitle" idx="1"/>
          </p:nvPr>
        </p:nvSpPr>
        <p:spPr/>
        <p:txBody>
          <a:bodyPr/>
          <a:lstStyle/>
          <a:p>
            <a:r>
              <a:rPr lang="en-GB"/>
              <a:t>Key messages</a:t>
            </a:r>
          </a:p>
        </p:txBody>
      </p:sp>
      <p:sp>
        <p:nvSpPr>
          <p:cNvPr id="4" name="Slide Number Placeholder 3">
            <a:extLst>
              <a:ext uri="{FF2B5EF4-FFF2-40B4-BE49-F238E27FC236}">
                <a16:creationId xmlns:a16="http://schemas.microsoft.com/office/drawing/2014/main" id="{2D486FA5-016F-2BE3-ABBB-99E3358040C3}"/>
              </a:ext>
            </a:extLst>
          </p:cNvPr>
          <p:cNvSpPr>
            <a:spLocks noGrp="1"/>
          </p:cNvSpPr>
          <p:nvPr>
            <p:ph type="sldNum" sz="quarter" idx="4294967295"/>
          </p:nvPr>
        </p:nvSpPr>
        <p:spPr>
          <a:xfrm>
            <a:off x="11685588" y="6343650"/>
            <a:ext cx="506412" cy="374650"/>
          </a:xfrm>
        </p:spPr>
        <p:txBody>
          <a:bodyPr/>
          <a:lstStyle/>
          <a:p>
            <a:fld id="{DDF71BC8-773F-4A54-968E-450E29C75AD4}" type="slidenum">
              <a:rPr lang="en-GB" smtClean="0"/>
              <a:pPr/>
              <a:t>1</a:t>
            </a:fld>
            <a:endParaRPr lang="en-GB"/>
          </a:p>
        </p:txBody>
      </p:sp>
    </p:spTree>
    <p:extLst>
      <p:ext uri="{BB962C8B-B14F-4D97-AF65-F5344CB8AC3E}">
        <p14:creationId xmlns:p14="http://schemas.microsoft.com/office/powerpoint/2010/main" val="216752748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AFF2913-1824-2734-F205-A56E9F422C9C}"/>
              </a:ext>
            </a:extLst>
          </p:cNvPr>
          <p:cNvGraphicFramePr>
            <a:graphicFrameLocks noChangeAspect="1"/>
          </p:cNvGraphicFramePr>
          <p:nvPr>
            <p:custDataLst>
              <p:tags r:id="rId1"/>
            </p:custDataLst>
            <p:extLst>
              <p:ext uri="{D42A27DB-BD31-4B8C-83A1-F6EECF244321}">
                <p14:modId xmlns:p14="http://schemas.microsoft.com/office/powerpoint/2010/main" val="22039407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think-cell data - do not delete" hidden="1">
                        <a:extLst>
                          <a:ext uri="{FF2B5EF4-FFF2-40B4-BE49-F238E27FC236}">
                            <a16:creationId xmlns:a16="http://schemas.microsoft.com/office/drawing/2014/main" id="{EAFF2913-1824-2734-F205-A56E9F422C9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9DA56B8-9D5A-450D-1208-93FBCD703855}"/>
              </a:ext>
            </a:extLst>
          </p:cNvPr>
          <p:cNvSpPr>
            <a:spLocks noGrp="1"/>
          </p:cNvSpPr>
          <p:nvPr>
            <p:ph type="title"/>
          </p:nvPr>
        </p:nvSpPr>
        <p:spPr/>
        <p:txBody>
          <a:bodyPr vert="horz"/>
          <a:lstStyle/>
          <a:p>
            <a:r>
              <a:rPr lang="en-GB"/>
              <a:t>Governments can significantly raise the ambition in their new NDCs</a:t>
            </a:r>
          </a:p>
        </p:txBody>
      </p:sp>
      <p:sp>
        <p:nvSpPr>
          <p:cNvPr id="3" name="Slide Number Placeholder 2">
            <a:extLst>
              <a:ext uri="{FF2B5EF4-FFF2-40B4-BE49-F238E27FC236}">
                <a16:creationId xmlns:a16="http://schemas.microsoft.com/office/drawing/2014/main" id="{BE003F05-F5AC-A6FF-5508-DAAF2C2CF22F}"/>
              </a:ext>
            </a:extLst>
          </p:cNvPr>
          <p:cNvSpPr>
            <a:spLocks noGrp="1"/>
          </p:cNvSpPr>
          <p:nvPr>
            <p:ph type="sldNum" sz="quarter" idx="11"/>
          </p:nvPr>
        </p:nvSpPr>
        <p:spPr/>
        <p:txBody>
          <a:bodyPr/>
          <a:lstStyle/>
          <a:p>
            <a:fld id="{DDF71BC8-773F-4A54-968E-450E29C75AD4}" type="slidenum">
              <a:rPr lang="en-GB" smtClean="0"/>
              <a:pPr/>
              <a:t>10</a:t>
            </a:fld>
            <a:endParaRPr lang="en-GB"/>
          </a:p>
        </p:txBody>
      </p:sp>
      <p:sp>
        <p:nvSpPr>
          <p:cNvPr id="4" name="Footer Placeholder 3">
            <a:extLst>
              <a:ext uri="{FF2B5EF4-FFF2-40B4-BE49-F238E27FC236}">
                <a16:creationId xmlns:a16="http://schemas.microsoft.com/office/drawing/2014/main" id="{502A365D-48B6-3BC0-D36C-68CB38730AA6}"/>
              </a:ext>
            </a:extLst>
          </p:cNvPr>
          <p:cNvSpPr>
            <a:spLocks noGrp="1"/>
          </p:cNvSpPr>
          <p:nvPr>
            <p:ph type="ftr" sz="quarter" idx="13"/>
          </p:nvPr>
        </p:nvSpPr>
        <p:spPr/>
        <p:txBody>
          <a:bodyPr/>
          <a:lstStyle/>
          <a:p>
            <a:endParaRPr lang="en-GB"/>
          </a:p>
        </p:txBody>
      </p:sp>
      <p:sp>
        <p:nvSpPr>
          <p:cNvPr id="14" name="Rectangle 13">
            <a:extLst>
              <a:ext uri="{FF2B5EF4-FFF2-40B4-BE49-F238E27FC236}">
                <a16:creationId xmlns:a16="http://schemas.microsoft.com/office/drawing/2014/main" id="{72D2E866-0C33-4868-F7EE-B0576B1B2610}"/>
              </a:ext>
            </a:extLst>
          </p:cNvPr>
          <p:cNvSpPr/>
          <p:nvPr/>
        </p:nvSpPr>
        <p:spPr>
          <a:xfrm>
            <a:off x="4751829" y="1394874"/>
            <a:ext cx="2688342" cy="1330127"/>
          </a:xfrm>
          <a:prstGeom prst="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endParaRPr lang="en-GB" sz="900" b="1">
              <a:ln>
                <a:noFill/>
              </a:ln>
              <a:solidFill>
                <a:schemeClr val="bg2"/>
              </a:solidFill>
              <a:latin typeface="Century Gothic" panose="020B0502020202020204" pitchFamily="34" charset="0"/>
            </a:endParaRPr>
          </a:p>
          <a:p>
            <a:pPr algn="ctr"/>
            <a:endParaRPr lang="en-GB" sz="900" b="1">
              <a:ln>
                <a:noFill/>
              </a:ln>
              <a:solidFill>
                <a:schemeClr val="bg2"/>
              </a:solidFill>
              <a:latin typeface="Century Gothic" panose="020B0502020202020204" pitchFamily="34" charset="0"/>
            </a:endParaRPr>
          </a:p>
          <a:p>
            <a:pPr algn="ctr"/>
            <a:r>
              <a:rPr lang="en-GB" sz="1400" b="1">
                <a:ln>
                  <a:noFill/>
                </a:ln>
                <a:solidFill>
                  <a:schemeClr val="bg2"/>
                </a:solidFill>
                <a:latin typeface="Century Gothic" panose="020B0502020202020204" pitchFamily="34" charset="0"/>
              </a:rPr>
              <a:t>More ambitious NDCs </a:t>
            </a:r>
            <a:r>
              <a:rPr lang="en-GB" sz="1400">
                <a:ln>
                  <a:noFill/>
                </a:ln>
                <a:solidFill>
                  <a:schemeClr val="bg2"/>
                </a:solidFill>
                <a:latin typeface="Century Gothic" panose="020B0502020202020204" pitchFamily="34" charset="0"/>
              </a:rPr>
              <a:t>underpinned by clear sectoral targets and policies</a:t>
            </a:r>
          </a:p>
        </p:txBody>
      </p:sp>
      <p:grpSp>
        <p:nvGrpSpPr>
          <p:cNvPr id="15" name="object 394">
            <a:extLst>
              <a:ext uri="{FF2B5EF4-FFF2-40B4-BE49-F238E27FC236}">
                <a16:creationId xmlns:a16="http://schemas.microsoft.com/office/drawing/2014/main" id="{0F48565A-5197-BFF2-D4D1-4CFACBA437C6}"/>
              </a:ext>
            </a:extLst>
          </p:cNvPr>
          <p:cNvGrpSpPr/>
          <p:nvPr/>
        </p:nvGrpSpPr>
        <p:grpSpPr>
          <a:xfrm>
            <a:off x="7166719" y="1139147"/>
            <a:ext cx="546904" cy="540644"/>
            <a:chOff x="2935287" y="4960701"/>
            <a:chExt cx="887730" cy="877569"/>
          </a:xfrm>
        </p:grpSpPr>
        <p:sp>
          <p:nvSpPr>
            <p:cNvPr id="16" name="object 395">
              <a:extLst>
                <a:ext uri="{FF2B5EF4-FFF2-40B4-BE49-F238E27FC236}">
                  <a16:creationId xmlns:a16="http://schemas.microsoft.com/office/drawing/2014/main" id="{99ECC116-586B-F368-0D01-3D57408727E3}"/>
                </a:ext>
              </a:extLst>
            </p:cNvPr>
            <p:cNvSpPr/>
            <p:nvPr/>
          </p:nvSpPr>
          <p:spPr>
            <a:xfrm>
              <a:off x="2943174" y="4968588"/>
              <a:ext cx="871855" cy="861694"/>
            </a:xfrm>
            <a:custGeom>
              <a:avLst/>
              <a:gdLst/>
              <a:ahLst/>
              <a:cxnLst/>
              <a:rect l="l" t="t" r="r" b="b"/>
              <a:pathLst>
                <a:path w="871854" h="861695">
                  <a:moveTo>
                    <a:pt x="211518" y="0"/>
                  </a:moveTo>
                  <a:lnTo>
                    <a:pt x="159945" y="13432"/>
                  </a:lnTo>
                  <a:lnTo>
                    <a:pt x="127850" y="49060"/>
                  </a:lnTo>
                  <a:lnTo>
                    <a:pt x="3352" y="171869"/>
                  </a:lnTo>
                  <a:lnTo>
                    <a:pt x="2438" y="176237"/>
                  </a:lnTo>
                  <a:lnTo>
                    <a:pt x="723" y="179806"/>
                  </a:lnTo>
                  <a:lnTo>
                    <a:pt x="1143" y="179958"/>
                  </a:lnTo>
                  <a:lnTo>
                    <a:pt x="0" y="182117"/>
                  </a:lnTo>
                  <a:lnTo>
                    <a:pt x="165" y="187985"/>
                  </a:lnTo>
                  <a:lnTo>
                    <a:pt x="165" y="766724"/>
                  </a:lnTo>
                  <a:lnTo>
                    <a:pt x="749" y="767384"/>
                  </a:lnTo>
                  <a:lnTo>
                    <a:pt x="58953" y="767435"/>
                  </a:lnTo>
                  <a:lnTo>
                    <a:pt x="67848" y="768279"/>
                  </a:lnTo>
                  <a:lnTo>
                    <a:pt x="73488" y="771170"/>
                  </a:lnTo>
                  <a:lnTo>
                    <a:pt x="76452" y="776674"/>
                  </a:lnTo>
                  <a:lnTo>
                    <a:pt x="77317" y="785355"/>
                  </a:lnTo>
                  <a:lnTo>
                    <a:pt x="77558" y="854697"/>
                  </a:lnTo>
                  <a:lnTo>
                    <a:pt x="79070" y="859447"/>
                  </a:lnTo>
                  <a:lnTo>
                    <a:pt x="83591" y="861682"/>
                  </a:lnTo>
                  <a:lnTo>
                    <a:pt x="88188" y="859866"/>
                  </a:lnTo>
                  <a:lnTo>
                    <a:pt x="103539" y="848566"/>
                  </a:lnTo>
                  <a:lnTo>
                    <a:pt x="119595" y="835558"/>
                  </a:lnTo>
                  <a:lnTo>
                    <a:pt x="122351" y="835786"/>
                  </a:lnTo>
                  <a:lnTo>
                    <a:pt x="140970" y="848798"/>
                  </a:lnTo>
                  <a:lnTo>
                    <a:pt x="158826" y="860323"/>
                  </a:lnTo>
                  <a:lnTo>
                    <a:pt x="163271" y="861352"/>
                  </a:lnTo>
                  <a:lnTo>
                    <a:pt x="167767" y="859447"/>
                  </a:lnTo>
                  <a:lnTo>
                    <a:pt x="168795" y="854684"/>
                  </a:lnTo>
                  <a:lnTo>
                    <a:pt x="168973" y="787336"/>
                  </a:lnTo>
                  <a:lnTo>
                    <a:pt x="169687" y="777058"/>
                  </a:lnTo>
                  <a:lnTo>
                    <a:pt x="172524" y="771013"/>
                  </a:lnTo>
                  <a:lnTo>
                    <a:pt x="178526" y="768155"/>
                  </a:lnTo>
                  <a:lnTo>
                    <a:pt x="188734" y="767435"/>
                  </a:lnTo>
                  <a:lnTo>
                    <a:pt x="664438" y="767435"/>
                  </a:lnTo>
                  <a:lnTo>
                    <a:pt x="665175" y="766724"/>
                  </a:lnTo>
                  <a:lnTo>
                    <a:pt x="665213" y="720001"/>
                  </a:lnTo>
                  <a:lnTo>
                    <a:pt x="665949" y="706716"/>
                  </a:lnTo>
                  <a:lnTo>
                    <a:pt x="665949" y="685876"/>
                  </a:lnTo>
                  <a:lnTo>
                    <a:pt x="678615" y="690483"/>
                  </a:lnTo>
                  <a:lnTo>
                    <a:pt x="691230" y="691845"/>
                  </a:lnTo>
                  <a:lnTo>
                    <a:pt x="703981" y="690244"/>
                  </a:lnTo>
                  <a:lnTo>
                    <a:pt x="717054" y="685965"/>
                  </a:lnTo>
                  <a:lnTo>
                    <a:pt x="712851" y="697598"/>
                  </a:lnTo>
                  <a:lnTo>
                    <a:pt x="717689" y="700811"/>
                  </a:lnTo>
                  <a:lnTo>
                    <a:pt x="765459" y="713298"/>
                  </a:lnTo>
                  <a:lnTo>
                    <a:pt x="811326" y="725982"/>
                  </a:lnTo>
                  <a:lnTo>
                    <a:pt x="814832" y="724420"/>
                  </a:lnTo>
                  <a:lnTo>
                    <a:pt x="871524" y="513753"/>
                  </a:lnTo>
                  <a:lnTo>
                    <a:pt x="869899" y="509714"/>
                  </a:lnTo>
                  <a:lnTo>
                    <a:pt x="771296" y="483247"/>
                  </a:lnTo>
                  <a:lnTo>
                    <a:pt x="769302" y="475221"/>
                  </a:lnTo>
                  <a:lnTo>
                    <a:pt x="752805" y="440224"/>
                  </a:lnTo>
                  <a:lnTo>
                    <a:pt x="722550" y="423570"/>
                  </a:lnTo>
                  <a:lnTo>
                    <a:pt x="712843" y="417075"/>
                  </a:lnTo>
                  <a:lnTo>
                    <a:pt x="704304" y="409021"/>
                  </a:lnTo>
                  <a:lnTo>
                    <a:pt x="691544" y="392114"/>
                  </a:lnTo>
                  <a:lnTo>
                    <a:pt x="685552" y="385343"/>
                  </a:lnTo>
                  <a:lnTo>
                    <a:pt x="679093" y="378962"/>
                  </a:lnTo>
                  <a:lnTo>
                    <a:pt x="667334" y="368515"/>
                  </a:lnTo>
                  <a:lnTo>
                    <a:pt x="665048" y="364782"/>
                  </a:lnTo>
                  <a:lnTo>
                    <a:pt x="665213" y="914"/>
                  </a:lnTo>
                  <a:lnTo>
                    <a:pt x="664959" y="660"/>
                  </a:lnTo>
                  <a:lnTo>
                    <a:pt x="357965" y="792"/>
                  </a:lnTo>
                  <a:lnTo>
                    <a:pt x="211518" y="0"/>
                  </a:lnTo>
                  <a:close/>
                </a:path>
              </a:pathLst>
            </a:custGeom>
            <a:solidFill>
              <a:srgbClr val="074872"/>
            </a:solidFill>
          </p:spPr>
          <p:txBody>
            <a:bodyPr wrap="square" lIns="0" tIns="0" rIns="0" bIns="0" rtlCol="0"/>
            <a:lstStyle/>
            <a:p>
              <a:endParaRPr/>
            </a:p>
          </p:txBody>
        </p:sp>
        <p:sp>
          <p:nvSpPr>
            <p:cNvPr id="17" name="object 396">
              <a:extLst>
                <a:ext uri="{FF2B5EF4-FFF2-40B4-BE49-F238E27FC236}">
                  <a16:creationId xmlns:a16="http://schemas.microsoft.com/office/drawing/2014/main" id="{3A0F4AF5-76E4-8AD6-2154-D403D2913166}"/>
                </a:ext>
              </a:extLst>
            </p:cNvPr>
            <p:cNvSpPr/>
            <p:nvPr/>
          </p:nvSpPr>
          <p:spPr>
            <a:xfrm>
              <a:off x="2943174" y="4968588"/>
              <a:ext cx="871855" cy="861694"/>
            </a:xfrm>
            <a:custGeom>
              <a:avLst/>
              <a:gdLst/>
              <a:ahLst/>
              <a:cxnLst/>
              <a:rect l="l" t="t" r="r" b="b"/>
              <a:pathLst>
                <a:path w="871854" h="861695">
                  <a:moveTo>
                    <a:pt x="665949" y="706716"/>
                  </a:moveTo>
                  <a:lnTo>
                    <a:pt x="665949" y="685876"/>
                  </a:lnTo>
                  <a:lnTo>
                    <a:pt x="678615" y="690483"/>
                  </a:lnTo>
                  <a:lnTo>
                    <a:pt x="691230" y="691845"/>
                  </a:lnTo>
                  <a:lnTo>
                    <a:pt x="703981" y="690244"/>
                  </a:lnTo>
                  <a:lnTo>
                    <a:pt x="717054" y="685965"/>
                  </a:lnTo>
                  <a:lnTo>
                    <a:pt x="712851" y="697598"/>
                  </a:lnTo>
                  <a:lnTo>
                    <a:pt x="717689" y="700811"/>
                  </a:lnTo>
                  <a:lnTo>
                    <a:pt x="726135" y="702957"/>
                  </a:lnTo>
                  <a:lnTo>
                    <a:pt x="745814" y="708049"/>
                  </a:lnTo>
                  <a:lnTo>
                    <a:pt x="765459" y="713298"/>
                  </a:lnTo>
                  <a:lnTo>
                    <a:pt x="785072" y="718666"/>
                  </a:lnTo>
                  <a:lnTo>
                    <a:pt x="804659" y="724115"/>
                  </a:lnTo>
                  <a:lnTo>
                    <a:pt x="811326" y="725982"/>
                  </a:lnTo>
                  <a:lnTo>
                    <a:pt x="814832" y="724420"/>
                  </a:lnTo>
                  <a:lnTo>
                    <a:pt x="816660" y="717600"/>
                  </a:lnTo>
                  <a:lnTo>
                    <a:pt x="829889" y="668284"/>
                  </a:lnTo>
                  <a:lnTo>
                    <a:pt x="843159" y="618972"/>
                  </a:lnTo>
                  <a:lnTo>
                    <a:pt x="856447" y="569660"/>
                  </a:lnTo>
                  <a:lnTo>
                    <a:pt x="869734" y="520344"/>
                  </a:lnTo>
                  <a:lnTo>
                    <a:pt x="871524" y="513753"/>
                  </a:lnTo>
                  <a:lnTo>
                    <a:pt x="869899" y="509714"/>
                  </a:lnTo>
                  <a:lnTo>
                    <a:pt x="862418" y="507771"/>
                  </a:lnTo>
                  <a:lnTo>
                    <a:pt x="839544" y="501744"/>
                  </a:lnTo>
                  <a:lnTo>
                    <a:pt x="816724" y="495600"/>
                  </a:lnTo>
                  <a:lnTo>
                    <a:pt x="793971" y="489410"/>
                  </a:lnTo>
                  <a:lnTo>
                    <a:pt x="771296" y="483247"/>
                  </a:lnTo>
                  <a:lnTo>
                    <a:pt x="769302" y="475221"/>
                  </a:lnTo>
                  <a:lnTo>
                    <a:pt x="767994" y="466813"/>
                  </a:lnTo>
                  <a:lnTo>
                    <a:pt x="765086" y="458977"/>
                  </a:lnTo>
                  <a:lnTo>
                    <a:pt x="733513" y="428586"/>
                  </a:lnTo>
                  <a:lnTo>
                    <a:pt x="722550" y="423570"/>
                  </a:lnTo>
                  <a:lnTo>
                    <a:pt x="712843" y="417075"/>
                  </a:lnTo>
                  <a:lnTo>
                    <a:pt x="704304" y="409021"/>
                  </a:lnTo>
                  <a:lnTo>
                    <a:pt x="696849" y="399326"/>
                  </a:lnTo>
                  <a:lnTo>
                    <a:pt x="691544" y="392114"/>
                  </a:lnTo>
                  <a:lnTo>
                    <a:pt x="685552" y="385343"/>
                  </a:lnTo>
                  <a:lnTo>
                    <a:pt x="679093" y="378962"/>
                  </a:lnTo>
                  <a:lnTo>
                    <a:pt x="672388" y="372922"/>
                  </a:lnTo>
                  <a:lnTo>
                    <a:pt x="667334" y="368515"/>
                  </a:lnTo>
                  <a:lnTo>
                    <a:pt x="665048" y="364782"/>
                  </a:lnTo>
                  <a:lnTo>
                    <a:pt x="665048" y="358076"/>
                  </a:lnTo>
                  <a:lnTo>
                    <a:pt x="665129" y="309026"/>
                  </a:lnTo>
                  <a:lnTo>
                    <a:pt x="665180" y="259976"/>
                  </a:lnTo>
                  <a:lnTo>
                    <a:pt x="665209" y="210928"/>
                  </a:lnTo>
                  <a:lnTo>
                    <a:pt x="665220" y="161880"/>
                  </a:lnTo>
                  <a:lnTo>
                    <a:pt x="665220" y="112831"/>
                  </a:lnTo>
                  <a:lnTo>
                    <a:pt x="665216" y="63782"/>
                  </a:lnTo>
                  <a:lnTo>
                    <a:pt x="665213" y="14731"/>
                  </a:lnTo>
                  <a:lnTo>
                    <a:pt x="665213" y="914"/>
                  </a:lnTo>
                  <a:lnTo>
                    <a:pt x="664959" y="660"/>
                  </a:lnTo>
                  <a:lnTo>
                    <a:pt x="650862" y="660"/>
                  </a:lnTo>
                  <a:lnTo>
                    <a:pt x="602047" y="683"/>
                  </a:lnTo>
                  <a:lnTo>
                    <a:pt x="553231" y="738"/>
                  </a:lnTo>
                  <a:lnTo>
                    <a:pt x="504415" y="799"/>
                  </a:lnTo>
                  <a:lnTo>
                    <a:pt x="455598" y="844"/>
                  </a:lnTo>
                  <a:lnTo>
                    <a:pt x="406782" y="850"/>
                  </a:lnTo>
                  <a:lnTo>
                    <a:pt x="357965" y="792"/>
                  </a:lnTo>
                  <a:lnTo>
                    <a:pt x="309149" y="646"/>
                  </a:lnTo>
                  <a:lnTo>
                    <a:pt x="260333" y="390"/>
                  </a:lnTo>
                  <a:lnTo>
                    <a:pt x="211518" y="0"/>
                  </a:lnTo>
                  <a:lnTo>
                    <a:pt x="192175" y="959"/>
                  </a:lnTo>
                  <a:lnTo>
                    <a:pt x="174985" y="5037"/>
                  </a:lnTo>
                  <a:lnTo>
                    <a:pt x="159945" y="13432"/>
                  </a:lnTo>
                  <a:lnTo>
                    <a:pt x="147053" y="27343"/>
                  </a:lnTo>
                  <a:lnTo>
                    <a:pt x="127850" y="49060"/>
                  </a:lnTo>
                  <a:lnTo>
                    <a:pt x="97346" y="79064"/>
                  </a:lnTo>
                  <a:lnTo>
                    <a:pt x="66849" y="109083"/>
                  </a:lnTo>
                  <a:lnTo>
                    <a:pt x="36385" y="139135"/>
                  </a:lnTo>
                  <a:lnTo>
                    <a:pt x="5981" y="169240"/>
                  </a:lnTo>
                  <a:lnTo>
                    <a:pt x="2438" y="176237"/>
                  </a:lnTo>
                  <a:lnTo>
                    <a:pt x="723" y="179806"/>
                  </a:lnTo>
                  <a:lnTo>
                    <a:pt x="876" y="179844"/>
                  </a:lnTo>
                  <a:lnTo>
                    <a:pt x="1003" y="179908"/>
                  </a:lnTo>
                  <a:lnTo>
                    <a:pt x="1143" y="179958"/>
                  </a:lnTo>
                  <a:lnTo>
                    <a:pt x="0" y="182117"/>
                  </a:lnTo>
                  <a:lnTo>
                    <a:pt x="165" y="185216"/>
                  </a:lnTo>
                  <a:lnTo>
                    <a:pt x="165" y="187985"/>
                  </a:lnTo>
                  <a:lnTo>
                    <a:pt x="159" y="210944"/>
                  </a:lnTo>
                  <a:lnTo>
                    <a:pt x="160" y="245679"/>
                  </a:lnTo>
                  <a:lnTo>
                    <a:pt x="163" y="280413"/>
                  </a:lnTo>
                  <a:lnTo>
                    <a:pt x="165" y="303364"/>
                  </a:lnTo>
                  <a:lnTo>
                    <a:pt x="164" y="353491"/>
                  </a:lnTo>
                  <a:lnTo>
                    <a:pt x="163" y="403618"/>
                  </a:lnTo>
                  <a:lnTo>
                    <a:pt x="162" y="453745"/>
                  </a:lnTo>
                  <a:lnTo>
                    <a:pt x="160" y="503871"/>
                  </a:lnTo>
                  <a:lnTo>
                    <a:pt x="159" y="553997"/>
                  </a:lnTo>
                  <a:lnTo>
                    <a:pt x="159" y="604122"/>
                  </a:lnTo>
                  <a:lnTo>
                    <a:pt x="159" y="654247"/>
                  </a:lnTo>
                  <a:lnTo>
                    <a:pt x="161" y="704371"/>
                  </a:lnTo>
                  <a:lnTo>
                    <a:pt x="165" y="754494"/>
                  </a:lnTo>
                  <a:lnTo>
                    <a:pt x="165" y="766724"/>
                  </a:lnTo>
                  <a:lnTo>
                    <a:pt x="749" y="767384"/>
                  </a:lnTo>
                  <a:lnTo>
                    <a:pt x="11849" y="767422"/>
                  </a:lnTo>
                  <a:lnTo>
                    <a:pt x="23629" y="767451"/>
                  </a:lnTo>
                  <a:lnTo>
                    <a:pt x="35406" y="767453"/>
                  </a:lnTo>
                  <a:lnTo>
                    <a:pt x="47180" y="767442"/>
                  </a:lnTo>
                  <a:lnTo>
                    <a:pt x="58953" y="767435"/>
                  </a:lnTo>
                  <a:lnTo>
                    <a:pt x="67848" y="768279"/>
                  </a:lnTo>
                  <a:lnTo>
                    <a:pt x="73488" y="771170"/>
                  </a:lnTo>
                  <a:lnTo>
                    <a:pt x="76452" y="776674"/>
                  </a:lnTo>
                  <a:lnTo>
                    <a:pt x="77317" y="785355"/>
                  </a:lnTo>
                  <a:lnTo>
                    <a:pt x="77311" y="801898"/>
                  </a:lnTo>
                  <a:lnTo>
                    <a:pt x="77298" y="818437"/>
                  </a:lnTo>
                  <a:lnTo>
                    <a:pt x="77342" y="834974"/>
                  </a:lnTo>
                  <a:lnTo>
                    <a:pt x="83591" y="861682"/>
                  </a:lnTo>
                  <a:lnTo>
                    <a:pt x="88188" y="859866"/>
                  </a:lnTo>
                  <a:lnTo>
                    <a:pt x="119595" y="835558"/>
                  </a:lnTo>
                  <a:lnTo>
                    <a:pt x="122351" y="835786"/>
                  </a:lnTo>
                  <a:lnTo>
                    <a:pt x="156133" y="858659"/>
                  </a:lnTo>
                  <a:lnTo>
                    <a:pt x="163271" y="861352"/>
                  </a:lnTo>
                  <a:lnTo>
                    <a:pt x="165874" y="860234"/>
                  </a:lnTo>
                  <a:lnTo>
                    <a:pt x="167767" y="859447"/>
                  </a:lnTo>
                  <a:lnTo>
                    <a:pt x="168795" y="854684"/>
                  </a:lnTo>
                  <a:lnTo>
                    <a:pt x="168846" y="851661"/>
                  </a:lnTo>
                  <a:lnTo>
                    <a:pt x="168973" y="835583"/>
                  </a:lnTo>
                  <a:lnTo>
                    <a:pt x="169005" y="819504"/>
                  </a:lnTo>
                  <a:lnTo>
                    <a:pt x="168989" y="803422"/>
                  </a:lnTo>
                  <a:lnTo>
                    <a:pt x="168973" y="787336"/>
                  </a:lnTo>
                  <a:lnTo>
                    <a:pt x="169687" y="777058"/>
                  </a:lnTo>
                  <a:lnTo>
                    <a:pt x="172524" y="771013"/>
                  </a:lnTo>
                  <a:lnTo>
                    <a:pt x="178526" y="768155"/>
                  </a:lnTo>
                  <a:lnTo>
                    <a:pt x="188734" y="767435"/>
                  </a:lnTo>
                  <a:lnTo>
                    <a:pt x="240165" y="767436"/>
                  </a:lnTo>
                  <a:lnTo>
                    <a:pt x="291596" y="767437"/>
                  </a:lnTo>
                  <a:lnTo>
                    <a:pt x="343027" y="767438"/>
                  </a:lnTo>
                  <a:lnTo>
                    <a:pt x="394458" y="767439"/>
                  </a:lnTo>
                  <a:lnTo>
                    <a:pt x="445890" y="767440"/>
                  </a:lnTo>
                  <a:lnTo>
                    <a:pt x="497323" y="767441"/>
                  </a:lnTo>
                  <a:lnTo>
                    <a:pt x="548756" y="767440"/>
                  </a:lnTo>
                  <a:lnTo>
                    <a:pt x="600189" y="767438"/>
                  </a:lnTo>
                  <a:lnTo>
                    <a:pt x="651624" y="767435"/>
                  </a:lnTo>
                  <a:lnTo>
                    <a:pt x="664438" y="767435"/>
                  </a:lnTo>
                  <a:lnTo>
                    <a:pt x="665175" y="766724"/>
                  </a:lnTo>
                  <a:lnTo>
                    <a:pt x="665213" y="754379"/>
                  </a:lnTo>
                  <a:lnTo>
                    <a:pt x="665224" y="746082"/>
                  </a:lnTo>
                  <a:lnTo>
                    <a:pt x="665222" y="737666"/>
                  </a:lnTo>
                  <a:lnTo>
                    <a:pt x="665216" y="729012"/>
                  </a:lnTo>
                  <a:lnTo>
                    <a:pt x="665213" y="720001"/>
                  </a:lnTo>
                  <a:lnTo>
                    <a:pt x="665949" y="706716"/>
                  </a:lnTo>
                  <a:close/>
                </a:path>
              </a:pathLst>
            </a:custGeom>
            <a:ln w="15773">
              <a:solidFill>
                <a:srgbClr val="004876"/>
              </a:solidFill>
            </a:ln>
          </p:spPr>
          <p:txBody>
            <a:bodyPr wrap="square" lIns="0" tIns="0" rIns="0" bIns="0" rtlCol="0"/>
            <a:lstStyle/>
            <a:p>
              <a:endParaRPr/>
            </a:p>
          </p:txBody>
        </p:sp>
        <p:sp>
          <p:nvSpPr>
            <p:cNvPr id="18" name="object 397">
              <a:extLst>
                <a:ext uri="{FF2B5EF4-FFF2-40B4-BE49-F238E27FC236}">
                  <a16:creationId xmlns:a16="http://schemas.microsoft.com/office/drawing/2014/main" id="{A5A4567D-CEBB-6006-DB4B-F8317F310267}"/>
                </a:ext>
              </a:extLst>
            </p:cNvPr>
            <p:cNvSpPr/>
            <p:nvPr/>
          </p:nvSpPr>
          <p:spPr>
            <a:xfrm>
              <a:off x="2968331" y="4993485"/>
              <a:ext cx="145415" cy="146050"/>
            </a:xfrm>
            <a:custGeom>
              <a:avLst/>
              <a:gdLst/>
              <a:ahLst/>
              <a:cxnLst/>
              <a:rect l="l" t="t" r="r" b="b"/>
              <a:pathLst>
                <a:path w="145414" h="146050">
                  <a:moveTo>
                    <a:pt x="145211" y="0"/>
                  </a:moveTo>
                  <a:lnTo>
                    <a:pt x="0" y="145542"/>
                  </a:lnTo>
                  <a:lnTo>
                    <a:pt x="145211" y="145542"/>
                  </a:lnTo>
                  <a:lnTo>
                    <a:pt x="145211" y="0"/>
                  </a:lnTo>
                  <a:close/>
                </a:path>
              </a:pathLst>
            </a:custGeom>
            <a:solidFill>
              <a:srgbClr val="004876"/>
            </a:solidFill>
          </p:spPr>
          <p:txBody>
            <a:bodyPr wrap="square" lIns="0" tIns="0" rIns="0" bIns="0" rtlCol="0"/>
            <a:lstStyle/>
            <a:p>
              <a:endParaRPr/>
            </a:p>
          </p:txBody>
        </p:sp>
        <p:pic>
          <p:nvPicPr>
            <p:cNvPr id="19" name="object 398">
              <a:extLst>
                <a:ext uri="{FF2B5EF4-FFF2-40B4-BE49-F238E27FC236}">
                  <a16:creationId xmlns:a16="http://schemas.microsoft.com/office/drawing/2014/main" id="{099F372A-0130-89CE-DC1F-CD65B8EB79F4}"/>
                </a:ext>
              </a:extLst>
            </p:cNvPr>
            <p:cNvPicPr/>
            <p:nvPr/>
          </p:nvPicPr>
          <p:blipFill>
            <a:blip r:embed="rId5" cstate="print"/>
            <a:stretch>
              <a:fillRect/>
            </a:stretch>
          </p:blipFill>
          <p:spPr>
            <a:xfrm>
              <a:off x="3005152" y="5623956"/>
              <a:ext cx="122720" cy="187721"/>
            </a:xfrm>
            <a:prstGeom prst="rect">
              <a:avLst/>
            </a:prstGeom>
          </p:spPr>
        </p:pic>
        <p:pic>
          <p:nvPicPr>
            <p:cNvPr id="20" name="object 399">
              <a:extLst>
                <a:ext uri="{FF2B5EF4-FFF2-40B4-BE49-F238E27FC236}">
                  <a16:creationId xmlns:a16="http://schemas.microsoft.com/office/drawing/2014/main" id="{F3FBB326-DE5D-12AA-19B0-F5F41FA214F7}"/>
                </a:ext>
              </a:extLst>
            </p:cNvPr>
            <p:cNvPicPr/>
            <p:nvPr/>
          </p:nvPicPr>
          <p:blipFill>
            <a:blip r:embed="rId6" cstate="print"/>
            <a:stretch>
              <a:fillRect/>
            </a:stretch>
          </p:blipFill>
          <p:spPr>
            <a:xfrm>
              <a:off x="2956001" y="4982413"/>
              <a:ext cx="639584" cy="740397"/>
            </a:xfrm>
            <a:prstGeom prst="rect">
              <a:avLst/>
            </a:prstGeom>
          </p:spPr>
        </p:pic>
        <p:sp>
          <p:nvSpPr>
            <p:cNvPr id="21" name="object 400">
              <a:extLst>
                <a:ext uri="{FF2B5EF4-FFF2-40B4-BE49-F238E27FC236}">
                  <a16:creationId xmlns:a16="http://schemas.microsoft.com/office/drawing/2014/main" id="{EFF4CF70-48FE-0786-FDB0-03CCC828EF2B}"/>
                </a:ext>
              </a:extLst>
            </p:cNvPr>
            <p:cNvSpPr/>
            <p:nvPr/>
          </p:nvSpPr>
          <p:spPr>
            <a:xfrm>
              <a:off x="2956020" y="4982424"/>
              <a:ext cx="640080" cy="740410"/>
            </a:xfrm>
            <a:custGeom>
              <a:avLst/>
              <a:gdLst/>
              <a:ahLst/>
              <a:cxnLst/>
              <a:rect l="l" t="t" r="r" b="b"/>
              <a:pathLst>
                <a:path w="640079" h="740410">
                  <a:moveTo>
                    <a:pt x="639559" y="740371"/>
                  </a:moveTo>
                  <a:lnTo>
                    <a:pt x="175399" y="740371"/>
                  </a:lnTo>
                  <a:lnTo>
                    <a:pt x="180928" y="726964"/>
                  </a:lnTo>
                  <a:lnTo>
                    <a:pt x="184286" y="713446"/>
                  </a:lnTo>
                  <a:lnTo>
                    <a:pt x="178509" y="671980"/>
                  </a:lnTo>
                  <a:lnTo>
                    <a:pt x="151206" y="640219"/>
                  </a:lnTo>
                  <a:lnTo>
                    <a:pt x="107180" y="627800"/>
                  </a:lnTo>
                  <a:lnTo>
                    <a:pt x="84974" y="632366"/>
                  </a:lnTo>
                  <a:lnTo>
                    <a:pt x="64363" y="643966"/>
                  </a:lnTo>
                  <a:lnTo>
                    <a:pt x="47124" y="662160"/>
                  </a:lnTo>
                  <a:lnTo>
                    <a:pt x="38176" y="683868"/>
                  </a:lnTo>
                  <a:lnTo>
                    <a:pt x="37410" y="709726"/>
                  </a:lnTo>
                  <a:lnTo>
                    <a:pt x="44716" y="740371"/>
                  </a:lnTo>
                  <a:lnTo>
                    <a:pt x="457" y="740371"/>
                  </a:lnTo>
                  <a:lnTo>
                    <a:pt x="317" y="737374"/>
                  </a:lnTo>
                  <a:lnTo>
                    <a:pt x="127" y="735012"/>
                  </a:lnTo>
                  <a:lnTo>
                    <a:pt x="127" y="732637"/>
                  </a:lnTo>
                  <a:lnTo>
                    <a:pt x="114" y="679555"/>
                  </a:lnTo>
                  <a:lnTo>
                    <a:pt x="107" y="626470"/>
                  </a:lnTo>
                  <a:lnTo>
                    <a:pt x="103" y="573383"/>
                  </a:lnTo>
                  <a:lnTo>
                    <a:pt x="101" y="520296"/>
                  </a:lnTo>
                  <a:lnTo>
                    <a:pt x="101" y="467207"/>
                  </a:lnTo>
                  <a:lnTo>
                    <a:pt x="103" y="424204"/>
                  </a:lnTo>
                  <a:lnTo>
                    <a:pt x="107" y="374217"/>
                  </a:lnTo>
                  <a:lnTo>
                    <a:pt x="111" y="320740"/>
                  </a:lnTo>
                  <a:lnTo>
                    <a:pt x="112" y="267263"/>
                  </a:lnTo>
                  <a:lnTo>
                    <a:pt x="110" y="217280"/>
                  </a:lnTo>
                  <a:lnTo>
                    <a:pt x="101" y="174282"/>
                  </a:lnTo>
                  <a:lnTo>
                    <a:pt x="101" y="172859"/>
                  </a:lnTo>
                  <a:lnTo>
                    <a:pt x="127" y="171373"/>
                  </a:lnTo>
                  <a:lnTo>
                    <a:pt x="0" y="169964"/>
                  </a:lnTo>
                  <a:lnTo>
                    <a:pt x="39572" y="170100"/>
                  </a:lnTo>
                  <a:lnTo>
                    <a:pt x="79141" y="170153"/>
                  </a:lnTo>
                  <a:lnTo>
                    <a:pt x="118713" y="170155"/>
                  </a:lnTo>
                  <a:lnTo>
                    <a:pt x="158292" y="170141"/>
                  </a:lnTo>
                  <a:lnTo>
                    <a:pt x="169570" y="170129"/>
                  </a:lnTo>
                  <a:lnTo>
                    <a:pt x="170599" y="169037"/>
                  </a:lnTo>
                  <a:lnTo>
                    <a:pt x="170599" y="157594"/>
                  </a:lnTo>
                  <a:lnTo>
                    <a:pt x="170606" y="120682"/>
                  </a:lnTo>
                  <a:lnTo>
                    <a:pt x="170610" y="83767"/>
                  </a:lnTo>
                  <a:lnTo>
                    <a:pt x="170611" y="46850"/>
                  </a:lnTo>
                  <a:lnTo>
                    <a:pt x="170611" y="9931"/>
                  </a:lnTo>
                  <a:lnTo>
                    <a:pt x="170611" y="0"/>
                  </a:lnTo>
                  <a:lnTo>
                    <a:pt x="638886" y="0"/>
                  </a:lnTo>
                  <a:lnTo>
                    <a:pt x="638886" y="348462"/>
                  </a:lnTo>
                  <a:lnTo>
                    <a:pt x="625035" y="352030"/>
                  </a:lnTo>
                  <a:lnTo>
                    <a:pt x="615727" y="359489"/>
                  </a:lnTo>
                  <a:lnTo>
                    <a:pt x="611182" y="370458"/>
                  </a:lnTo>
                  <a:lnTo>
                    <a:pt x="611619" y="384556"/>
                  </a:lnTo>
                  <a:lnTo>
                    <a:pt x="611682" y="384848"/>
                  </a:lnTo>
                  <a:lnTo>
                    <a:pt x="611809" y="385140"/>
                  </a:lnTo>
                  <a:lnTo>
                    <a:pt x="611847" y="385432"/>
                  </a:lnTo>
                  <a:lnTo>
                    <a:pt x="634555" y="428002"/>
                  </a:lnTo>
                  <a:lnTo>
                    <a:pt x="637260" y="431457"/>
                  </a:lnTo>
                  <a:lnTo>
                    <a:pt x="639343" y="436460"/>
                  </a:lnTo>
                  <a:lnTo>
                    <a:pt x="639463" y="489082"/>
                  </a:lnTo>
                  <a:lnTo>
                    <a:pt x="639527" y="537397"/>
                  </a:lnTo>
                  <a:lnTo>
                    <a:pt x="639557" y="585711"/>
                  </a:lnTo>
                  <a:lnTo>
                    <a:pt x="639565" y="634025"/>
                  </a:lnTo>
                  <a:lnTo>
                    <a:pt x="639562" y="682340"/>
                  </a:lnTo>
                  <a:lnTo>
                    <a:pt x="639559" y="730656"/>
                  </a:lnTo>
                  <a:lnTo>
                    <a:pt x="639559" y="740371"/>
                  </a:lnTo>
                  <a:close/>
                </a:path>
              </a:pathLst>
            </a:custGeom>
            <a:ln w="3175">
              <a:solidFill>
                <a:srgbClr val="004876"/>
              </a:solidFill>
            </a:ln>
          </p:spPr>
          <p:txBody>
            <a:bodyPr wrap="square" lIns="0" tIns="0" rIns="0" bIns="0" rtlCol="0"/>
            <a:lstStyle/>
            <a:p>
              <a:endParaRPr/>
            </a:p>
          </p:txBody>
        </p:sp>
        <p:sp>
          <p:nvSpPr>
            <p:cNvPr id="22" name="object 401">
              <a:extLst>
                <a:ext uri="{FF2B5EF4-FFF2-40B4-BE49-F238E27FC236}">
                  <a16:creationId xmlns:a16="http://schemas.microsoft.com/office/drawing/2014/main" id="{EFD09872-FA37-42E8-2BB6-8072158A1309}"/>
                </a:ext>
              </a:extLst>
            </p:cNvPr>
            <p:cNvSpPr/>
            <p:nvPr/>
          </p:nvSpPr>
          <p:spPr>
            <a:xfrm>
              <a:off x="3579203" y="5340032"/>
              <a:ext cx="220979" cy="339725"/>
            </a:xfrm>
            <a:custGeom>
              <a:avLst/>
              <a:gdLst/>
              <a:ahLst/>
              <a:cxnLst/>
              <a:rect l="l" t="t" r="r" b="b"/>
              <a:pathLst>
                <a:path w="220979" h="339725">
                  <a:moveTo>
                    <a:pt x="132080" y="124256"/>
                  </a:moveTo>
                  <a:lnTo>
                    <a:pt x="123063" y="120218"/>
                  </a:lnTo>
                  <a:lnTo>
                    <a:pt x="122072" y="116344"/>
                  </a:lnTo>
                  <a:lnTo>
                    <a:pt x="121932" y="113817"/>
                  </a:lnTo>
                  <a:lnTo>
                    <a:pt x="119151" y="97548"/>
                  </a:lnTo>
                  <a:lnTo>
                    <a:pt x="112623" y="84035"/>
                  </a:lnTo>
                  <a:lnTo>
                    <a:pt x="102057" y="73482"/>
                  </a:lnTo>
                  <a:lnTo>
                    <a:pt x="87172" y="66116"/>
                  </a:lnTo>
                  <a:lnTo>
                    <a:pt x="76530" y="61341"/>
                  </a:lnTo>
                  <a:lnTo>
                    <a:pt x="67360" y="54851"/>
                  </a:lnTo>
                  <a:lnTo>
                    <a:pt x="59334" y="46888"/>
                  </a:lnTo>
                  <a:lnTo>
                    <a:pt x="46215" y="30086"/>
                  </a:lnTo>
                  <a:lnTo>
                    <a:pt x="39712" y="22910"/>
                  </a:lnTo>
                  <a:lnTo>
                    <a:pt x="32816" y="16078"/>
                  </a:lnTo>
                  <a:lnTo>
                    <a:pt x="20535" y="4813"/>
                  </a:lnTo>
                  <a:lnTo>
                    <a:pt x="12065" y="0"/>
                  </a:lnTo>
                  <a:lnTo>
                    <a:pt x="2247" y="10629"/>
                  </a:lnTo>
                  <a:lnTo>
                    <a:pt x="0" y="20129"/>
                  </a:lnTo>
                  <a:lnTo>
                    <a:pt x="1816" y="25781"/>
                  </a:lnTo>
                  <a:lnTo>
                    <a:pt x="25819" y="66167"/>
                  </a:lnTo>
                  <a:lnTo>
                    <a:pt x="42164" y="83121"/>
                  </a:lnTo>
                  <a:lnTo>
                    <a:pt x="52082" y="93700"/>
                  </a:lnTo>
                  <a:lnTo>
                    <a:pt x="53289" y="98196"/>
                  </a:lnTo>
                  <a:lnTo>
                    <a:pt x="51308" y="102133"/>
                  </a:lnTo>
                  <a:lnTo>
                    <a:pt x="46786" y="103149"/>
                  </a:lnTo>
                  <a:lnTo>
                    <a:pt x="39331" y="102552"/>
                  </a:lnTo>
                  <a:lnTo>
                    <a:pt x="34772" y="100876"/>
                  </a:lnTo>
                  <a:lnTo>
                    <a:pt x="30289" y="99758"/>
                  </a:lnTo>
                  <a:lnTo>
                    <a:pt x="29768" y="101130"/>
                  </a:lnTo>
                  <a:lnTo>
                    <a:pt x="29349" y="101701"/>
                  </a:lnTo>
                  <a:lnTo>
                    <a:pt x="29438" y="299034"/>
                  </a:lnTo>
                  <a:lnTo>
                    <a:pt x="32537" y="302082"/>
                  </a:lnTo>
                  <a:lnTo>
                    <a:pt x="34912" y="303187"/>
                  </a:lnTo>
                  <a:lnTo>
                    <a:pt x="45593" y="306578"/>
                  </a:lnTo>
                  <a:lnTo>
                    <a:pt x="56286" y="307263"/>
                  </a:lnTo>
                  <a:lnTo>
                    <a:pt x="67005" y="305841"/>
                  </a:lnTo>
                  <a:lnTo>
                    <a:pt x="77749" y="302895"/>
                  </a:lnTo>
                  <a:lnTo>
                    <a:pt x="82588" y="301320"/>
                  </a:lnTo>
                  <a:lnTo>
                    <a:pt x="84836" y="299212"/>
                  </a:lnTo>
                  <a:lnTo>
                    <a:pt x="86207" y="294030"/>
                  </a:lnTo>
                  <a:lnTo>
                    <a:pt x="96799" y="254254"/>
                  </a:lnTo>
                  <a:lnTo>
                    <a:pt x="132080" y="124256"/>
                  </a:lnTo>
                  <a:close/>
                </a:path>
                <a:path w="220979" h="339725">
                  <a:moveTo>
                    <a:pt x="220421" y="147955"/>
                  </a:moveTo>
                  <a:lnTo>
                    <a:pt x="144678" y="127698"/>
                  </a:lnTo>
                  <a:lnTo>
                    <a:pt x="93484" y="319138"/>
                  </a:lnTo>
                  <a:lnTo>
                    <a:pt x="169278" y="339420"/>
                  </a:lnTo>
                  <a:lnTo>
                    <a:pt x="220421" y="147955"/>
                  </a:lnTo>
                  <a:close/>
                </a:path>
              </a:pathLst>
            </a:custGeom>
            <a:solidFill>
              <a:srgbClr val="1D1D1B"/>
            </a:solidFill>
          </p:spPr>
          <p:txBody>
            <a:bodyPr wrap="square" lIns="0" tIns="0" rIns="0" bIns="0" rtlCol="0"/>
            <a:lstStyle/>
            <a:p>
              <a:endParaRPr/>
            </a:p>
          </p:txBody>
        </p:sp>
        <p:sp>
          <p:nvSpPr>
            <p:cNvPr id="23" name="object 402">
              <a:extLst>
                <a:ext uri="{FF2B5EF4-FFF2-40B4-BE49-F238E27FC236}">
                  <a16:creationId xmlns:a16="http://schemas.microsoft.com/office/drawing/2014/main" id="{AC7535A0-3D72-04A6-2D91-4DF3871902FD}"/>
                </a:ext>
              </a:extLst>
            </p:cNvPr>
            <p:cNvSpPr/>
            <p:nvPr/>
          </p:nvSpPr>
          <p:spPr>
            <a:xfrm>
              <a:off x="3040978" y="5201880"/>
              <a:ext cx="469900" cy="73660"/>
            </a:xfrm>
            <a:custGeom>
              <a:avLst/>
              <a:gdLst/>
              <a:ahLst/>
              <a:cxnLst/>
              <a:rect l="l" t="t" r="r" b="b"/>
              <a:pathLst>
                <a:path w="469900" h="73660">
                  <a:moveTo>
                    <a:pt x="469569" y="76"/>
                  </a:moveTo>
                  <a:lnTo>
                    <a:pt x="2730" y="0"/>
                  </a:lnTo>
                  <a:lnTo>
                    <a:pt x="0" y="2921"/>
                  </a:lnTo>
                  <a:lnTo>
                    <a:pt x="203" y="73596"/>
                  </a:lnTo>
                  <a:lnTo>
                    <a:pt x="235026" y="73596"/>
                  </a:lnTo>
                  <a:lnTo>
                    <a:pt x="468871" y="73596"/>
                  </a:lnTo>
                  <a:lnTo>
                    <a:pt x="469531" y="72923"/>
                  </a:lnTo>
                  <a:lnTo>
                    <a:pt x="469569" y="76"/>
                  </a:lnTo>
                  <a:close/>
                </a:path>
              </a:pathLst>
            </a:custGeom>
            <a:solidFill>
              <a:srgbClr val="074872"/>
            </a:solidFill>
          </p:spPr>
          <p:txBody>
            <a:bodyPr wrap="square" lIns="0" tIns="0" rIns="0" bIns="0" rtlCol="0"/>
            <a:lstStyle/>
            <a:p>
              <a:endParaRPr/>
            </a:p>
          </p:txBody>
        </p:sp>
        <p:sp>
          <p:nvSpPr>
            <p:cNvPr id="24" name="object 403">
              <a:extLst>
                <a:ext uri="{FF2B5EF4-FFF2-40B4-BE49-F238E27FC236}">
                  <a16:creationId xmlns:a16="http://schemas.microsoft.com/office/drawing/2014/main" id="{8D73DBA3-C30B-27CB-5FAB-1ACE3CCA6D2E}"/>
                </a:ext>
              </a:extLst>
            </p:cNvPr>
            <p:cNvSpPr/>
            <p:nvPr/>
          </p:nvSpPr>
          <p:spPr>
            <a:xfrm>
              <a:off x="3054502" y="5214823"/>
              <a:ext cx="443230" cy="47625"/>
            </a:xfrm>
            <a:custGeom>
              <a:avLst/>
              <a:gdLst/>
              <a:ahLst/>
              <a:cxnLst/>
              <a:rect l="l" t="t" r="r" b="b"/>
              <a:pathLst>
                <a:path w="443229" h="47625">
                  <a:moveTo>
                    <a:pt x="442887" y="0"/>
                  </a:moveTo>
                  <a:lnTo>
                    <a:pt x="0" y="0"/>
                  </a:lnTo>
                  <a:lnTo>
                    <a:pt x="0" y="47485"/>
                  </a:lnTo>
                  <a:lnTo>
                    <a:pt x="442887" y="47485"/>
                  </a:lnTo>
                  <a:lnTo>
                    <a:pt x="442887" y="0"/>
                  </a:lnTo>
                  <a:close/>
                </a:path>
              </a:pathLst>
            </a:custGeom>
            <a:solidFill>
              <a:srgbClr val="1D1D1B"/>
            </a:solidFill>
          </p:spPr>
          <p:txBody>
            <a:bodyPr wrap="square" lIns="0" tIns="0" rIns="0" bIns="0" rtlCol="0"/>
            <a:lstStyle/>
            <a:p>
              <a:endParaRPr/>
            </a:p>
          </p:txBody>
        </p:sp>
        <p:sp>
          <p:nvSpPr>
            <p:cNvPr id="25" name="object 404">
              <a:extLst>
                <a:ext uri="{FF2B5EF4-FFF2-40B4-BE49-F238E27FC236}">
                  <a16:creationId xmlns:a16="http://schemas.microsoft.com/office/drawing/2014/main" id="{ECBDBF8F-5CCC-ECD2-ADF6-FFEFD832C7BC}"/>
                </a:ext>
              </a:extLst>
            </p:cNvPr>
            <p:cNvSpPr/>
            <p:nvPr/>
          </p:nvSpPr>
          <p:spPr>
            <a:xfrm>
              <a:off x="3210293" y="5324589"/>
              <a:ext cx="302895" cy="128905"/>
            </a:xfrm>
            <a:custGeom>
              <a:avLst/>
              <a:gdLst/>
              <a:ahLst/>
              <a:cxnLst/>
              <a:rect l="l" t="t" r="r" b="b"/>
              <a:pathLst>
                <a:path w="302895" h="128904">
                  <a:moveTo>
                    <a:pt x="302107" y="6896"/>
                  </a:moveTo>
                  <a:lnTo>
                    <a:pt x="296646" y="2451"/>
                  </a:lnTo>
                  <a:lnTo>
                    <a:pt x="292544" y="0"/>
                  </a:lnTo>
                  <a:lnTo>
                    <a:pt x="290690" y="520"/>
                  </a:lnTo>
                  <a:lnTo>
                    <a:pt x="10528" y="533"/>
                  </a:lnTo>
                  <a:lnTo>
                    <a:pt x="7429" y="63"/>
                  </a:lnTo>
                  <a:lnTo>
                    <a:pt x="3035" y="2425"/>
                  </a:lnTo>
                  <a:lnTo>
                    <a:pt x="673" y="5219"/>
                  </a:lnTo>
                  <a:lnTo>
                    <a:pt x="215" y="9131"/>
                  </a:lnTo>
                  <a:lnTo>
                    <a:pt x="3238" y="11950"/>
                  </a:lnTo>
                  <a:lnTo>
                    <a:pt x="8077" y="13703"/>
                  </a:lnTo>
                  <a:lnTo>
                    <a:pt x="11303" y="13284"/>
                  </a:lnTo>
                  <a:lnTo>
                    <a:pt x="150037" y="13296"/>
                  </a:lnTo>
                  <a:lnTo>
                    <a:pt x="286435" y="13360"/>
                  </a:lnTo>
                  <a:lnTo>
                    <a:pt x="296748" y="12763"/>
                  </a:lnTo>
                  <a:lnTo>
                    <a:pt x="299377" y="9017"/>
                  </a:lnTo>
                  <a:lnTo>
                    <a:pt x="302107" y="6896"/>
                  </a:lnTo>
                  <a:close/>
                </a:path>
                <a:path w="302895" h="128904">
                  <a:moveTo>
                    <a:pt x="302564" y="115239"/>
                  </a:moveTo>
                  <a:lnTo>
                    <a:pt x="296773" y="115087"/>
                  </a:lnTo>
                  <a:lnTo>
                    <a:pt x="12280" y="114960"/>
                  </a:lnTo>
                  <a:lnTo>
                    <a:pt x="9753" y="114261"/>
                  </a:lnTo>
                  <a:lnTo>
                    <a:pt x="5143" y="116814"/>
                  </a:lnTo>
                  <a:lnTo>
                    <a:pt x="2679" y="119405"/>
                  </a:lnTo>
                  <a:lnTo>
                    <a:pt x="0" y="121602"/>
                  </a:lnTo>
                  <a:lnTo>
                    <a:pt x="2590" y="123621"/>
                  </a:lnTo>
                  <a:lnTo>
                    <a:pt x="4953" y="126149"/>
                  </a:lnTo>
                  <a:lnTo>
                    <a:pt x="9829" y="128435"/>
                  </a:lnTo>
                  <a:lnTo>
                    <a:pt x="12585" y="127736"/>
                  </a:lnTo>
                  <a:lnTo>
                    <a:pt x="150723" y="127736"/>
                  </a:lnTo>
                  <a:lnTo>
                    <a:pt x="295287" y="127419"/>
                  </a:lnTo>
                  <a:lnTo>
                    <a:pt x="301193" y="123939"/>
                  </a:lnTo>
                  <a:lnTo>
                    <a:pt x="302564" y="115239"/>
                  </a:lnTo>
                  <a:close/>
                </a:path>
              </a:pathLst>
            </a:custGeom>
            <a:solidFill>
              <a:srgbClr val="074872"/>
            </a:solidFill>
          </p:spPr>
          <p:txBody>
            <a:bodyPr wrap="square" lIns="0" tIns="0" rIns="0" bIns="0" rtlCol="0"/>
            <a:lstStyle/>
            <a:p>
              <a:endParaRPr/>
            </a:p>
          </p:txBody>
        </p:sp>
        <p:sp>
          <p:nvSpPr>
            <p:cNvPr id="26" name="object 405">
              <a:extLst>
                <a:ext uri="{FF2B5EF4-FFF2-40B4-BE49-F238E27FC236}">
                  <a16:creationId xmlns:a16="http://schemas.microsoft.com/office/drawing/2014/main" id="{F7D03FDC-1EB6-E7CA-A2C7-2FD88CB532B9}"/>
                </a:ext>
              </a:extLst>
            </p:cNvPr>
            <p:cNvSpPr/>
            <p:nvPr/>
          </p:nvSpPr>
          <p:spPr>
            <a:xfrm>
              <a:off x="3289428" y="5388718"/>
              <a:ext cx="222885" cy="0"/>
            </a:xfrm>
            <a:custGeom>
              <a:avLst/>
              <a:gdLst/>
              <a:ahLst/>
              <a:cxnLst/>
              <a:rect l="l" t="t" r="r" b="b"/>
              <a:pathLst>
                <a:path w="222885">
                  <a:moveTo>
                    <a:pt x="0" y="0"/>
                  </a:moveTo>
                  <a:lnTo>
                    <a:pt x="222821" y="0"/>
                  </a:lnTo>
                </a:path>
              </a:pathLst>
            </a:custGeom>
            <a:ln w="3175">
              <a:solidFill>
                <a:srgbClr val="074872"/>
              </a:solidFill>
            </a:ln>
          </p:spPr>
          <p:txBody>
            <a:bodyPr wrap="square" lIns="0" tIns="0" rIns="0" bIns="0" rtlCol="0"/>
            <a:lstStyle/>
            <a:p>
              <a:endParaRPr/>
            </a:p>
          </p:txBody>
        </p:sp>
        <p:sp>
          <p:nvSpPr>
            <p:cNvPr id="27" name="object 406">
              <a:extLst>
                <a:ext uri="{FF2B5EF4-FFF2-40B4-BE49-F238E27FC236}">
                  <a16:creationId xmlns:a16="http://schemas.microsoft.com/office/drawing/2014/main" id="{95E7CD5D-C3E7-1787-4840-B3FD7EDBB0D2}"/>
                </a:ext>
              </a:extLst>
            </p:cNvPr>
            <p:cNvSpPr/>
            <p:nvPr/>
          </p:nvSpPr>
          <p:spPr>
            <a:xfrm>
              <a:off x="3396460" y="5637808"/>
              <a:ext cx="116839" cy="13335"/>
            </a:xfrm>
            <a:custGeom>
              <a:avLst/>
              <a:gdLst/>
              <a:ahLst/>
              <a:cxnLst/>
              <a:rect l="l" t="t" r="r" b="b"/>
              <a:pathLst>
                <a:path w="116839" h="13335">
                  <a:moveTo>
                    <a:pt x="58235" y="0"/>
                  </a:moveTo>
                  <a:lnTo>
                    <a:pt x="6654" y="374"/>
                  </a:lnTo>
                  <a:lnTo>
                    <a:pt x="1155" y="3829"/>
                  </a:lnTo>
                  <a:lnTo>
                    <a:pt x="0" y="12223"/>
                  </a:lnTo>
                  <a:lnTo>
                    <a:pt x="5257" y="12858"/>
                  </a:lnTo>
                  <a:lnTo>
                    <a:pt x="57200" y="12795"/>
                  </a:lnTo>
                  <a:lnTo>
                    <a:pt x="110871" y="12846"/>
                  </a:lnTo>
                  <a:lnTo>
                    <a:pt x="116255" y="12452"/>
                  </a:lnTo>
                  <a:lnTo>
                    <a:pt x="115201" y="3943"/>
                  </a:lnTo>
                  <a:lnTo>
                    <a:pt x="109778" y="374"/>
                  </a:lnTo>
                  <a:lnTo>
                    <a:pt x="58235" y="0"/>
                  </a:lnTo>
                  <a:close/>
                </a:path>
              </a:pathLst>
            </a:custGeom>
            <a:solidFill>
              <a:srgbClr val="074872"/>
            </a:solidFill>
          </p:spPr>
          <p:txBody>
            <a:bodyPr wrap="square" lIns="0" tIns="0" rIns="0" bIns="0" rtlCol="0"/>
            <a:lstStyle/>
            <a:p>
              <a:endParaRPr/>
            </a:p>
          </p:txBody>
        </p:sp>
        <p:sp>
          <p:nvSpPr>
            <p:cNvPr id="28" name="object 407">
              <a:extLst>
                <a:ext uri="{FF2B5EF4-FFF2-40B4-BE49-F238E27FC236}">
                  <a16:creationId xmlns:a16="http://schemas.microsoft.com/office/drawing/2014/main" id="{236E9440-84AF-35DC-2AE8-F879A754C9F5}"/>
                </a:ext>
              </a:extLst>
            </p:cNvPr>
            <p:cNvSpPr/>
            <p:nvPr/>
          </p:nvSpPr>
          <p:spPr>
            <a:xfrm>
              <a:off x="3579216" y="5340030"/>
              <a:ext cx="132080" cy="307340"/>
            </a:xfrm>
            <a:custGeom>
              <a:avLst/>
              <a:gdLst/>
              <a:ahLst/>
              <a:cxnLst/>
              <a:rect l="l" t="t" r="r" b="b"/>
              <a:pathLst>
                <a:path w="132079" h="307339">
                  <a:moveTo>
                    <a:pt x="12052" y="0"/>
                  </a:moveTo>
                  <a:lnTo>
                    <a:pt x="2235" y="10642"/>
                  </a:lnTo>
                  <a:lnTo>
                    <a:pt x="0" y="20116"/>
                  </a:lnTo>
                  <a:lnTo>
                    <a:pt x="1816" y="25781"/>
                  </a:lnTo>
                  <a:lnTo>
                    <a:pt x="25818" y="66168"/>
                  </a:lnTo>
                  <a:lnTo>
                    <a:pt x="42162" y="83113"/>
                  </a:lnTo>
                  <a:lnTo>
                    <a:pt x="52070" y="93687"/>
                  </a:lnTo>
                  <a:lnTo>
                    <a:pt x="53289" y="98183"/>
                  </a:lnTo>
                  <a:lnTo>
                    <a:pt x="51295" y="102120"/>
                  </a:lnTo>
                  <a:lnTo>
                    <a:pt x="46786" y="103149"/>
                  </a:lnTo>
                  <a:lnTo>
                    <a:pt x="39319" y="102552"/>
                  </a:lnTo>
                  <a:lnTo>
                    <a:pt x="34759" y="100863"/>
                  </a:lnTo>
                  <a:lnTo>
                    <a:pt x="30276" y="99758"/>
                  </a:lnTo>
                  <a:lnTo>
                    <a:pt x="29349" y="101688"/>
                  </a:lnTo>
                  <a:lnTo>
                    <a:pt x="29425" y="299034"/>
                  </a:lnTo>
                  <a:lnTo>
                    <a:pt x="32537" y="302069"/>
                  </a:lnTo>
                  <a:lnTo>
                    <a:pt x="34899" y="303187"/>
                  </a:lnTo>
                  <a:lnTo>
                    <a:pt x="45582" y="306580"/>
                  </a:lnTo>
                  <a:lnTo>
                    <a:pt x="56280" y="307268"/>
                  </a:lnTo>
                  <a:lnTo>
                    <a:pt x="66996" y="305839"/>
                  </a:lnTo>
                  <a:lnTo>
                    <a:pt x="77736" y="302882"/>
                  </a:lnTo>
                  <a:lnTo>
                    <a:pt x="82588" y="301307"/>
                  </a:lnTo>
                  <a:lnTo>
                    <a:pt x="84823" y="299212"/>
                  </a:lnTo>
                  <a:lnTo>
                    <a:pt x="96781" y="254252"/>
                  </a:lnTo>
                  <a:lnTo>
                    <a:pt x="132067" y="124269"/>
                  </a:lnTo>
                  <a:lnTo>
                    <a:pt x="123063" y="120218"/>
                  </a:lnTo>
                  <a:lnTo>
                    <a:pt x="122059" y="116344"/>
                  </a:lnTo>
                  <a:lnTo>
                    <a:pt x="121920" y="113817"/>
                  </a:lnTo>
                  <a:lnTo>
                    <a:pt x="119144" y="97544"/>
                  </a:lnTo>
                  <a:lnTo>
                    <a:pt x="112620" y="84031"/>
                  </a:lnTo>
                  <a:lnTo>
                    <a:pt x="102053" y="73482"/>
                  </a:lnTo>
                  <a:lnTo>
                    <a:pt x="87147" y="66103"/>
                  </a:lnTo>
                  <a:lnTo>
                    <a:pt x="76518" y="61338"/>
                  </a:lnTo>
                  <a:lnTo>
                    <a:pt x="67349" y="54856"/>
                  </a:lnTo>
                  <a:lnTo>
                    <a:pt x="59317" y="46885"/>
                  </a:lnTo>
                  <a:lnTo>
                    <a:pt x="46196" y="30075"/>
                  </a:lnTo>
                  <a:lnTo>
                    <a:pt x="39700" y="22906"/>
                  </a:lnTo>
                  <a:lnTo>
                    <a:pt x="32803" y="16072"/>
                  </a:lnTo>
                  <a:lnTo>
                    <a:pt x="20523" y="4800"/>
                  </a:lnTo>
                  <a:lnTo>
                    <a:pt x="12052" y="0"/>
                  </a:lnTo>
                  <a:close/>
                </a:path>
              </a:pathLst>
            </a:custGeom>
            <a:solidFill>
              <a:srgbClr val="FFFFFF"/>
            </a:solidFill>
          </p:spPr>
          <p:txBody>
            <a:bodyPr wrap="square" lIns="0" tIns="0" rIns="0" bIns="0" rtlCol="0"/>
            <a:lstStyle/>
            <a:p>
              <a:endParaRPr/>
            </a:p>
          </p:txBody>
        </p:sp>
        <p:pic>
          <p:nvPicPr>
            <p:cNvPr id="29" name="object 408">
              <a:extLst>
                <a:ext uri="{FF2B5EF4-FFF2-40B4-BE49-F238E27FC236}">
                  <a16:creationId xmlns:a16="http://schemas.microsoft.com/office/drawing/2014/main" id="{53A1477C-5349-1937-21CA-CBB0B3CE7C52}"/>
                </a:ext>
              </a:extLst>
            </p:cNvPr>
            <p:cNvPicPr/>
            <p:nvPr/>
          </p:nvPicPr>
          <p:blipFill>
            <a:blip r:embed="rId7" cstate="print"/>
            <a:stretch>
              <a:fillRect/>
            </a:stretch>
          </p:blipFill>
          <p:spPr>
            <a:xfrm>
              <a:off x="3668768" y="5463781"/>
              <a:ext cx="142557" cy="220141"/>
            </a:xfrm>
            <a:prstGeom prst="rect">
              <a:avLst/>
            </a:prstGeom>
          </p:spPr>
        </p:pic>
        <p:pic>
          <p:nvPicPr>
            <p:cNvPr id="30" name="object 409">
              <a:extLst>
                <a:ext uri="{FF2B5EF4-FFF2-40B4-BE49-F238E27FC236}">
                  <a16:creationId xmlns:a16="http://schemas.microsoft.com/office/drawing/2014/main" id="{FAAB3E9E-65D8-1803-8A70-FE0E7112D2A4}"/>
                </a:ext>
              </a:extLst>
            </p:cNvPr>
            <p:cNvPicPr/>
            <p:nvPr/>
          </p:nvPicPr>
          <p:blipFill>
            <a:blip r:embed="rId8" cstate="print"/>
            <a:stretch>
              <a:fillRect/>
            </a:stretch>
          </p:blipFill>
          <p:spPr>
            <a:xfrm>
              <a:off x="3008513" y="5627309"/>
              <a:ext cx="116014" cy="115912"/>
            </a:xfrm>
            <a:prstGeom prst="rect">
              <a:avLst/>
            </a:prstGeom>
          </p:spPr>
        </p:pic>
        <p:pic>
          <p:nvPicPr>
            <p:cNvPr id="31" name="object 410">
              <a:extLst>
                <a:ext uri="{FF2B5EF4-FFF2-40B4-BE49-F238E27FC236}">
                  <a16:creationId xmlns:a16="http://schemas.microsoft.com/office/drawing/2014/main" id="{905DB48F-AC54-4C21-DC67-8E50F4125765}"/>
                </a:ext>
              </a:extLst>
            </p:cNvPr>
            <p:cNvPicPr/>
            <p:nvPr/>
          </p:nvPicPr>
          <p:blipFill>
            <a:blip r:embed="rId9" cstate="print"/>
            <a:stretch>
              <a:fillRect/>
            </a:stretch>
          </p:blipFill>
          <p:spPr>
            <a:xfrm>
              <a:off x="2951758" y="4979419"/>
              <a:ext cx="169672" cy="167487"/>
            </a:xfrm>
            <a:prstGeom prst="rect">
              <a:avLst/>
            </a:prstGeom>
          </p:spPr>
        </p:pic>
        <p:pic>
          <p:nvPicPr>
            <p:cNvPr id="32" name="object 411">
              <a:extLst>
                <a:ext uri="{FF2B5EF4-FFF2-40B4-BE49-F238E27FC236}">
                  <a16:creationId xmlns:a16="http://schemas.microsoft.com/office/drawing/2014/main" id="{46E00D21-D3C7-55D6-EE52-1ED0ECDB373A}"/>
                </a:ext>
              </a:extLst>
            </p:cNvPr>
            <p:cNvPicPr/>
            <p:nvPr/>
          </p:nvPicPr>
          <p:blipFill>
            <a:blip r:embed="rId10" cstate="print"/>
            <a:stretch>
              <a:fillRect/>
            </a:stretch>
          </p:blipFill>
          <p:spPr>
            <a:xfrm>
              <a:off x="3054502" y="5214810"/>
              <a:ext cx="442874" cy="47485"/>
            </a:xfrm>
            <a:prstGeom prst="rect">
              <a:avLst/>
            </a:prstGeom>
          </p:spPr>
        </p:pic>
        <p:sp>
          <p:nvSpPr>
            <p:cNvPr id="33" name="object 412">
              <a:extLst>
                <a:ext uri="{FF2B5EF4-FFF2-40B4-BE49-F238E27FC236}">
                  <a16:creationId xmlns:a16="http://schemas.microsoft.com/office/drawing/2014/main" id="{9DE75420-2B8B-25C1-6DA1-A23FA41DBE1A}"/>
                </a:ext>
              </a:extLst>
            </p:cNvPr>
            <p:cNvSpPr/>
            <p:nvPr/>
          </p:nvSpPr>
          <p:spPr>
            <a:xfrm>
              <a:off x="3054502" y="5214823"/>
              <a:ext cx="443230" cy="47625"/>
            </a:xfrm>
            <a:custGeom>
              <a:avLst/>
              <a:gdLst/>
              <a:ahLst/>
              <a:cxnLst/>
              <a:rect l="l" t="t" r="r" b="b"/>
              <a:pathLst>
                <a:path w="443229" h="47625">
                  <a:moveTo>
                    <a:pt x="442887" y="47485"/>
                  </a:moveTo>
                  <a:lnTo>
                    <a:pt x="0" y="47485"/>
                  </a:lnTo>
                  <a:lnTo>
                    <a:pt x="0" y="0"/>
                  </a:lnTo>
                  <a:lnTo>
                    <a:pt x="442887" y="0"/>
                  </a:lnTo>
                  <a:lnTo>
                    <a:pt x="442887" y="47485"/>
                  </a:lnTo>
                  <a:close/>
                </a:path>
              </a:pathLst>
            </a:custGeom>
            <a:ln w="7886">
              <a:solidFill>
                <a:srgbClr val="004876"/>
              </a:solidFill>
            </a:ln>
          </p:spPr>
          <p:txBody>
            <a:bodyPr wrap="square" lIns="0" tIns="0" rIns="0" bIns="0" rtlCol="0"/>
            <a:lstStyle/>
            <a:p>
              <a:endParaRPr/>
            </a:p>
          </p:txBody>
        </p:sp>
        <p:sp>
          <p:nvSpPr>
            <p:cNvPr id="34" name="object 413">
              <a:extLst>
                <a:ext uri="{FF2B5EF4-FFF2-40B4-BE49-F238E27FC236}">
                  <a16:creationId xmlns:a16="http://schemas.microsoft.com/office/drawing/2014/main" id="{E025CEA4-B769-A5C2-2F09-276418F929C0}"/>
                </a:ext>
              </a:extLst>
            </p:cNvPr>
            <p:cNvSpPr/>
            <p:nvPr/>
          </p:nvSpPr>
          <p:spPr>
            <a:xfrm>
              <a:off x="3699993" y="5608886"/>
              <a:ext cx="41910" cy="41910"/>
            </a:xfrm>
            <a:custGeom>
              <a:avLst/>
              <a:gdLst/>
              <a:ahLst/>
              <a:cxnLst/>
              <a:rect l="l" t="t" r="r" b="b"/>
              <a:pathLst>
                <a:path w="41910" h="41910">
                  <a:moveTo>
                    <a:pt x="20688" y="0"/>
                  </a:moveTo>
                  <a:lnTo>
                    <a:pt x="12733" y="1717"/>
                  </a:lnTo>
                  <a:lnTo>
                    <a:pt x="6172" y="6218"/>
                  </a:lnTo>
                  <a:lnTo>
                    <a:pt x="1696" y="12806"/>
                  </a:lnTo>
                  <a:lnTo>
                    <a:pt x="0" y="20789"/>
                  </a:lnTo>
                  <a:lnTo>
                    <a:pt x="1599" y="28987"/>
                  </a:lnTo>
                  <a:lnTo>
                    <a:pt x="6130" y="35661"/>
                  </a:lnTo>
                  <a:lnTo>
                    <a:pt x="12905" y="40135"/>
                  </a:lnTo>
                  <a:lnTo>
                    <a:pt x="21234" y="41732"/>
                  </a:lnTo>
                  <a:lnTo>
                    <a:pt x="29261" y="40080"/>
                  </a:lnTo>
                  <a:lnTo>
                    <a:pt x="35804" y="35669"/>
                  </a:lnTo>
                  <a:lnTo>
                    <a:pt x="40218" y="29146"/>
                  </a:lnTo>
                  <a:lnTo>
                    <a:pt x="41859" y="21158"/>
                  </a:lnTo>
                  <a:lnTo>
                    <a:pt x="40197" y="12921"/>
                  </a:lnTo>
                  <a:lnTo>
                    <a:pt x="35626" y="6164"/>
                  </a:lnTo>
                  <a:lnTo>
                    <a:pt x="28879" y="1614"/>
                  </a:lnTo>
                  <a:lnTo>
                    <a:pt x="20688" y="0"/>
                  </a:lnTo>
                  <a:close/>
                </a:path>
              </a:pathLst>
            </a:custGeom>
            <a:solidFill>
              <a:srgbClr val="074872"/>
            </a:solidFill>
          </p:spPr>
          <p:txBody>
            <a:bodyPr wrap="square" lIns="0" tIns="0" rIns="0" bIns="0" rtlCol="0"/>
            <a:lstStyle/>
            <a:p>
              <a:endParaRPr/>
            </a:p>
          </p:txBody>
        </p:sp>
        <p:sp>
          <p:nvSpPr>
            <p:cNvPr id="35" name="object 414">
              <a:extLst>
                <a:ext uri="{FF2B5EF4-FFF2-40B4-BE49-F238E27FC236}">
                  <a16:creationId xmlns:a16="http://schemas.microsoft.com/office/drawing/2014/main" id="{6FCF0EAB-F79F-C5C2-C79C-6DB9A79038D2}"/>
                </a:ext>
              </a:extLst>
            </p:cNvPr>
            <p:cNvSpPr/>
            <p:nvPr/>
          </p:nvSpPr>
          <p:spPr>
            <a:xfrm>
              <a:off x="3713133" y="5621643"/>
              <a:ext cx="15875" cy="20320"/>
            </a:xfrm>
            <a:custGeom>
              <a:avLst/>
              <a:gdLst/>
              <a:ahLst/>
              <a:cxnLst/>
              <a:rect l="l" t="t" r="r" b="b"/>
              <a:pathLst>
                <a:path w="15875" h="20320">
                  <a:moveTo>
                    <a:pt x="8153" y="0"/>
                  </a:moveTo>
                  <a:lnTo>
                    <a:pt x="5410" y="2616"/>
                  </a:lnTo>
                  <a:lnTo>
                    <a:pt x="901" y="4991"/>
                  </a:lnTo>
                  <a:lnTo>
                    <a:pt x="0" y="10744"/>
                  </a:lnTo>
                  <a:lnTo>
                    <a:pt x="3860" y="14198"/>
                  </a:lnTo>
                  <a:lnTo>
                    <a:pt x="7416" y="19837"/>
                  </a:lnTo>
                  <a:lnTo>
                    <a:pt x="11391" y="14503"/>
                  </a:lnTo>
                  <a:lnTo>
                    <a:pt x="15557" y="11353"/>
                  </a:lnTo>
                  <a:lnTo>
                    <a:pt x="15049" y="5537"/>
                  </a:lnTo>
                  <a:lnTo>
                    <a:pt x="10718" y="2844"/>
                  </a:lnTo>
                  <a:lnTo>
                    <a:pt x="8153" y="0"/>
                  </a:lnTo>
                  <a:close/>
                </a:path>
              </a:pathLst>
            </a:custGeom>
            <a:solidFill>
              <a:srgbClr val="1D1D1B"/>
            </a:solidFill>
          </p:spPr>
          <p:txBody>
            <a:bodyPr wrap="square" lIns="0" tIns="0" rIns="0" bIns="0" rtlCol="0"/>
            <a:lstStyle/>
            <a:p>
              <a:endParaRPr/>
            </a:p>
          </p:txBody>
        </p:sp>
        <p:sp>
          <p:nvSpPr>
            <p:cNvPr id="36" name="object 415">
              <a:extLst>
                <a:ext uri="{FF2B5EF4-FFF2-40B4-BE49-F238E27FC236}">
                  <a16:creationId xmlns:a16="http://schemas.microsoft.com/office/drawing/2014/main" id="{53D49774-4E62-FCDB-9825-BDA6B9318997}"/>
                </a:ext>
              </a:extLst>
            </p:cNvPr>
            <p:cNvSpPr/>
            <p:nvPr/>
          </p:nvSpPr>
          <p:spPr>
            <a:xfrm>
              <a:off x="3023599" y="5640013"/>
              <a:ext cx="45720" cy="39370"/>
            </a:xfrm>
            <a:custGeom>
              <a:avLst/>
              <a:gdLst/>
              <a:ahLst/>
              <a:cxnLst/>
              <a:rect l="l" t="t" r="r" b="b"/>
              <a:pathLst>
                <a:path w="45719" h="39370">
                  <a:moveTo>
                    <a:pt x="39128" y="0"/>
                  </a:moveTo>
                  <a:lnTo>
                    <a:pt x="25247" y="625"/>
                  </a:lnTo>
                  <a:lnTo>
                    <a:pt x="12673" y="7546"/>
                  </a:lnTo>
                  <a:lnTo>
                    <a:pt x="3543" y="19159"/>
                  </a:lnTo>
                  <a:lnTo>
                    <a:pt x="0" y="33858"/>
                  </a:lnTo>
                  <a:lnTo>
                    <a:pt x="965" y="34861"/>
                  </a:lnTo>
                  <a:lnTo>
                    <a:pt x="3162" y="38938"/>
                  </a:lnTo>
                  <a:lnTo>
                    <a:pt x="7658" y="38569"/>
                  </a:lnTo>
                  <a:lnTo>
                    <a:pt x="11785" y="35623"/>
                  </a:lnTo>
                  <a:lnTo>
                    <a:pt x="12280" y="33223"/>
                  </a:lnTo>
                  <a:lnTo>
                    <a:pt x="15535" y="23621"/>
                  </a:lnTo>
                  <a:lnTo>
                    <a:pt x="20916" y="16897"/>
                  </a:lnTo>
                  <a:lnTo>
                    <a:pt x="28593" y="13049"/>
                  </a:lnTo>
                  <a:lnTo>
                    <a:pt x="38735" y="12077"/>
                  </a:lnTo>
                  <a:lnTo>
                    <a:pt x="40982" y="12179"/>
                  </a:lnTo>
                  <a:lnTo>
                    <a:pt x="43357" y="8737"/>
                  </a:lnTo>
                  <a:lnTo>
                    <a:pt x="45694" y="6934"/>
                  </a:lnTo>
                  <a:lnTo>
                    <a:pt x="43522" y="4533"/>
                  </a:lnTo>
                  <a:lnTo>
                    <a:pt x="41719" y="584"/>
                  </a:lnTo>
                  <a:lnTo>
                    <a:pt x="39128" y="0"/>
                  </a:lnTo>
                  <a:close/>
                </a:path>
              </a:pathLst>
            </a:custGeom>
            <a:solidFill>
              <a:srgbClr val="074872"/>
            </a:solidFill>
          </p:spPr>
          <p:txBody>
            <a:bodyPr wrap="square" lIns="0" tIns="0" rIns="0" bIns="0" rtlCol="0"/>
            <a:lstStyle/>
            <a:p>
              <a:endParaRPr/>
            </a:p>
          </p:txBody>
        </p:sp>
        <p:sp>
          <p:nvSpPr>
            <p:cNvPr id="37" name="object 416">
              <a:extLst>
                <a:ext uri="{FF2B5EF4-FFF2-40B4-BE49-F238E27FC236}">
                  <a16:creationId xmlns:a16="http://schemas.microsoft.com/office/drawing/2014/main" id="{1D36B013-81AC-53EE-4AA7-7B0DDAAA1CE4}"/>
                </a:ext>
              </a:extLst>
            </p:cNvPr>
            <p:cNvSpPr/>
            <p:nvPr/>
          </p:nvSpPr>
          <p:spPr>
            <a:xfrm>
              <a:off x="3713133" y="5621643"/>
              <a:ext cx="15875" cy="20320"/>
            </a:xfrm>
            <a:custGeom>
              <a:avLst/>
              <a:gdLst/>
              <a:ahLst/>
              <a:cxnLst/>
              <a:rect l="l" t="t" r="r" b="b"/>
              <a:pathLst>
                <a:path w="15875" h="20320">
                  <a:moveTo>
                    <a:pt x="8153" y="0"/>
                  </a:moveTo>
                  <a:lnTo>
                    <a:pt x="5410" y="2616"/>
                  </a:lnTo>
                  <a:lnTo>
                    <a:pt x="901" y="4991"/>
                  </a:lnTo>
                  <a:lnTo>
                    <a:pt x="0" y="10744"/>
                  </a:lnTo>
                  <a:lnTo>
                    <a:pt x="3860" y="14198"/>
                  </a:lnTo>
                  <a:lnTo>
                    <a:pt x="7416" y="19837"/>
                  </a:lnTo>
                  <a:lnTo>
                    <a:pt x="11391" y="14503"/>
                  </a:lnTo>
                  <a:lnTo>
                    <a:pt x="15557" y="11353"/>
                  </a:lnTo>
                  <a:lnTo>
                    <a:pt x="15049" y="5537"/>
                  </a:lnTo>
                  <a:lnTo>
                    <a:pt x="10718" y="2844"/>
                  </a:lnTo>
                  <a:lnTo>
                    <a:pt x="8153" y="0"/>
                  </a:lnTo>
                  <a:close/>
                </a:path>
              </a:pathLst>
            </a:custGeom>
            <a:solidFill>
              <a:srgbClr val="FFFFFF"/>
            </a:solidFill>
          </p:spPr>
          <p:txBody>
            <a:bodyPr wrap="square" lIns="0" tIns="0" rIns="0" bIns="0" rtlCol="0"/>
            <a:lstStyle/>
            <a:p>
              <a:endParaRPr/>
            </a:p>
          </p:txBody>
        </p:sp>
      </p:grpSp>
      <p:grpSp>
        <p:nvGrpSpPr>
          <p:cNvPr id="101" name="Group 100">
            <a:extLst>
              <a:ext uri="{FF2B5EF4-FFF2-40B4-BE49-F238E27FC236}">
                <a16:creationId xmlns:a16="http://schemas.microsoft.com/office/drawing/2014/main" id="{E6D93D32-67DD-21E7-DE1E-1102429E5354}"/>
              </a:ext>
            </a:extLst>
          </p:cNvPr>
          <p:cNvGrpSpPr/>
          <p:nvPr/>
        </p:nvGrpSpPr>
        <p:grpSpPr>
          <a:xfrm>
            <a:off x="504235" y="4890929"/>
            <a:ext cx="3571853" cy="778532"/>
            <a:chOff x="504235" y="5233528"/>
            <a:chExt cx="3571853" cy="778532"/>
          </a:xfrm>
        </p:grpSpPr>
        <p:sp>
          <p:nvSpPr>
            <p:cNvPr id="38" name="Rectangle 37">
              <a:extLst>
                <a:ext uri="{FF2B5EF4-FFF2-40B4-BE49-F238E27FC236}">
                  <a16:creationId xmlns:a16="http://schemas.microsoft.com/office/drawing/2014/main" id="{6A38FAAE-4862-3B00-9B41-B7924FA65C02}"/>
                </a:ext>
              </a:extLst>
            </p:cNvPr>
            <p:cNvSpPr/>
            <p:nvPr/>
          </p:nvSpPr>
          <p:spPr>
            <a:xfrm>
              <a:off x="1072011" y="5286587"/>
              <a:ext cx="3004077" cy="725473"/>
            </a:xfrm>
            <a:prstGeom prst="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r>
                <a:rPr lang="en-GB" sz="1400" b="1">
                  <a:ln>
                    <a:noFill/>
                  </a:ln>
                  <a:solidFill>
                    <a:schemeClr val="bg2"/>
                  </a:solidFill>
                  <a:latin typeface="Century Gothic" panose="020B0502020202020204" pitchFamily="34" charset="0"/>
                </a:rPr>
                <a:t>Rapid technology progress, reducing costs and incr</a:t>
              </a:r>
              <a:r>
                <a:rPr lang="en-GB" sz="1400" b="1">
                  <a:solidFill>
                    <a:schemeClr val="bg2"/>
                  </a:solidFill>
                  <a:latin typeface="Century Gothic" panose="020B0502020202020204" pitchFamily="34" charset="0"/>
                </a:rPr>
                <a:t>easing deployment</a:t>
              </a:r>
              <a:endParaRPr lang="en-GB" sz="2800">
                <a:ln>
                  <a:noFill/>
                </a:ln>
                <a:solidFill>
                  <a:schemeClr val="bg2"/>
                </a:solidFill>
                <a:latin typeface="Century Gothic" panose="020B0502020202020204" pitchFamily="34" charset="0"/>
              </a:endParaRPr>
            </a:p>
          </p:txBody>
        </p:sp>
        <p:grpSp>
          <p:nvGrpSpPr>
            <p:cNvPr id="69" name="Group 68">
              <a:extLst>
                <a:ext uri="{FF2B5EF4-FFF2-40B4-BE49-F238E27FC236}">
                  <a16:creationId xmlns:a16="http://schemas.microsoft.com/office/drawing/2014/main" id="{5279A113-5182-AE05-F4D3-443A9FB3A662}"/>
                </a:ext>
              </a:extLst>
            </p:cNvPr>
            <p:cNvGrpSpPr/>
            <p:nvPr/>
          </p:nvGrpSpPr>
          <p:grpSpPr>
            <a:xfrm>
              <a:off x="504235" y="5233528"/>
              <a:ext cx="725475" cy="725475"/>
              <a:chOff x="2106774" y="4511186"/>
              <a:chExt cx="976789" cy="976789"/>
            </a:xfrm>
          </p:grpSpPr>
          <p:sp>
            <p:nvSpPr>
              <p:cNvPr id="67" name="Oval 66">
                <a:extLst>
                  <a:ext uri="{FF2B5EF4-FFF2-40B4-BE49-F238E27FC236}">
                    <a16:creationId xmlns:a16="http://schemas.microsoft.com/office/drawing/2014/main" id="{024C2268-E7EC-279C-2365-174B91DBBA2D}"/>
                  </a:ext>
                </a:extLst>
              </p:cNvPr>
              <p:cNvSpPr/>
              <p:nvPr/>
            </p:nvSpPr>
            <p:spPr>
              <a:xfrm>
                <a:off x="2106774" y="4511186"/>
                <a:ext cx="976789" cy="976789"/>
              </a:xfrm>
              <a:prstGeom prst="ellipse">
                <a:avLst/>
              </a:prstGeom>
              <a:solidFill>
                <a:schemeClr val="bg1">
                  <a:lumMod val="95000"/>
                </a:schemeClr>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a:ln>
                    <a:noFill/>
                  </a:ln>
                  <a:solidFill>
                    <a:schemeClr val="bg1"/>
                  </a:solidFill>
                  <a:latin typeface="Century Gothic" panose="020B0502020202020204" pitchFamily="34" charset="0"/>
                </a:endParaRPr>
              </a:p>
            </p:txBody>
          </p:sp>
          <p:grpSp>
            <p:nvGrpSpPr>
              <p:cNvPr id="44" name="Group 43">
                <a:extLst>
                  <a:ext uri="{FF2B5EF4-FFF2-40B4-BE49-F238E27FC236}">
                    <a16:creationId xmlns:a16="http://schemas.microsoft.com/office/drawing/2014/main" id="{15A654F9-8F15-3B29-2559-18334403AE45}"/>
                  </a:ext>
                </a:extLst>
              </p:cNvPr>
              <p:cNvGrpSpPr/>
              <p:nvPr/>
            </p:nvGrpSpPr>
            <p:grpSpPr>
              <a:xfrm>
                <a:off x="2320848" y="4725260"/>
                <a:ext cx="548640" cy="548640"/>
                <a:chOff x="566978" y="542842"/>
                <a:chExt cx="904113" cy="914891"/>
              </a:xfrm>
            </p:grpSpPr>
            <p:grpSp>
              <p:nvGrpSpPr>
                <p:cNvPr id="45" name="object 60">
                  <a:extLst>
                    <a:ext uri="{FF2B5EF4-FFF2-40B4-BE49-F238E27FC236}">
                      <a16:creationId xmlns:a16="http://schemas.microsoft.com/office/drawing/2014/main" id="{D7AC5AAE-243F-7BE0-5145-FAD1B6EEE4B7}"/>
                    </a:ext>
                  </a:extLst>
                </p:cNvPr>
                <p:cNvGrpSpPr/>
                <p:nvPr/>
              </p:nvGrpSpPr>
              <p:grpSpPr>
                <a:xfrm>
                  <a:off x="854377" y="1000533"/>
                  <a:ext cx="569595" cy="457200"/>
                  <a:chOff x="854377" y="1000533"/>
                  <a:chExt cx="569595" cy="457200"/>
                </a:xfrm>
              </p:grpSpPr>
              <p:pic>
                <p:nvPicPr>
                  <p:cNvPr id="65" name="object 61">
                    <a:extLst>
                      <a:ext uri="{FF2B5EF4-FFF2-40B4-BE49-F238E27FC236}">
                        <a16:creationId xmlns:a16="http://schemas.microsoft.com/office/drawing/2014/main" id="{787B5D35-3662-89FB-A119-C015E972DC70}"/>
                      </a:ext>
                    </a:extLst>
                  </p:cNvPr>
                  <p:cNvPicPr/>
                  <p:nvPr/>
                </p:nvPicPr>
                <p:blipFill>
                  <a:blip r:embed="rId11" cstate="print"/>
                  <a:stretch>
                    <a:fillRect/>
                  </a:stretch>
                </p:blipFill>
                <p:spPr>
                  <a:xfrm>
                    <a:off x="862939" y="1007123"/>
                    <a:ext cx="554774" cy="441959"/>
                  </a:xfrm>
                  <a:prstGeom prst="rect">
                    <a:avLst/>
                  </a:prstGeom>
                </p:spPr>
              </p:pic>
              <p:sp>
                <p:nvSpPr>
                  <p:cNvPr id="66" name="object 62">
                    <a:extLst>
                      <a:ext uri="{FF2B5EF4-FFF2-40B4-BE49-F238E27FC236}">
                        <a16:creationId xmlns:a16="http://schemas.microsoft.com/office/drawing/2014/main" id="{F47DCAEE-5802-C0D4-C28D-C8FEBE76ADE2}"/>
                      </a:ext>
                    </a:extLst>
                  </p:cNvPr>
                  <p:cNvSpPr/>
                  <p:nvPr/>
                </p:nvSpPr>
                <p:spPr>
                  <a:xfrm>
                    <a:off x="854377" y="1000533"/>
                    <a:ext cx="569595" cy="457200"/>
                  </a:xfrm>
                  <a:custGeom>
                    <a:avLst/>
                    <a:gdLst/>
                    <a:ahLst/>
                    <a:cxnLst/>
                    <a:rect l="l" t="t" r="r" b="b"/>
                    <a:pathLst>
                      <a:path w="569594" h="457200">
                        <a:moveTo>
                          <a:pt x="282549" y="358140"/>
                        </a:moveTo>
                        <a:lnTo>
                          <a:pt x="251840" y="358140"/>
                        </a:lnTo>
                        <a:lnTo>
                          <a:pt x="251790" y="363220"/>
                        </a:lnTo>
                        <a:lnTo>
                          <a:pt x="165468" y="378460"/>
                        </a:lnTo>
                        <a:lnTo>
                          <a:pt x="139192" y="383540"/>
                        </a:lnTo>
                        <a:lnTo>
                          <a:pt x="128092" y="386080"/>
                        </a:lnTo>
                        <a:lnTo>
                          <a:pt x="126314" y="393700"/>
                        </a:lnTo>
                        <a:lnTo>
                          <a:pt x="126085" y="397510"/>
                        </a:lnTo>
                        <a:lnTo>
                          <a:pt x="125463" y="405130"/>
                        </a:lnTo>
                        <a:lnTo>
                          <a:pt x="129793" y="411480"/>
                        </a:lnTo>
                        <a:lnTo>
                          <a:pt x="137706" y="412750"/>
                        </a:lnTo>
                        <a:lnTo>
                          <a:pt x="144775" y="415290"/>
                        </a:lnTo>
                        <a:lnTo>
                          <a:pt x="158960" y="419100"/>
                        </a:lnTo>
                        <a:lnTo>
                          <a:pt x="214667" y="435610"/>
                        </a:lnTo>
                        <a:lnTo>
                          <a:pt x="240744" y="441960"/>
                        </a:lnTo>
                        <a:lnTo>
                          <a:pt x="266826" y="449580"/>
                        </a:lnTo>
                        <a:lnTo>
                          <a:pt x="295402" y="457200"/>
                        </a:lnTo>
                        <a:lnTo>
                          <a:pt x="305015" y="457200"/>
                        </a:lnTo>
                        <a:lnTo>
                          <a:pt x="403618" y="427990"/>
                        </a:lnTo>
                        <a:lnTo>
                          <a:pt x="299605" y="427990"/>
                        </a:lnTo>
                        <a:lnTo>
                          <a:pt x="277368" y="421640"/>
                        </a:lnTo>
                        <a:lnTo>
                          <a:pt x="283540" y="419100"/>
                        </a:lnTo>
                        <a:lnTo>
                          <a:pt x="294096" y="414020"/>
                        </a:lnTo>
                        <a:lnTo>
                          <a:pt x="251040" y="414020"/>
                        </a:lnTo>
                        <a:lnTo>
                          <a:pt x="208064" y="401320"/>
                        </a:lnTo>
                        <a:lnTo>
                          <a:pt x="250786" y="393700"/>
                        </a:lnTo>
                        <a:lnTo>
                          <a:pt x="442100" y="393700"/>
                        </a:lnTo>
                        <a:lnTo>
                          <a:pt x="441998" y="392430"/>
                        </a:lnTo>
                        <a:lnTo>
                          <a:pt x="410777" y="386080"/>
                        </a:lnTo>
                        <a:lnTo>
                          <a:pt x="281571" y="386080"/>
                        </a:lnTo>
                        <a:lnTo>
                          <a:pt x="282549" y="358140"/>
                        </a:lnTo>
                        <a:close/>
                      </a:path>
                      <a:path w="569594" h="457200">
                        <a:moveTo>
                          <a:pt x="442407" y="397510"/>
                        </a:moveTo>
                        <a:lnTo>
                          <a:pt x="317601" y="397510"/>
                        </a:lnTo>
                        <a:lnTo>
                          <a:pt x="366585" y="407670"/>
                        </a:lnTo>
                        <a:lnTo>
                          <a:pt x="317390" y="422910"/>
                        </a:lnTo>
                        <a:lnTo>
                          <a:pt x="300990" y="426720"/>
                        </a:lnTo>
                        <a:lnTo>
                          <a:pt x="300761" y="427990"/>
                        </a:lnTo>
                        <a:lnTo>
                          <a:pt x="403618" y="427990"/>
                        </a:lnTo>
                        <a:lnTo>
                          <a:pt x="429856" y="420370"/>
                        </a:lnTo>
                        <a:lnTo>
                          <a:pt x="439153" y="416560"/>
                        </a:lnTo>
                        <a:lnTo>
                          <a:pt x="443534" y="411480"/>
                        </a:lnTo>
                        <a:lnTo>
                          <a:pt x="442407" y="397510"/>
                        </a:lnTo>
                        <a:close/>
                      </a:path>
                      <a:path w="569594" h="457200">
                        <a:moveTo>
                          <a:pt x="442100" y="393700"/>
                        </a:moveTo>
                        <a:lnTo>
                          <a:pt x="250786" y="393700"/>
                        </a:lnTo>
                        <a:lnTo>
                          <a:pt x="250363" y="405130"/>
                        </a:lnTo>
                        <a:lnTo>
                          <a:pt x="250240" y="408940"/>
                        </a:lnTo>
                        <a:lnTo>
                          <a:pt x="250469" y="411480"/>
                        </a:lnTo>
                        <a:lnTo>
                          <a:pt x="251040" y="414020"/>
                        </a:lnTo>
                        <a:lnTo>
                          <a:pt x="294096" y="414020"/>
                        </a:lnTo>
                        <a:lnTo>
                          <a:pt x="296735" y="412750"/>
                        </a:lnTo>
                        <a:lnTo>
                          <a:pt x="310908" y="407670"/>
                        </a:lnTo>
                        <a:lnTo>
                          <a:pt x="315645" y="403860"/>
                        </a:lnTo>
                        <a:lnTo>
                          <a:pt x="317601" y="397510"/>
                        </a:lnTo>
                        <a:lnTo>
                          <a:pt x="442407" y="397510"/>
                        </a:lnTo>
                        <a:lnTo>
                          <a:pt x="442100" y="393700"/>
                        </a:lnTo>
                        <a:close/>
                      </a:path>
                      <a:path w="569594" h="457200">
                        <a:moveTo>
                          <a:pt x="318663" y="351790"/>
                        </a:moveTo>
                        <a:lnTo>
                          <a:pt x="287985" y="351790"/>
                        </a:lnTo>
                        <a:lnTo>
                          <a:pt x="287921" y="383540"/>
                        </a:lnTo>
                        <a:lnTo>
                          <a:pt x="285838" y="384810"/>
                        </a:lnTo>
                        <a:lnTo>
                          <a:pt x="281571" y="386080"/>
                        </a:lnTo>
                        <a:lnTo>
                          <a:pt x="410777" y="386080"/>
                        </a:lnTo>
                        <a:lnTo>
                          <a:pt x="318668" y="367030"/>
                        </a:lnTo>
                        <a:lnTo>
                          <a:pt x="318663" y="351790"/>
                        </a:lnTo>
                        <a:close/>
                      </a:path>
                      <a:path w="569594" h="457200">
                        <a:moveTo>
                          <a:pt x="22059" y="0"/>
                        </a:moveTo>
                        <a:lnTo>
                          <a:pt x="15633" y="0"/>
                        </a:lnTo>
                        <a:lnTo>
                          <a:pt x="13766" y="1270"/>
                        </a:lnTo>
                        <a:lnTo>
                          <a:pt x="5359" y="2540"/>
                        </a:lnTo>
                        <a:lnTo>
                          <a:pt x="2870" y="7620"/>
                        </a:lnTo>
                        <a:lnTo>
                          <a:pt x="0" y="12700"/>
                        </a:lnTo>
                        <a:lnTo>
                          <a:pt x="1193" y="20320"/>
                        </a:lnTo>
                        <a:lnTo>
                          <a:pt x="4038" y="24130"/>
                        </a:lnTo>
                        <a:lnTo>
                          <a:pt x="9375" y="33020"/>
                        </a:lnTo>
                        <a:lnTo>
                          <a:pt x="14795" y="40640"/>
                        </a:lnTo>
                        <a:lnTo>
                          <a:pt x="25781" y="55880"/>
                        </a:lnTo>
                        <a:lnTo>
                          <a:pt x="201154" y="302260"/>
                        </a:lnTo>
                        <a:lnTo>
                          <a:pt x="234772" y="350520"/>
                        </a:lnTo>
                        <a:lnTo>
                          <a:pt x="241376" y="359410"/>
                        </a:lnTo>
                        <a:lnTo>
                          <a:pt x="251840" y="358140"/>
                        </a:lnTo>
                        <a:lnTo>
                          <a:pt x="282549" y="358140"/>
                        </a:lnTo>
                        <a:lnTo>
                          <a:pt x="282727" y="353060"/>
                        </a:lnTo>
                        <a:lnTo>
                          <a:pt x="287985" y="351790"/>
                        </a:lnTo>
                        <a:lnTo>
                          <a:pt x="318663" y="351790"/>
                        </a:lnTo>
                        <a:lnTo>
                          <a:pt x="318744" y="346710"/>
                        </a:lnTo>
                        <a:lnTo>
                          <a:pt x="440188" y="326390"/>
                        </a:lnTo>
                        <a:lnTo>
                          <a:pt x="255460" y="326390"/>
                        </a:lnTo>
                        <a:lnTo>
                          <a:pt x="248557" y="317500"/>
                        </a:lnTo>
                        <a:lnTo>
                          <a:pt x="241687" y="307340"/>
                        </a:lnTo>
                        <a:lnTo>
                          <a:pt x="227596" y="287020"/>
                        </a:lnTo>
                        <a:lnTo>
                          <a:pt x="294313" y="279400"/>
                        </a:lnTo>
                        <a:lnTo>
                          <a:pt x="315912" y="275590"/>
                        </a:lnTo>
                        <a:lnTo>
                          <a:pt x="355092" y="275590"/>
                        </a:lnTo>
                        <a:lnTo>
                          <a:pt x="351967" y="271780"/>
                        </a:lnTo>
                        <a:lnTo>
                          <a:pt x="420370" y="264160"/>
                        </a:lnTo>
                        <a:lnTo>
                          <a:pt x="463261" y="264160"/>
                        </a:lnTo>
                        <a:lnTo>
                          <a:pt x="459401" y="260350"/>
                        </a:lnTo>
                        <a:lnTo>
                          <a:pt x="207797" y="260350"/>
                        </a:lnTo>
                        <a:lnTo>
                          <a:pt x="202255" y="251460"/>
                        </a:lnTo>
                        <a:lnTo>
                          <a:pt x="191095" y="236220"/>
                        </a:lnTo>
                        <a:lnTo>
                          <a:pt x="169138" y="204470"/>
                        </a:lnTo>
                        <a:lnTo>
                          <a:pt x="174561" y="204470"/>
                        </a:lnTo>
                        <a:lnTo>
                          <a:pt x="214275" y="201930"/>
                        </a:lnTo>
                        <a:lnTo>
                          <a:pt x="234245" y="201930"/>
                        </a:lnTo>
                        <a:lnTo>
                          <a:pt x="254342" y="200660"/>
                        </a:lnTo>
                        <a:lnTo>
                          <a:pt x="293114" y="200660"/>
                        </a:lnTo>
                        <a:lnTo>
                          <a:pt x="291007" y="198120"/>
                        </a:lnTo>
                        <a:lnTo>
                          <a:pt x="323654" y="195580"/>
                        </a:lnTo>
                        <a:lnTo>
                          <a:pt x="339162" y="195580"/>
                        </a:lnTo>
                        <a:lnTo>
                          <a:pt x="354711" y="194310"/>
                        </a:lnTo>
                        <a:lnTo>
                          <a:pt x="396064" y="194310"/>
                        </a:lnTo>
                        <a:lnTo>
                          <a:pt x="393649" y="191770"/>
                        </a:lnTo>
                        <a:lnTo>
                          <a:pt x="400418" y="191770"/>
                        </a:lnTo>
                        <a:lnTo>
                          <a:pt x="407390" y="190500"/>
                        </a:lnTo>
                        <a:lnTo>
                          <a:pt x="423875" y="187960"/>
                        </a:lnTo>
                        <a:lnTo>
                          <a:pt x="467627" y="187960"/>
                        </a:lnTo>
                        <a:lnTo>
                          <a:pt x="455735" y="176530"/>
                        </a:lnTo>
                        <a:lnTo>
                          <a:pt x="148551" y="176530"/>
                        </a:lnTo>
                        <a:lnTo>
                          <a:pt x="140137" y="163830"/>
                        </a:lnTo>
                        <a:lnTo>
                          <a:pt x="131732" y="152400"/>
                        </a:lnTo>
                        <a:lnTo>
                          <a:pt x="114807" y="128270"/>
                        </a:lnTo>
                        <a:lnTo>
                          <a:pt x="405631" y="128270"/>
                        </a:lnTo>
                        <a:lnTo>
                          <a:pt x="376668" y="100330"/>
                        </a:lnTo>
                        <a:lnTo>
                          <a:pt x="306463" y="100330"/>
                        </a:lnTo>
                        <a:lnTo>
                          <a:pt x="306095" y="99060"/>
                        </a:lnTo>
                        <a:lnTo>
                          <a:pt x="210489" y="99060"/>
                        </a:lnTo>
                        <a:lnTo>
                          <a:pt x="209413" y="97790"/>
                        </a:lnTo>
                        <a:lnTo>
                          <a:pt x="92506" y="97790"/>
                        </a:lnTo>
                        <a:lnTo>
                          <a:pt x="83223" y="83820"/>
                        </a:lnTo>
                        <a:lnTo>
                          <a:pt x="64590" y="58420"/>
                        </a:lnTo>
                        <a:lnTo>
                          <a:pt x="49021" y="35560"/>
                        </a:lnTo>
                        <a:lnTo>
                          <a:pt x="227866" y="35560"/>
                        </a:lnTo>
                        <a:lnTo>
                          <a:pt x="22059" y="0"/>
                        </a:lnTo>
                        <a:close/>
                      </a:path>
                      <a:path w="569594" h="457200">
                        <a:moveTo>
                          <a:pt x="355092" y="275590"/>
                        </a:moveTo>
                        <a:lnTo>
                          <a:pt x="315912" y="275590"/>
                        </a:lnTo>
                        <a:lnTo>
                          <a:pt x="319023" y="279400"/>
                        </a:lnTo>
                        <a:lnTo>
                          <a:pt x="324840" y="287020"/>
                        </a:lnTo>
                        <a:lnTo>
                          <a:pt x="345046" y="311150"/>
                        </a:lnTo>
                        <a:lnTo>
                          <a:pt x="282378" y="322580"/>
                        </a:lnTo>
                        <a:lnTo>
                          <a:pt x="268889" y="323850"/>
                        </a:lnTo>
                        <a:lnTo>
                          <a:pt x="255460" y="326390"/>
                        </a:lnTo>
                        <a:lnTo>
                          <a:pt x="440188" y="326390"/>
                        </a:lnTo>
                        <a:lnTo>
                          <a:pt x="552272" y="307340"/>
                        </a:lnTo>
                        <a:lnTo>
                          <a:pt x="554393" y="306070"/>
                        </a:lnTo>
                        <a:lnTo>
                          <a:pt x="562190" y="304800"/>
                        </a:lnTo>
                        <a:lnTo>
                          <a:pt x="379564" y="304800"/>
                        </a:lnTo>
                        <a:lnTo>
                          <a:pt x="374697" y="299720"/>
                        </a:lnTo>
                        <a:lnTo>
                          <a:pt x="369874" y="293370"/>
                        </a:lnTo>
                        <a:lnTo>
                          <a:pt x="360298" y="281940"/>
                        </a:lnTo>
                        <a:lnTo>
                          <a:pt x="355092" y="275590"/>
                        </a:lnTo>
                        <a:close/>
                      </a:path>
                      <a:path w="569594" h="457200">
                        <a:moveTo>
                          <a:pt x="463261" y="264160"/>
                        </a:moveTo>
                        <a:lnTo>
                          <a:pt x="420370" y="264160"/>
                        </a:lnTo>
                        <a:lnTo>
                          <a:pt x="449275" y="293370"/>
                        </a:lnTo>
                        <a:lnTo>
                          <a:pt x="414158" y="299720"/>
                        </a:lnTo>
                        <a:lnTo>
                          <a:pt x="379564" y="304800"/>
                        </a:lnTo>
                        <a:lnTo>
                          <a:pt x="562190" y="304800"/>
                        </a:lnTo>
                        <a:lnTo>
                          <a:pt x="566458" y="300990"/>
                        </a:lnTo>
                        <a:lnTo>
                          <a:pt x="569417" y="290830"/>
                        </a:lnTo>
                        <a:lnTo>
                          <a:pt x="568853" y="288290"/>
                        </a:lnTo>
                        <a:lnTo>
                          <a:pt x="487426" y="288290"/>
                        </a:lnTo>
                        <a:lnTo>
                          <a:pt x="483400" y="287020"/>
                        </a:lnTo>
                        <a:lnTo>
                          <a:pt x="477761" y="279400"/>
                        </a:lnTo>
                        <a:lnTo>
                          <a:pt x="473093" y="274320"/>
                        </a:lnTo>
                        <a:lnTo>
                          <a:pt x="468256" y="269240"/>
                        </a:lnTo>
                        <a:lnTo>
                          <a:pt x="463261" y="264160"/>
                        </a:lnTo>
                        <a:close/>
                      </a:path>
                      <a:path w="569594" h="457200">
                        <a:moveTo>
                          <a:pt x="536338" y="254000"/>
                        </a:moveTo>
                        <a:lnTo>
                          <a:pt x="493267" y="254000"/>
                        </a:lnTo>
                        <a:lnTo>
                          <a:pt x="521106" y="281940"/>
                        </a:lnTo>
                        <a:lnTo>
                          <a:pt x="514635" y="281940"/>
                        </a:lnTo>
                        <a:lnTo>
                          <a:pt x="495147" y="285750"/>
                        </a:lnTo>
                        <a:lnTo>
                          <a:pt x="487426" y="288290"/>
                        </a:lnTo>
                        <a:lnTo>
                          <a:pt x="568853" y="288290"/>
                        </a:lnTo>
                        <a:lnTo>
                          <a:pt x="568007" y="284480"/>
                        </a:lnTo>
                        <a:lnTo>
                          <a:pt x="561174" y="278130"/>
                        </a:lnTo>
                        <a:lnTo>
                          <a:pt x="554837" y="271780"/>
                        </a:lnTo>
                        <a:lnTo>
                          <a:pt x="536338" y="254000"/>
                        </a:lnTo>
                        <a:close/>
                      </a:path>
                      <a:path w="569594" h="457200">
                        <a:moveTo>
                          <a:pt x="293114" y="200660"/>
                        </a:moveTo>
                        <a:lnTo>
                          <a:pt x="254342" y="200660"/>
                        </a:lnTo>
                        <a:lnTo>
                          <a:pt x="260829" y="208280"/>
                        </a:lnTo>
                        <a:lnTo>
                          <a:pt x="267268" y="217170"/>
                        </a:lnTo>
                        <a:lnTo>
                          <a:pt x="293700" y="248920"/>
                        </a:lnTo>
                        <a:lnTo>
                          <a:pt x="256451" y="254000"/>
                        </a:lnTo>
                        <a:lnTo>
                          <a:pt x="240225" y="255270"/>
                        </a:lnTo>
                        <a:lnTo>
                          <a:pt x="207797" y="260350"/>
                        </a:lnTo>
                        <a:lnTo>
                          <a:pt x="459401" y="260350"/>
                        </a:lnTo>
                        <a:lnTo>
                          <a:pt x="458114" y="259080"/>
                        </a:lnTo>
                        <a:lnTo>
                          <a:pt x="493267" y="254000"/>
                        </a:lnTo>
                        <a:lnTo>
                          <a:pt x="536338" y="254000"/>
                        </a:lnTo>
                        <a:lnTo>
                          <a:pt x="525767" y="243840"/>
                        </a:lnTo>
                        <a:lnTo>
                          <a:pt x="329387" y="243840"/>
                        </a:lnTo>
                        <a:lnTo>
                          <a:pt x="326288" y="241300"/>
                        </a:lnTo>
                        <a:lnTo>
                          <a:pt x="320497" y="233680"/>
                        </a:lnTo>
                        <a:lnTo>
                          <a:pt x="293114" y="200660"/>
                        </a:lnTo>
                        <a:close/>
                      </a:path>
                      <a:path w="569594" h="457200">
                        <a:moveTo>
                          <a:pt x="396064" y="194310"/>
                        </a:moveTo>
                        <a:lnTo>
                          <a:pt x="354711" y="194310"/>
                        </a:lnTo>
                        <a:lnTo>
                          <a:pt x="363766" y="204470"/>
                        </a:lnTo>
                        <a:lnTo>
                          <a:pt x="372787" y="213360"/>
                        </a:lnTo>
                        <a:lnTo>
                          <a:pt x="394589" y="236220"/>
                        </a:lnTo>
                        <a:lnTo>
                          <a:pt x="361556" y="240030"/>
                        </a:lnTo>
                        <a:lnTo>
                          <a:pt x="345322" y="242570"/>
                        </a:lnTo>
                        <a:lnTo>
                          <a:pt x="329387" y="243840"/>
                        </a:lnTo>
                        <a:lnTo>
                          <a:pt x="525767" y="243840"/>
                        </a:lnTo>
                        <a:lnTo>
                          <a:pt x="512554" y="231140"/>
                        </a:lnTo>
                        <a:lnTo>
                          <a:pt x="431228" y="231140"/>
                        </a:lnTo>
                        <a:lnTo>
                          <a:pt x="420216" y="219710"/>
                        </a:lnTo>
                        <a:lnTo>
                          <a:pt x="396064" y="194310"/>
                        </a:lnTo>
                        <a:close/>
                      </a:path>
                      <a:path w="569594" h="457200">
                        <a:moveTo>
                          <a:pt x="467627" y="187960"/>
                        </a:moveTo>
                        <a:lnTo>
                          <a:pt x="423875" y="187960"/>
                        </a:lnTo>
                        <a:lnTo>
                          <a:pt x="429298" y="190500"/>
                        </a:lnTo>
                        <a:lnTo>
                          <a:pt x="433616" y="196850"/>
                        </a:lnTo>
                        <a:lnTo>
                          <a:pt x="465416" y="227330"/>
                        </a:lnTo>
                        <a:lnTo>
                          <a:pt x="448395" y="229870"/>
                        </a:lnTo>
                        <a:lnTo>
                          <a:pt x="440498" y="231140"/>
                        </a:lnTo>
                        <a:lnTo>
                          <a:pt x="512554" y="231140"/>
                        </a:lnTo>
                        <a:lnTo>
                          <a:pt x="467627" y="187960"/>
                        </a:lnTo>
                        <a:close/>
                      </a:path>
                      <a:path w="569594" h="457200">
                        <a:moveTo>
                          <a:pt x="235254" y="129540"/>
                        </a:moveTo>
                        <a:lnTo>
                          <a:pt x="195961" y="129540"/>
                        </a:lnTo>
                        <a:lnTo>
                          <a:pt x="202566" y="138430"/>
                        </a:lnTo>
                        <a:lnTo>
                          <a:pt x="222199" y="161290"/>
                        </a:lnTo>
                        <a:lnTo>
                          <a:pt x="229958" y="171450"/>
                        </a:lnTo>
                        <a:lnTo>
                          <a:pt x="218897" y="171450"/>
                        </a:lnTo>
                        <a:lnTo>
                          <a:pt x="148551" y="176530"/>
                        </a:lnTo>
                        <a:lnTo>
                          <a:pt x="455735" y="176530"/>
                        </a:lnTo>
                        <a:lnTo>
                          <a:pt x="447807" y="168910"/>
                        </a:lnTo>
                        <a:lnTo>
                          <a:pt x="267398" y="168910"/>
                        </a:lnTo>
                        <a:lnTo>
                          <a:pt x="261630" y="161290"/>
                        </a:lnTo>
                        <a:lnTo>
                          <a:pt x="255914" y="154940"/>
                        </a:lnTo>
                        <a:lnTo>
                          <a:pt x="235254" y="129540"/>
                        </a:lnTo>
                        <a:close/>
                      </a:path>
                      <a:path w="569594" h="457200">
                        <a:moveTo>
                          <a:pt x="335927" y="130810"/>
                        </a:moveTo>
                        <a:lnTo>
                          <a:pt x="293827" y="130810"/>
                        </a:lnTo>
                        <a:lnTo>
                          <a:pt x="298399" y="135890"/>
                        </a:lnTo>
                        <a:lnTo>
                          <a:pt x="326796" y="165100"/>
                        </a:lnTo>
                        <a:lnTo>
                          <a:pt x="296521" y="167640"/>
                        </a:lnTo>
                        <a:lnTo>
                          <a:pt x="281810" y="167640"/>
                        </a:lnTo>
                        <a:lnTo>
                          <a:pt x="267398" y="168910"/>
                        </a:lnTo>
                        <a:lnTo>
                          <a:pt x="447807" y="168910"/>
                        </a:lnTo>
                        <a:lnTo>
                          <a:pt x="441200" y="162560"/>
                        </a:lnTo>
                        <a:lnTo>
                          <a:pt x="365925" y="162560"/>
                        </a:lnTo>
                        <a:lnTo>
                          <a:pt x="365620" y="161290"/>
                        </a:lnTo>
                        <a:lnTo>
                          <a:pt x="345967" y="142240"/>
                        </a:lnTo>
                        <a:lnTo>
                          <a:pt x="335927" y="130810"/>
                        </a:lnTo>
                        <a:close/>
                      </a:path>
                      <a:path w="569594" h="457200">
                        <a:moveTo>
                          <a:pt x="405631" y="128270"/>
                        </a:moveTo>
                        <a:lnTo>
                          <a:pt x="135176" y="128270"/>
                        </a:lnTo>
                        <a:lnTo>
                          <a:pt x="155513" y="129540"/>
                        </a:lnTo>
                        <a:lnTo>
                          <a:pt x="362381" y="129540"/>
                        </a:lnTo>
                        <a:lnTo>
                          <a:pt x="369176" y="132080"/>
                        </a:lnTo>
                        <a:lnTo>
                          <a:pt x="374472" y="139700"/>
                        </a:lnTo>
                        <a:lnTo>
                          <a:pt x="375602" y="140970"/>
                        </a:lnTo>
                        <a:lnTo>
                          <a:pt x="378688" y="143510"/>
                        </a:lnTo>
                        <a:lnTo>
                          <a:pt x="379018" y="143510"/>
                        </a:lnTo>
                        <a:lnTo>
                          <a:pt x="394538" y="161290"/>
                        </a:lnTo>
                        <a:lnTo>
                          <a:pt x="387758" y="161290"/>
                        </a:lnTo>
                        <a:lnTo>
                          <a:pt x="380982" y="162560"/>
                        </a:lnTo>
                        <a:lnTo>
                          <a:pt x="441200" y="162560"/>
                        </a:lnTo>
                        <a:lnTo>
                          <a:pt x="405631" y="128270"/>
                        </a:lnTo>
                        <a:close/>
                      </a:path>
                      <a:path w="569594" h="457200">
                        <a:moveTo>
                          <a:pt x="362381" y="129540"/>
                        </a:moveTo>
                        <a:lnTo>
                          <a:pt x="265023" y="129540"/>
                        </a:lnTo>
                        <a:lnTo>
                          <a:pt x="279438" y="130810"/>
                        </a:lnTo>
                        <a:lnTo>
                          <a:pt x="346532" y="130810"/>
                        </a:lnTo>
                        <a:lnTo>
                          <a:pt x="362381" y="129540"/>
                        </a:lnTo>
                        <a:close/>
                      </a:path>
                      <a:path w="569594" h="457200">
                        <a:moveTo>
                          <a:pt x="351645" y="76200"/>
                        </a:moveTo>
                        <a:lnTo>
                          <a:pt x="283222" y="76200"/>
                        </a:lnTo>
                        <a:lnTo>
                          <a:pt x="313588" y="81280"/>
                        </a:lnTo>
                        <a:lnTo>
                          <a:pt x="323454" y="90170"/>
                        </a:lnTo>
                        <a:lnTo>
                          <a:pt x="333349" y="100330"/>
                        </a:lnTo>
                        <a:lnTo>
                          <a:pt x="376668" y="100330"/>
                        </a:lnTo>
                        <a:lnTo>
                          <a:pt x="351645" y="76200"/>
                        </a:lnTo>
                        <a:close/>
                      </a:path>
                      <a:path w="569594" h="457200">
                        <a:moveTo>
                          <a:pt x="331168" y="57150"/>
                        </a:moveTo>
                        <a:lnTo>
                          <a:pt x="176009" y="57150"/>
                        </a:lnTo>
                        <a:lnTo>
                          <a:pt x="232575" y="67310"/>
                        </a:lnTo>
                        <a:lnTo>
                          <a:pt x="233210" y="67310"/>
                        </a:lnTo>
                        <a:lnTo>
                          <a:pt x="233946" y="68580"/>
                        </a:lnTo>
                        <a:lnTo>
                          <a:pt x="263829" y="99060"/>
                        </a:lnTo>
                        <a:lnTo>
                          <a:pt x="306095" y="99060"/>
                        </a:lnTo>
                        <a:lnTo>
                          <a:pt x="283222" y="76200"/>
                        </a:lnTo>
                        <a:lnTo>
                          <a:pt x="351645" y="76200"/>
                        </a:lnTo>
                        <a:lnTo>
                          <a:pt x="346341" y="71120"/>
                        </a:lnTo>
                        <a:lnTo>
                          <a:pt x="343204" y="68580"/>
                        </a:lnTo>
                        <a:lnTo>
                          <a:pt x="340525" y="64770"/>
                        </a:lnTo>
                        <a:lnTo>
                          <a:pt x="333642" y="58420"/>
                        </a:lnTo>
                        <a:lnTo>
                          <a:pt x="331168" y="57150"/>
                        </a:lnTo>
                        <a:close/>
                      </a:path>
                      <a:path w="569594" h="457200">
                        <a:moveTo>
                          <a:pt x="227866" y="35560"/>
                        </a:moveTo>
                        <a:lnTo>
                          <a:pt x="49021" y="35560"/>
                        </a:lnTo>
                        <a:lnTo>
                          <a:pt x="89312" y="43180"/>
                        </a:lnTo>
                        <a:lnTo>
                          <a:pt x="109436" y="45720"/>
                        </a:lnTo>
                        <a:lnTo>
                          <a:pt x="129527" y="49530"/>
                        </a:lnTo>
                        <a:lnTo>
                          <a:pt x="129844" y="49530"/>
                        </a:lnTo>
                        <a:lnTo>
                          <a:pt x="130670" y="50800"/>
                        </a:lnTo>
                        <a:lnTo>
                          <a:pt x="136371" y="57150"/>
                        </a:lnTo>
                        <a:lnTo>
                          <a:pt x="141408" y="63500"/>
                        </a:lnTo>
                        <a:lnTo>
                          <a:pt x="151409" y="74930"/>
                        </a:lnTo>
                        <a:lnTo>
                          <a:pt x="170014" y="97790"/>
                        </a:lnTo>
                        <a:lnTo>
                          <a:pt x="209413" y="97790"/>
                        </a:lnTo>
                        <a:lnTo>
                          <a:pt x="206184" y="93980"/>
                        </a:lnTo>
                        <a:lnTo>
                          <a:pt x="194602" y="80010"/>
                        </a:lnTo>
                        <a:lnTo>
                          <a:pt x="176009" y="57150"/>
                        </a:lnTo>
                        <a:lnTo>
                          <a:pt x="331168" y="57150"/>
                        </a:lnTo>
                        <a:lnTo>
                          <a:pt x="326221" y="54610"/>
                        </a:lnTo>
                        <a:lnTo>
                          <a:pt x="318615" y="50800"/>
                        </a:lnTo>
                        <a:lnTo>
                          <a:pt x="311175" y="49530"/>
                        </a:lnTo>
                        <a:lnTo>
                          <a:pt x="276868" y="44450"/>
                        </a:lnTo>
                        <a:lnTo>
                          <a:pt x="242566" y="38100"/>
                        </a:lnTo>
                        <a:lnTo>
                          <a:pt x="227866" y="35560"/>
                        </a:lnTo>
                        <a:close/>
                      </a:path>
                    </a:pathLst>
                  </a:custGeom>
                  <a:solidFill>
                    <a:srgbClr val="004876"/>
                  </a:solidFill>
                </p:spPr>
                <p:txBody>
                  <a:bodyPr wrap="square" lIns="0" tIns="0" rIns="0" bIns="0" rtlCol="0"/>
                  <a:lstStyle/>
                  <a:p>
                    <a:endParaRPr/>
                  </a:p>
                </p:txBody>
              </p:sp>
            </p:grpSp>
            <p:grpSp>
              <p:nvGrpSpPr>
                <p:cNvPr id="46" name="object 63">
                  <a:extLst>
                    <a:ext uri="{FF2B5EF4-FFF2-40B4-BE49-F238E27FC236}">
                      <a16:creationId xmlns:a16="http://schemas.microsoft.com/office/drawing/2014/main" id="{0900328B-78F1-64B4-CAF8-1A323C1E20BD}"/>
                    </a:ext>
                  </a:extLst>
                </p:cNvPr>
                <p:cNvGrpSpPr/>
                <p:nvPr/>
              </p:nvGrpSpPr>
              <p:grpSpPr>
                <a:xfrm>
                  <a:off x="887526" y="709024"/>
                  <a:ext cx="583565" cy="725170"/>
                  <a:chOff x="887526" y="709024"/>
                  <a:chExt cx="583565" cy="725170"/>
                </a:xfrm>
              </p:grpSpPr>
              <p:pic>
                <p:nvPicPr>
                  <p:cNvPr id="58" name="object 64">
                    <a:extLst>
                      <a:ext uri="{FF2B5EF4-FFF2-40B4-BE49-F238E27FC236}">
                        <a16:creationId xmlns:a16="http://schemas.microsoft.com/office/drawing/2014/main" id="{17415435-2EC5-2022-D995-CAE2BE5FE7F5}"/>
                      </a:ext>
                    </a:extLst>
                  </p:cNvPr>
                  <p:cNvPicPr/>
                  <p:nvPr/>
                </p:nvPicPr>
                <p:blipFill>
                  <a:blip r:embed="rId12" cstate="print"/>
                  <a:stretch>
                    <a:fillRect/>
                  </a:stretch>
                </p:blipFill>
                <p:spPr>
                  <a:xfrm>
                    <a:off x="1237615" y="797382"/>
                    <a:ext cx="144894" cy="142494"/>
                  </a:xfrm>
                  <a:prstGeom prst="rect">
                    <a:avLst/>
                  </a:prstGeom>
                </p:spPr>
              </p:pic>
              <p:pic>
                <p:nvPicPr>
                  <p:cNvPr id="59" name="object 65">
                    <a:extLst>
                      <a:ext uri="{FF2B5EF4-FFF2-40B4-BE49-F238E27FC236}">
                        <a16:creationId xmlns:a16="http://schemas.microsoft.com/office/drawing/2014/main" id="{CC74D77D-12D9-04CD-5371-9991811AF42B}"/>
                      </a:ext>
                    </a:extLst>
                  </p:cNvPr>
                  <p:cNvPicPr/>
                  <p:nvPr/>
                </p:nvPicPr>
                <p:blipFill>
                  <a:blip r:embed="rId13" cstate="print"/>
                  <a:stretch>
                    <a:fillRect/>
                  </a:stretch>
                </p:blipFill>
                <p:spPr>
                  <a:xfrm>
                    <a:off x="1149350" y="709024"/>
                    <a:ext cx="321428" cy="317442"/>
                  </a:xfrm>
                  <a:prstGeom prst="rect">
                    <a:avLst/>
                  </a:prstGeom>
                </p:spPr>
              </p:pic>
              <p:pic>
                <p:nvPicPr>
                  <p:cNvPr id="60" name="object 66">
                    <a:extLst>
                      <a:ext uri="{FF2B5EF4-FFF2-40B4-BE49-F238E27FC236}">
                        <a16:creationId xmlns:a16="http://schemas.microsoft.com/office/drawing/2014/main" id="{739D7B5A-CB5C-8305-A0C1-63951E0F870D}"/>
                      </a:ext>
                    </a:extLst>
                  </p:cNvPr>
                  <p:cNvPicPr/>
                  <p:nvPr/>
                </p:nvPicPr>
                <p:blipFill>
                  <a:blip r:embed="rId14" cstate="print"/>
                  <a:stretch>
                    <a:fillRect/>
                  </a:stretch>
                </p:blipFill>
                <p:spPr>
                  <a:xfrm>
                    <a:off x="1259484" y="819277"/>
                    <a:ext cx="100444" cy="98602"/>
                  </a:xfrm>
                  <a:prstGeom prst="rect">
                    <a:avLst/>
                  </a:prstGeom>
                </p:spPr>
              </p:pic>
              <p:pic>
                <p:nvPicPr>
                  <p:cNvPr id="61" name="object 67">
                    <a:extLst>
                      <a:ext uri="{FF2B5EF4-FFF2-40B4-BE49-F238E27FC236}">
                        <a16:creationId xmlns:a16="http://schemas.microsoft.com/office/drawing/2014/main" id="{4B629E13-777A-89FD-B122-94F3A655C617}"/>
                      </a:ext>
                    </a:extLst>
                  </p:cNvPr>
                  <p:cNvPicPr/>
                  <p:nvPr/>
                </p:nvPicPr>
                <p:blipFill>
                  <a:blip r:embed="rId15" cstate="print"/>
                  <a:stretch>
                    <a:fillRect/>
                  </a:stretch>
                </p:blipFill>
                <p:spPr>
                  <a:xfrm>
                    <a:off x="887526" y="1024433"/>
                    <a:ext cx="248272" cy="81087"/>
                  </a:xfrm>
                  <a:prstGeom prst="rect">
                    <a:avLst/>
                  </a:prstGeom>
                </p:spPr>
              </p:pic>
              <p:pic>
                <p:nvPicPr>
                  <p:cNvPr id="62" name="object 68">
                    <a:extLst>
                      <a:ext uri="{FF2B5EF4-FFF2-40B4-BE49-F238E27FC236}">
                        <a16:creationId xmlns:a16="http://schemas.microsoft.com/office/drawing/2014/main" id="{251A1AD8-0E48-889F-21E1-16A3F90E8B2B}"/>
                      </a:ext>
                    </a:extLst>
                  </p:cNvPr>
                  <p:cNvPicPr/>
                  <p:nvPr/>
                </p:nvPicPr>
                <p:blipFill>
                  <a:blip r:embed="rId16" cstate="print"/>
                  <a:stretch>
                    <a:fillRect/>
                  </a:stretch>
                </p:blipFill>
                <p:spPr>
                  <a:xfrm>
                    <a:off x="954951" y="1119416"/>
                    <a:ext cx="436156" cy="213601"/>
                  </a:xfrm>
                  <a:prstGeom prst="rect">
                    <a:avLst/>
                  </a:prstGeom>
                </p:spPr>
              </p:pic>
              <p:pic>
                <p:nvPicPr>
                  <p:cNvPr id="63" name="object 69">
                    <a:extLst>
                      <a:ext uri="{FF2B5EF4-FFF2-40B4-BE49-F238E27FC236}">
                        <a16:creationId xmlns:a16="http://schemas.microsoft.com/office/drawing/2014/main" id="{AB35A637-7409-F03A-0B0E-0CACC29091E1}"/>
                      </a:ext>
                    </a:extLst>
                  </p:cNvPr>
                  <p:cNvPicPr/>
                  <p:nvPr/>
                </p:nvPicPr>
                <p:blipFill>
                  <a:blip r:embed="rId17" cstate="print"/>
                  <a:stretch>
                    <a:fillRect/>
                  </a:stretch>
                </p:blipFill>
                <p:spPr>
                  <a:xfrm>
                    <a:off x="1031176" y="1341856"/>
                    <a:ext cx="219748" cy="91911"/>
                  </a:xfrm>
                  <a:prstGeom prst="rect">
                    <a:avLst/>
                  </a:prstGeom>
                </p:spPr>
              </p:pic>
              <p:pic>
                <p:nvPicPr>
                  <p:cNvPr id="64" name="object 70">
                    <a:extLst>
                      <a:ext uri="{FF2B5EF4-FFF2-40B4-BE49-F238E27FC236}">
                        <a16:creationId xmlns:a16="http://schemas.microsoft.com/office/drawing/2014/main" id="{2D0B024E-FF60-35AA-42B8-2310CD8C002F}"/>
                      </a:ext>
                    </a:extLst>
                  </p:cNvPr>
                  <p:cNvPicPr/>
                  <p:nvPr/>
                </p:nvPicPr>
                <p:blipFill>
                  <a:blip r:embed="rId18" cstate="print"/>
                  <a:stretch>
                    <a:fillRect/>
                  </a:stretch>
                </p:blipFill>
                <p:spPr>
                  <a:xfrm>
                    <a:off x="1117142" y="1063079"/>
                    <a:ext cx="150495" cy="105599"/>
                  </a:xfrm>
                  <a:prstGeom prst="rect">
                    <a:avLst/>
                  </a:prstGeom>
                </p:spPr>
              </p:pic>
            </p:grpSp>
            <p:grpSp>
              <p:nvGrpSpPr>
                <p:cNvPr id="47" name="object 71">
                  <a:extLst>
                    <a:ext uri="{FF2B5EF4-FFF2-40B4-BE49-F238E27FC236}">
                      <a16:creationId xmlns:a16="http://schemas.microsoft.com/office/drawing/2014/main" id="{C60426E4-9676-21B0-D2A7-7F795EA2F974}"/>
                    </a:ext>
                  </a:extLst>
                </p:cNvPr>
                <p:cNvGrpSpPr/>
                <p:nvPr/>
              </p:nvGrpSpPr>
              <p:grpSpPr>
                <a:xfrm>
                  <a:off x="566978" y="542842"/>
                  <a:ext cx="516890" cy="744220"/>
                  <a:chOff x="566978" y="542842"/>
                  <a:chExt cx="516890" cy="744220"/>
                </a:xfrm>
              </p:grpSpPr>
              <p:pic>
                <p:nvPicPr>
                  <p:cNvPr id="48" name="object 72">
                    <a:extLst>
                      <a:ext uri="{FF2B5EF4-FFF2-40B4-BE49-F238E27FC236}">
                        <a16:creationId xmlns:a16="http://schemas.microsoft.com/office/drawing/2014/main" id="{0C63BDBF-2C08-9A4C-FD37-7CE5E5625B85}"/>
                      </a:ext>
                    </a:extLst>
                  </p:cNvPr>
                  <p:cNvPicPr/>
                  <p:nvPr/>
                </p:nvPicPr>
                <p:blipFill>
                  <a:blip r:embed="rId19" cstate="print"/>
                  <a:stretch>
                    <a:fillRect/>
                  </a:stretch>
                </p:blipFill>
                <p:spPr>
                  <a:xfrm>
                    <a:off x="730669" y="929704"/>
                    <a:ext cx="88887" cy="349745"/>
                  </a:xfrm>
                  <a:prstGeom prst="rect">
                    <a:avLst/>
                  </a:prstGeom>
                </p:spPr>
              </p:pic>
              <p:sp>
                <p:nvSpPr>
                  <p:cNvPr id="49" name="object 73">
                    <a:extLst>
                      <a:ext uri="{FF2B5EF4-FFF2-40B4-BE49-F238E27FC236}">
                        <a16:creationId xmlns:a16="http://schemas.microsoft.com/office/drawing/2014/main" id="{E198028E-64CE-E81E-00DE-88F04C904738}"/>
                      </a:ext>
                    </a:extLst>
                  </p:cNvPr>
                  <p:cNvSpPr/>
                  <p:nvPr/>
                </p:nvSpPr>
                <p:spPr>
                  <a:xfrm>
                    <a:off x="722500" y="908581"/>
                    <a:ext cx="105410" cy="378460"/>
                  </a:xfrm>
                  <a:custGeom>
                    <a:avLst/>
                    <a:gdLst/>
                    <a:ahLst/>
                    <a:cxnLst/>
                    <a:rect l="l" t="t" r="r" b="b"/>
                    <a:pathLst>
                      <a:path w="105409" h="378459">
                        <a:moveTo>
                          <a:pt x="74714" y="0"/>
                        </a:moveTo>
                        <a:lnTo>
                          <a:pt x="60706" y="19405"/>
                        </a:lnTo>
                        <a:lnTo>
                          <a:pt x="57264" y="24803"/>
                        </a:lnTo>
                        <a:lnTo>
                          <a:pt x="51219" y="34213"/>
                        </a:lnTo>
                        <a:lnTo>
                          <a:pt x="24286" y="74643"/>
                        </a:lnTo>
                        <a:lnTo>
                          <a:pt x="21277" y="111975"/>
                        </a:lnTo>
                        <a:lnTo>
                          <a:pt x="19730" y="134480"/>
                        </a:lnTo>
                        <a:lnTo>
                          <a:pt x="17971" y="156062"/>
                        </a:lnTo>
                        <a:lnTo>
                          <a:pt x="14578" y="194703"/>
                        </a:lnTo>
                        <a:lnTo>
                          <a:pt x="13220" y="210781"/>
                        </a:lnTo>
                        <a:lnTo>
                          <a:pt x="4706" y="316166"/>
                        </a:lnTo>
                        <a:lnTo>
                          <a:pt x="3365" y="333438"/>
                        </a:lnTo>
                        <a:lnTo>
                          <a:pt x="0" y="378434"/>
                        </a:lnTo>
                        <a:lnTo>
                          <a:pt x="105270" y="378434"/>
                        </a:lnTo>
                        <a:lnTo>
                          <a:pt x="104046" y="363283"/>
                        </a:lnTo>
                        <a:lnTo>
                          <a:pt x="16332" y="363283"/>
                        </a:lnTo>
                        <a:lnTo>
                          <a:pt x="19998" y="314960"/>
                        </a:lnTo>
                        <a:lnTo>
                          <a:pt x="29044" y="203352"/>
                        </a:lnTo>
                        <a:lnTo>
                          <a:pt x="29893" y="193425"/>
                        </a:lnTo>
                        <a:lnTo>
                          <a:pt x="33279" y="154871"/>
                        </a:lnTo>
                        <a:lnTo>
                          <a:pt x="34937" y="134480"/>
                        </a:lnTo>
                        <a:lnTo>
                          <a:pt x="36416" y="112783"/>
                        </a:lnTo>
                        <a:lnTo>
                          <a:pt x="37465" y="91097"/>
                        </a:lnTo>
                        <a:lnTo>
                          <a:pt x="39004" y="78358"/>
                        </a:lnTo>
                        <a:lnTo>
                          <a:pt x="42740" y="67322"/>
                        </a:lnTo>
                        <a:lnTo>
                          <a:pt x="48864" y="57582"/>
                        </a:lnTo>
                        <a:lnTo>
                          <a:pt x="57569" y="48729"/>
                        </a:lnTo>
                        <a:lnTo>
                          <a:pt x="59563" y="47028"/>
                        </a:lnTo>
                        <a:lnTo>
                          <a:pt x="61353" y="45123"/>
                        </a:lnTo>
                        <a:lnTo>
                          <a:pt x="62979" y="43103"/>
                        </a:lnTo>
                        <a:lnTo>
                          <a:pt x="78194" y="43103"/>
                        </a:lnTo>
                        <a:lnTo>
                          <a:pt x="74714" y="0"/>
                        </a:lnTo>
                        <a:close/>
                      </a:path>
                      <a:path w="105409" h="378459">
                        <a:moveTo>
                          <a:pt x="78194" y="43103"/>
                        </a:moveTo>
                        <a:lnTo>
                          <a:pt x="62979" y="43103"/>
                        </a:lnTo>
                        <a:lnTo>
                          <a:pt x="88836" y="363283"/>
                        </a:lnTo>
                        <a:lnTo>
                          <a:pt x="104046" y="363283"/>
                        </a:lnTo>
                        <a:lnTo>
                          <a:pt x="78194" y="43103"/>
                        </a:lnTo>
                        <a:close/>
                      </a:path>
                    </a:pathLst>
                  </a:custGeom>
                  <a:solidFill>
                    <a:srgbClr val="004876"/>
                  </a:solidFill>
                </p:spPr>
                <p:txBody>
                  <a:bodyPr wrap="square" lIns="0" tIns="0" rIns="0" bIns="0" rtlCol="0"/>
                  <a:lstStyle/>
                  <a:p>
                    <a:endParaRPr/>
                  </a:p>
                </p:txBody>
              </p:sp>
              <p:pic>
                <p:nvPicPr>
                  <p:cNvPr id="50" name="object 74">
                    <a:extLst>
                      <a:ext uri="{FF2B5EF4-FFF2-40B4-BE49-F238E27FC236}">
                        <a16:creationId xmlns:a16="http://schemas.microsoft.com/office/drawing/2014/main" id="{9A5F1D59-9648-2DA7-0BFA-FA61A58CDA75}"/>
                      </a:ext>
                    </a:extLst>
                  </p:cNvPr>
                  <p:cNvPicPr/>
                  <p:nvPr/>
                </p:nvPicPr>
                <p:blipFill>
                  <a:blip r:embed="rId20" cstate="print"/>
                  <a:stretch>
                    <a:fillRect/>
                  </a:stretch>
                </p:blipFill>
                <p:spPr>
                  <a:xfrm>
                    <a:off x="576198" y="845565"/>
                    <a:ext cx="203085" cy="229552"/>
                  </a:xfrm>
                  <a:prstGeom prst="rect">
                    <a:avLst/>
                  </a:prstGeom>
                </p:spPr>
              </p:pic>
              <p:pic>
                <p:nvPicPr>
                  <p:cNvPr id="51" name="object 75">
                    <a:extLst>
                      <a:ext uri="{FF2B5EF4-FFF2-40B4-BE49-F238E27FC236}">
                        <a16:creationId xmlns:a16="http://schemas.microsoft.com/office/drawing/2014/main" id="{4268F195-CA4A-F252-398D-6E1688012406}"/>
                      </a:ext>
                    </a:extLst>
                  </p:cNvPr>
                  <p:cNvPicPr/>
                  <p:nvPr/>
                </p:nvPicPr>
                <p:blipFill>
                  <a:blip r:embed="rId21" cstate="print"/>
                  <a:stretch>
                    <a:fillRect/>
                  </a:stretch>
                </p:blipFill>
                <p:spPr>
                  <a:xfrm>
                    <a:off x="566978" y="834692"/>
                    <a:ext cx="222110" cy="251460"/>
                  </a:xfrm>
                  <a:prstGeom prst="rect">
                    <a:avLst/>
                  </a:prstGeom>
                </p:spPr>
              </p:pic>
              <p:pic>
                <p:nvPicPr>
                  <p:cNvPr id="52" name="object 76">
                    <a:extLst>
                      <a:ext uri="{FF2B5EF4-FFF2-40B4-BE49-F238E27FC236}">
                        <a16:creationId xmlns:a16="http://schemas.microsoft.com/office/drawing/2014/main" id="{ACB08DED-1A91-7F6E-BFC5-CF5ED8FD0EA4}"/>
                      </a:ext>
                    </a:extLst>
                  </p:cNvPr>
                  <p:cNvPicPr/>
                  <p:nvPr/>
                </p:nvPicPr>
                <p:blipFill>
                  <a:blip r:embed="rId22" cstate="print"/>
                  <a:stretch>
                    <a:fillRect/>
                  </a:stretch>
                </p:blipFill>
                <p:spPr>
                  <a:xfrm>
                    <a:off x="811326" y="799172"/>
                    <a:ext cx="252539" cy="108661"/>
                  </a:xfrm>
                  <a:prstGeom prst="rect">
                    <a:avLst/>
                  </a:prstGeom>
                </p:spPr>
              </p:pic>
              <p:sp>
                <p:nvSpPr>
                  <p:cNvPr id="53" name="object 77">
                    <a:extLst>
                      <a:ext uri="{FF2B5EF4-FFF2-40B4-BE49-F238E27FC236}">
                        <a16:creationId xmlns:a16="http://schemas.microsoft.com/office/drawing/2014/main" id="{4F877F28-64B1-943A-6AA3-BD82BB72423E}"/>
                      </a:ext>
                    </a:extLst>
                  </p:cNvPr>
                  <p:cNvSpPr/>
                  <p:nvPr/>
                </p:nvSpPr>
                <p:spPr>
                  <a:xfrm>
                    <a:off x="799136" y="791736"/>
                    <a:ext cx="285115" cy="124460"/>
                  </a:xfrm>
                  <a:custGeom>
                    <a:avLst/>
                    <a:gdLst/>
                    <a:ahLst/>
                    <a:cxnLst/>
                    <a:rect l="l" t="t" r="r" b="b"/>
                    <a:pathLst>
                      <a:path w="285115" h="124459">
                        <a:moveTo>
                          <a:pt x="49930" y="0"/>
                        </a:moveTo>
                        <a:lnTo>
                          <a:pt x="39435" y="1463"/>
                        </a:lnTo>
                        <a:lnTo>
                          <a:pt x="28397" y="4519"/>
                        </a:lnTo>
                        <a:lnTo>
                          <a:pt x="20345" y="7275"/>
                        </a:lnTo>
                        <a:lnTo>
                          <a:pt x="24015" y="14971"/>
                        </a:lnTo>
                        <a:lnTo>
                          <a:pt x="31249" y="36861"/>
                        </a:lnTo>
                        <a:lnTo>
                          <a:pt x="30919" y="56807"/>
                        </a:lnTo>
                        <a:lnTo>
                          <a:pt x="22953" y="75145"/>
                        </a:lnTo>
                        <a:lnTo>
                          <a:pt x="7277" y="92213"/>
                        </a:lnTo>
                        <a:lnTo>
                          <a:pt x="0" y="98372"/>
                        </a:lnTo>
                        <a:lnTo>
                          <a:pt x="7645" y="104074"/>
                        </a:lnTo>
                        <a:lnTo>
                          <a:pt x="47409" y="121809"/>
                        </a:lnTo>
                        <a:lnTo>
                          <a:pt x="74104" y="124115"/>
                        </a:lnTo>
                        <a:lnTo>
                          <a:pt x="80175" y="124115"/>
                        </a:lnTo>
                        <a:lnTo>
                          <a:pt x="124897" y="122058"/>
                        </a:lnTo>
                        <a:lnTo>
                          <a:pt x="166798" y="117476"/>
                        </a:lnTo>
                        <a:lnTo>
                          <a:pt x="212598" y="110285"/>
                        </a:lnTo>
                        <a:lnTo>
                          <a:pt x="219022" y="108532"/>
                        </a:lnTo>
                        <a:lnTo>
                          <a:pt x="63284" y="108532"/>
                        </a:lnTo>
                        <a:lnTo>
                          <a:pt x="52758" y="107372"/>
                        </a:lnTo>
                        <a:lnTo>
                          <a:pt x="42795" y="105082"/>
                        </a:lnTo>
                        <a:lnTo>
                          <a:pt x="33351" y="101647"/>
                        </a:lnTo>
                        <a:lnTo>
                          <a:pt x="24384" y="97051"/>
                        </a:lnTo>
                        <a:lnTo>
                          <a:pt x="38336" y="79017"/>
                        </a:lnTo>
                        <a:lnTo>
                          <a:pt x="45800" y="59561"/>
                        </a:lnTo>
                        <a:lnTo>
                          <a:pt x="46767" y="38733"/>
                        </a:lnTo>
                        <a:lnTo>
                          <a:pt x="41224" y="16584"/>
                        </a:lnTo>
                        <a:lnTo>
                          <a:pt x="50088" y="14552"/>
                        </a:lnTo>
                        <a:lnTo>
                          <a:pt x="109928" y="14514"/>
                        </a:lnTo>
                        <a:lnTo>
                          <a:pt x="69138" y="1890"/>
                        </a:lnTo>
                        <a:lnTo>
                          <a:pt x="59843" y="138"/>
                        </a:lnTo>
                        <a:lnTo>
                          <a:pt x="49930" y="0"/>
                        </a:lnTo>
                        <a:close/>
                      </a:path>
                      <a:path w="285115" h="124459">
                        <a:moveTo>
                          <a:pt x="109928" y="14514"/>
                        </a:moveTo>
                        <a:lnTo>
                          <a:pt x="58077" y="14514"/>
                        </a:lnTo>
                        <a:lnTo>
                          <a:pt x="64998" y="16470"/>
                        </a:lnTo>
                        <a:lnTo>
                          <a:pt x="114939" y="31795"/>
                        </a:lnTo>
                        <a:lnTo>
                          <a:pt x="161339" y="48406"/>
                        </a:lnTo>
                        <a:lnTo>
                          <a:pt x="204449" y="66399"/>
                        </a:lnTo>
                        <a:lnTo>
                          <a:pt x="244525" y="85875"/>
                        </a:lnTo>
                        <a:lnTo>
                          <a:pt x="209207" y="95527"/>
                        </a:lnTo>
                        <a:lnTo>
                          <a:pt x="194320" y="98074"/>
                        </a:lnTo>
                        <a:lnTo>
                          <a:pt x="157986" y="103277"/>
                        </a:lnTo>
                        <a:lnTo>
                          <a:pt x="110782" y="107857"/>
                        </a:lnTo>
                        <a:lnTo>
                          <a:pt x="63284" y="108532"/>
                        </a:lnTo>
                        <a:lnTo>
                          <a:pt x="219022" y="108532"/>
                        </a:lnTo>
                        <a:lnTo>
                          <a:pt x="284619" y="90638"/>
                        </a:lnTo>
                        <a:lnTo>
                          <a:pt x="268439" y="81595"/>
                        </a:lnTo>
                        <a:lnTo>
                          <a:pt x="224431" y="58931"/>
                        </a:lnTo>
                        <a:lnTo>
                          <a:pt x="176776" y="38185"/>
                        </a:lnTo>
                        <a:lnTo>
                          <a:pt x="125127" y="19218"/>
                        </a:lnTo>
                        <a:lnTo>
                          <a:pt x="109928" y="14514"/>
                        </a:lnTo>
                        <a:close/>
                      </a:path>
                    </a:pathLst>
                  </a:custGeom>
                  <a:solidFill>
                    <a:srgbClr val="004876"/>
                  </a:solidFill>
                </p:spPr>
                <p:txBody>
                  <a:bodyPr wrap="square" lIns="0" tIns="0" rIns="0" bIns="0" rtlCol="0"/>
                  <a:lstStyle/>
                  <a:p>
                    <a:endParaRPr/>
                  </a:p>
                </p:txBody>
              </p:sp>
              <p:pic>
                <p:nvPicPr>
                  <p:cNvPr id="54" name="object 78">
                    <a:extLst>
                      <a:ext uri="{FF2B5EF4-FFF2-40B4-BE49-F238E27FC236}">
                        <a16:creationId xmlns:a16="http://schemas.microsoft.com/office/drawing/2014/main" id="{1588EEEE-CDAF-2908-DA3D-5B4C0D231DA5}"/>
                      </a:ext>
                    </a:extLst>
                  </p:cNvPr>
                  <p:cNvPicPr/>
                  <p:nvPr/>
                </p:nvPicPr>
                <p:blipFill>
                  <a:blip r:embed="rId23" cstate="print"/>
                  <a:stretch>
                    <a:fillRect/>
                  </a:stretch>
                </p:blipFill>
                <p:spPr>
                  <a:xfrm>
                    <a:off x="664354" y="551752"/>
                    <a:ext cx="136371" cy="259283"/>
                  </a:xfrm>
                  <a:prstGeom prst="rect">
                    <a:avLst/>
                  </a:prstGeom>
                </p:spPr>
              </p:pic>
              <p:sp>
                <p:nvSpPr>
                  <p:cNvPr id="55" name="object 79">
                    <a:extLst>
                      <a:ext uri="{FF2B5EF4-FFF2-40B4-BE49-F238E27FC236}">
                        <a16:creationId xmlns:a16="http://schemas.microsoft.com/office/drawing/2014/main" id="{8894771A-493A-B0D7-3414-C214CB2C2FEC}"/>
                      </a:ext>
                    </a:extLst>
                  </p:cNvPr>
                  <p:cNvSpPr/>
                  <p:nvPr/>
                </p:nvSpPr>
                <p:spPr>
                  <a:xfrm>
                    <a:off x="656781" y="542842"/>
                    <a:ext cx="151765" cy="281940"/>
                  </a:xfrm>
                  <a:custGeom>
                    <a:avLst/>
                    <a:gdLst/>
                    <a:ahLst/>
                    <a:cxnLst/>
                    <a:rect l="l" t="t" r="r" b="b"/>
                    <a:pathLst>
                      <a:path w="151765" h="281940">
                        <a:moveTo>
                          <a:pt x="9576" y="0"/>
                        </a:moveTo>
                        <a:lnTo>
                          <a:pt x="6604" y="5105"/>
                        </a:lnTo>
                        <a:lnTo>
                          <a:pt x="2777" y="13250"/>
                        </a:lnTo>
                        <a:lnTo>
                          <a:pt x="639" y="22009"/>
                        </a:lnTo>
                        <a:lnTo>
                          <a:pt x="0" y="32546"/>
                        </a:lnTo>
                        <a:lnTo>
                          <a:pt x="787" y="45542"/>
                        </a:lnTo>
                        <a:lnTo>
                          <a:pt x="6050" y="98771"/>
                        </a:lnTo>
                        <a:lnTo>
                          <a:pt x="14650" y="156111"/>
                        </a:lnTo>
                        <a:lnTo>
                          <a:pt x="23988" y="202678"/>
                        </a:lnTo>
                        <a:lnTo>
                          <a:pt x="34587" y="246216"/>
                        </a:lnTo>
                        <a:lnTo>
                          <a:pt x="62014" y="281368"/>
                        </a:lnTo>
                        <a:lnTo>
                          <a:pt x="66865" y="271551"/>
                        </a:lnTo>
                        <a:lnTo>
                          <a:pt x="72831" y="261475"/>
                        </a:lnTo>
                        <a:lnTo>
                          <a:pt x="78108" y="255346"/>
                        </a:lnTo>
                        <a:lnTo>
                          <a:pt x="58674" y="255346"/>
                        </a:lnTo>
                        <a:lnTo>
                          <a:pt x="54321" y="249872"/>
                        </a:lnTo>
                        <a:lnTo>
                          <a:pt x="38843" y="199633"/>
                        </a:lnTo>
                        <a:lnTo>
                          <a:pt x="29574" y="153436"/>
                        </a:lnTo>
                        <a:lnTo>
                          <a:pt x="23116" y="113675"/>
                        </a:lnTo>
                        <a:lnTo>
                          <a:pt x="15862" y="44043"/>
                        </a:lnTo>
                        <a:lnTo>
                          <a:pt x="15213" y="28681"/>
                        </a:lnTo>
                        <a:lnTo>
                          <a:pt x="15771" y="23271"/>
                        </a:lnTo>
                        <a:lnTo>
                          <a:pt x="16878" y="18834"/>
                        </a:lnTo>
                        <a:lnTo>
                          <a:pt x="38032" y="18834"/>
                        </a:lnTo>
                        <a:lnTo>
                          <a:pt x="36961" y="17384"/>
                        </a:lnTo>
                        <a:lnTo>
                          <a:pt x="31288" y="11061"/>
                        </a:lnTo>
                        <a:lnTo>
                          <a:pt x="24198" y="5548"/>
                        </a:lnTo>
                        <a:lnTo>
                          <a:pt x="15253" y="1625"/>
                        </a:lnTo>
                        <a:lnTo>
                          <a:pt x="9576" y="0"/>
                        </a:lnTo>
                        <a:close/>
                      </a:path>
                      <a:path w="151765" h="281940">
                        <a:moveTo>
                          <a:pt x="113867" y="222732"/>
                        </a:moveTo>
                        <a:lnTo>
                          <a:pt x="73376" y="238810"/>
                        </a:lnTo>
                        <a:lnTo>
                          <a:pt x="58674" y="255346"/>
                        </a:lnTo>
                        <a:lnTo>
                          <a:pt x="78108" y="255346"/>
                        </a:lnTo>
                        <a:lnTo>
                          <a:pt x="79923" y="253237"/>
                        </a:lnTo>
                        <a:lnTo>
                          <a:pt x="88273" y="246705"/>
                        </a:lnTo>
                        <a:lnTo>
                          <a:pt x="98018" y="241744"/>
                        </a:lnTo>
                        <a:lnTo>
                          <a:pt x="108182" y="238736"/>
                        </a:lnTo>
                        <a:lnTo>
                          <a:pt x="118643" y="237804"/>
                        </a:lnTo>
                        <a:lnTo>
                          <a:pt x="150712" y="237804"/>
                        </a:lnTo>
                        <a:lnTo>
                          <a:pt x="150914" y="235788"/>
                        </a:lnTo>
                        <a:lnTo>
                          <a:pt x="151438" y="224942"/>
                        </a:lnTo>
                        <a:lnTo>
                          <a:pt x="136360" y="224942"/>
                        </a:lnTo>
                        <a:lnTo>
                          <a:pt x="124960" y="222942"/>
                        </a:lnTo>
                        <a:lnTo>
                          <a:pt x="113867" y="222732"/>
                        </a:lnTo>
                        <a:close/>
                      </a:path>
                      <a:path w="151765" h="281940">
                        <a:moveTo>
                          <a:pt x="150712" y="237804"/>
                        </a:moveTo>
                        <a:lnTo>
                          <a:pt x="118643" y="237804"/>
                        </a:lnTo>
                        <a:lnTo>
                          <a:pt x="129476" y="238944"/>
                        </a:lnTo>
                        <a:lnTo>
                          <a:pt x="140754" y="242150"/>
                        </a:lnTo>
                        <a:lnTo>
                          <a:pt x="149936" y="245529"/>
                        </a:lnTo>
                        <a:lnTo>
                          <a:pt x="150712" y="237804"/>
                        </a:lnTo>
                        <a:close/>
                      </a:path>
                      <a:path w="151765" h="281940">
                        <a:moveTo>
                          <a:pt x="38032" y="18834"/>
                        </a:moveTo>
                        <a:lnTo>
                          <a:pt x="16878" y="18834"/>
                        </a:lnTo>
                        <a:lnTo>
                          <a:pt x="21806" y="22009"/>
                        </a:lnTo>
                        <a:lnTo>
                          <a:pt x="31737" y="35890"/>
                        </a:lnTo>
                        <a:lnTo>
                          <a:pt x="60405" y="76571"/>
                        </a:lnTo>
                        <a:lnTo>
                          <a:pt x="86403" y="117120"/>
                        </a:lnTo>
                        <a:lnTo>
                          <a:pt x="109902" y="157825"/>
                        </a:lnTo>
                        <a:lnTo>
                          <a:pt x="131077" y="198970"/>
                        </a:lnTo>
                        <a:lnTo>
                          <a:pt x="136360" y="224942"/>
                        </a:lnTo>
                        <a:lnTo>
                          <a:pt x="151438" y="224942"/>
                        </a:lnTo>
                        <a:lnTo>
                          <a:pt x="123223" y="150603"/>
                        </a:lnTo>
                        <a:lnTo>
                          <a:pt x="99374" y="109300"/>
                        </a:lnTo>
                        <a:lnTo>
                          <a:pt x="73006" y="68167"/>
                        </a:lnTo>
                        <a:lnTo>
                          <a:pt x="43942" y="26911"/>
                        </a:lnTo>
                        <a:lnTo>
                          <a:pt x="41656" y="23736"/>
                        </a:lnTo>
                        <a:lnTo>
                          <a:pt x="38032" y="18834"/>
                        </a:lnTo>
                        <a:close/>
                      </a:path>
                    </a:pathLst>
                  </a:custGeom>
                  <a:solidFill>
                    <a:srgbClr val="004876"/>
                  </a:solidFill>
                </p:spPr>
                <p:txBody>
                  <a:bodyPr wrap="square" lIns="0" tIns="0" rIns="0" bIns="0" rtlCol="0"/>
                  <a:lstStyle/>
                  <a:p>
                    <a:endParaRPr/>
                  </a:p>
                </p:txBody>
              </p:sp>
              <p:pic>
                <p:nvPicPr>
                  <p:cNvPr id="56" name="object 80">
                    <a:extLst>
                      <a:ext uri="{FF2B5EF4-FFF2-40B4-BE49-F238E27FC236}">
                        <a16:creationId xmlns:a16="http://schemas.microsoft.com/office/drawing/2014/main" id="{4A5BD05B-F053-5CAC-50A3-98FAF6FF2ECA}"/>
                      </a:ext>
                    </a:extLst>
                  </p:cNvPr>
                  <p:cNvPicPr/>
                  <p:nvPr/>
                </p:nvPicPr>
                <p:blipFill>
                  <a:blip r:embed="rId24" cstate="print"/>
                  <a:stretch>
                    <a:fillRect/>
                  </a:stretch>
                </p:blipFill>
                <p:spPr>
                  <a:xfrm>
                    <a:off x="731405" y="792861"/>
                    <a:ext cx="87160" cy="87680"/>
                  </a:xfrm>
                  <a:prstGeom prst="rect">
                    <a:avLst/>
                  </a:prstGeom>
                </p:spPr>
              </p:pic>
              <p:pic>
                <p:nvPicPr>
                  <p:cNvPr id="57" name="object 81">
                    <a:extLst>
                      <a:ext uri="{FF2B5EF4-FFF2-40B4-BE49-F238E27FC236}">
                        <a16:creationId xmlns:a16="http://schemas.microsoft.com/office/drawing/2014/main" id="{65BF8CA8-6644-81CC-F990-E418EFBC115E}"/>
                      </a:ext>
                    </a:extLst>
                  </p:cNvPr>
                  <p:cNvPicPr/>
                  <p:nvPr/>
                </p:nvPicPr>
                <p:blipFill>
                  <a:blip r:embed="rId25" cstate="print"/>
                  <a:stretch>
                    <a:fillRect/>
                  </a:stretch>
                </p:blipFill>
                <p:spPr>
                  <a:xfrm>
                    <a:off x="723835" y="785375"/>
                    <a:ext cx="102311" cy="102793"/>
                  </a:xfrm>
                  <a:prstGeom prst="rect">
                    <a:avLst/>
                  </a:prstGeom>
                </p:spPr>
              </p:pic>
            </p:grpSp>
          </p:grpSp>
        </p:grpSp>
      </p:grpSp>
      <p:grpSp>
        <p:nvGrpSpPr>
          <p:cNvPr id="99" name="Group 98">
            <a:extLst>
              <a:ext uri="{FF2B5EF4-FFF2-40B4-BE49-F238E27FC236}">
                <a16:creationId xmlns:a16="http://schemas.microsoft.com/office/drawing/2014/main" id="{C1126406-41E2-CA91-B28F-D5EA8FABEDED}"/>
              </a:ext>
            </a:extLst>
          </p:cNvPr>
          <p:cNvGrpSpPr/>
          <p:nvPr/>
        </p:nvGrpSpPr>
        <p:grpSpPr>
          <a:xfrm>
            <a:off x="4355163" y="4890929"/>
            <a:ext cx="3611183" cy="725475"/>
            <a:chOff x="4416088" y="5233528"/>
            <a:chExt cx="3611183" cy="725475"/>
          </a:xfrm>
        </p:grpSpPr>
        <p:sp>
          <p:nvSpPr>
            <p:cNvPr id="39" name="Rectangle 38">
              <a:extLst>
                <a:ext uri="{FF2B5EF4-FFF2-40B4-BE49-F238E27FC236}">
                  <a16:creationId xmlns:a16="http://schemas.microsoft.com/office/drawing/2014/main" id="{CA4A5880-27A0-E1F6-28F0-1F03B685E56B}"/>
                </a:ext>
              </a:extLst>
            </p:cNvPr>
            <p:cNvSpPr/>
            <p:nvPr/>
          </p:nvSpPr>
          <p:spPr>
            <a:xfrm>
              <a:off x="5023194" y="5324273"/>
              <a:ext cx="3004077" cy="565494"/>
            </a:xfrm>
            <a:prstGeom prst="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r>
                <a:rPr lang="en-GB" sz="1400" b="1">
                  <a:ln>
                    <a:noFill/>
                  </a:ln>
                  <a:solidFill>
                    <a:schemeClr val="bg2"/>
                  </a:solidFill>
                  <a:latin typeface="Century Gothic" panose="020B0502020202020204" pitchFamily="34" charset="0"/>
                </a:rPr>
                <a:t>Industry commitments to scale up and decarbonise</a:t>
              </a:r>
              <a:endParaRPr lang="en-GB" sz="2800">
                <a:ln>
                  <a:noFill/>
                </a:ln>
                <a:solidFill>
                  <a:schemeClr val="bg2"/>
                </a:solidFill>
                <a:latin typeface="Century Gothic" panose="020B0502020202020204" pitchFamily="34" charset="0"/>
              </a:endParaRPr>
            </a:p>
          </p:txBody>
        </p:sp>
        <p:grpSp>
          <p:nvGrpSpPr>
            <p:cNvPr id="87" name="Group 86">
              <a:extLst>
                <a:ext uri="{FF2B5EF4-FFF2-40B4-BE49-F238E27FC236}">
                  <a16:creationId xmlns:a16="http://schemas.microsoft.com/office/drawing/2014/main" id="{173301CD-5508-976C-0CB4-526D7943CFA6}"/>
                </a:ext>
              </a:extLst>
            </p:cNvPr>
            <p:cNvGrpSpPr/>
            <p:nvPr/>
          </p:nvGrpSpPr>
          <p:grpSpPr>
            <a:xfrm>
              <a:off x="4416088" y="5233528"/>
              <a:ext cx="725475" cy="725475"/>
              <a:chOff x="4116364" y="2814323"/>
              <a:chExt cx="725475" cy="725475"/>
            </a:xfrm>
          </p:grpSpPr>
          <p:sp>
            <p:nvSpPr>
              <p:cNvPr id="83" name="Oval 82">
                <a:extLst>
                  <a:ext uri="{FF2B5EF4-FFF2-40B4-BE49-F238E27FC236}">
                    <a16:creationId xmlns:a16="http://schemas.microsoft.com/office/drawing/2014/main" id="{BD793C4A-B5ED-2382-9756-CFC3C3AA7F26}"/>
                  </a:ext>
                </a:extLst>
              </p:cNvPr>
              <p:cNvSpPr/>
              <p:nvPr/>
            </p:nvSpPr>
            <p:spPr>
              <a:xfrm>
                <a:off x="4116364" y="2814323"/>
                <a:ext cx="725475" cy="725475"/>
              </a:xfrm>
              <a:prstGeom prst="ellipse">
                <a:avLst/>
              </a:prstGeom>
              <a:solidFill>
                <a:schemeClr val="bg1">
                  <a:lumMod val="95000"/>
                </a:schemeClr>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a:ln>
                    <a:noFill/>
                  </a:ln>
                  <a:solidFill>
                    <a:schemeClr val="bg1"/>
                  </a:solidFill>
                  <a:latin typeface="Century Gothic" panose="020B0502020202020204" pitchFamily="34" charset="0"/>
                </a:endParaRPr>
              </a:p>
            </p:txBody>
          </p:sp>
          <p:grpSp>
            <p:nvGrpSpPr>
              <p:cNvPr id="74" name="object 595">
                <a:extLst>
                  <a:ext uri="{FF2B5EF4-FFF2-40B4-BE49-F238E27FC236}">
                    <a16:creationId xmlns:a16="http://schemas.microsoft.com/office/drawing/2014/main" id="{751D0094-671F-E89C-85AA-9BB3558DE29D}"/>
                  </a:ext>
                </a:extLst>
              </p:cNvPr>
              <p:cNvGrpSpPr/>
              <p:nvPr/>
            </p:nvGrpSpPr>
            <p:grpSpPr>
              <a:xfrm>
                <a:off x="4229917" y="2943542"/>
                <a:ext cx="498369" cy="422891"/>
                <a:chOff x="592908" y="7980646"/>
                <a:chExt cx="876300" cy="743585"/>
              </a:xfrm>
            </p:grpSpPr>
            <p:sp>
              <p:nvSpPr>
                <p:cNvPr id="75" name="object 596">
                  <a:extLst>
                    <a:ext uri="{FF2B5EF4-FFF2-40B4-BE49-F238E27FC236}">
                      <a16:creationId xmlns:a16="http://schemas.microsoft.com/office/drawing/2014/main" id="{9087133F-BE72-6904-298F-F654609CE063}"/>
                    </a:ext>
                  </a:extLst>
                </p:cNvPr>
                <p:cNvSpPr/>
                <p:nvPr/>
              </p:nvSpPr>
              <p:spPr>
                <a:xfrm>
                  <a:off x="592908" y="7980646"/>
                  <a:ext cx="876300" cy="743585"/>
                </a:xfrm>
                <a:custGeom>
                  <a:avLst/>
                  <a:gdLst/>
                  <a:ahLst/>
                  <a:cxnLst/>
                  <a:rect l="l" t="t" r="r" b="b"/>
                  <a:pathLst>
                    <a:path w="876300" h="743584">
                      <a:moveTo>
                        <a:pt x="862864" y="743280"/>
                      </a:moveTo>
                      <a:lnTo>
                        <a:pt x="858519" y="743280"/>
                      </a:lnTo>
                      <a:lnTo>
                        <a:pt x="861009" y="743445"/>
                      </a:lnTo>
                      <a:lnTo>
                        <a:pt x="862864" y="743280"/>
                      </a:lnTo>
                      <a:close/>
                    </a:path>
                    <a:path w="876300" h="743584">
                      <a:moveTo>
                        <a:pt x="33502" y="716726"/>
                      </a:moveTo>
                      <a:lnTo>
                        <a:pt x="14604" y="716813"/>
                      </a:lnTo>
                      <a:lnTo>
                        <a:pt x="6476" y="716991"/>
                      </a:lnTo>
                      <a:lnTo>
                        <a:pt x="444" y="722579"/>
                      </a:lnTo>
                      <a:lnTo>
                        <a:pt x="0" y="737019"/>
                      </a:lnTo>
                      <a:lnTo>
                        <a:pt x="6197" y="742937"/>
                      </a:lnTo>
                      <a:lnTo>
                        <a:pt x="14668" y="743280"/>
                      </a:lnTo>
                      <a:lnTo>
                        <a:pt x="16357" y="743331"/>
                      </a:lnTo>
                      <a:lnTo>
                        <a:pt x="18110" y="743280"/>
                      </a:lnTo>
                      <a:lnTo>
                        <a:pt x="862864" y="743280"/>
                      </a:lnTo>
                      <a:lnTo>
                        <a:pt x="876236" y="723760"/>
                      </a:lnTo>
                      <a:lnTo>
                        <a:pt x="870712" y="717727"/>
                      </a:lnTo>
                      <a:lnTo>
                        <a:pt x="863650" y="716927"/>
                      </a:lnTo>
                      <a:lnTo>
                        <a:pt x="862330" y="716762"/>
                      </a:lnTo>
                      <a:lnTo>
                        <a:pt x="53200" y="716762"/>
                      </a:lnTo>
                      <a:lnTo>
                        <a:pt x="33502" y="716726"/>
                      </a:lnTo>
                      <a:close/>
                    </a:path>
                    <a:path w="876300" h="743584">
                      <a:moveTo>
                        <a:pt x="61264" y="263804"/>
                      </a:moveTo>
                      <a:lnTo>
                        <a:pt x="56870" y="270230"/>
                      </a:lnTo>
                      <a:lnTo>
                        <a:pt x="54444" y="273735"/>
                      </a:lnTo>
                      <a:lnTo>
                        <a:pt x="53365" y="278815"/>
                      </a:lnTo>
                      <a:lnTo>
                        <a:pt x="53322" y="324643"/>
                      </a:lnTo>
                      <a:lnTo>
                        <a:pt x="53200" y="716762"/>
                      </a:lnTo>
                      <a:lnTo>
                        <a:pt x="822693" y="716762"/>
                      </a:lnTo>
                      <a:lnTo>
                        <a:pt x="822528" y="716254"/>
                      </a:lnTo>
                      <a:lnTo>
                        <a:pt x="611898" y="716254"/>
                      </a:lnTo>
                      <a:lnTo>
                        <a:pt x="80060" y="716140"/>
                      </a:lnTo>
                      <a:lnTo>
                        <a:pt x="80060" y="305219"/>
                      </a:lnTo>
                      <a:lnTo>
                        <a:pt x="126384" y="305219"/>
                      </a:lnTo>
                      <a:lnTo>
                        <a:pt x="68491" y="263918"/>
                      </a:lnTo>
                      <a:lnTo>
                        <a:pt x="61264" y="263804"/>
                      </a:lnTo>
                      <a:close/>
                    </a:path>
                    <a:path w="876300" h="743584">
                      <a:moveTo>
                        <a:pt x="861009" y="716597"/>
                      </a:moveTo>
                      <a:lnTo>
                        <a:pt x="858291" y="716762"/>
                      </a:lnTo>
                      <a:lnTo>
                        <a:pt x="862330" y="716762"/>
                      </a:lnTo>
                      <a:lnTo>
                        <a:pt x="861009" y="716597"/>
                      </a:lnTo>
                      <a:close/>
                    </a:path>
                    <a:path w="876300" h="743584">
                      <a:moveTo>
                        <a:pt x="771052" y="27114"/>
                      </a:moveTo>
                      <a:lnTo>
                        <a:pt x="744550" y="27114"/>
                      </a:lnTo>
                      <a:lnTo>
                        <a:pt x="795324" y="716254"/>
                      </a:lnTo>
                      <a:lnTo>
                        <a:pt x="822528" y="716254"/>
                      </a:lnTo>
                      <a:lnTo>
                        <a:pt x="822236" y="715352"/>
                      </a:lnTo>
                      <a:lnTo>
                        <a:pt x="821905" y="714730"/>
                      </a:lnTo>
                      <a:lnTo>
                        <a:pt x="814401" y="614045"/>
                      </a:lnTo>
                      <a:lnTo>
                        <a:pt x="807008" y="514096"/>
                      </a:lnTo>
                      <a:lnTo>
                        <a:pt x="794766" y="345046"/>
                      </a:lnTo>
                      <a:lnTo>
                        <a:pt x="791597" y="302602"/>
                      </a:lnTo>
                      <a:lnTo>
                        <a:pt x="781951" y="175272"/>
                      </a:lnTo>
                      <a:lnTo>
                        <a:pt x="778976" y="135066"/>
                      </a:lnTo>
                      <a:lnTo>
                        <a:pt x="773084" y="54600"/>
                      </a:lnTo>
                      <a:lnTo>
                        <a:pt x="771052" y="27114"/>
                      </a:lnTo>
                      <a:close/>
                    </a:path>
                    <a:path w="876300" h="743584">
                      <a:moveTo>
                        <a:pt x="497370" y="304711"/>
                      </a:moveTo>
                      <a:lnTo>
                        <a:pt x="451434" y="304711"/>
                      </a:lnTo>
                      <a:lnTo>
                        <a:pt x="458891" y="309956"/>
                      </a:lnTo>
                      <a:lnTo>
                        <a:pt x="530113" y="360813"/>
                      </a:lnTo>
                      <a:lnTo>
                        <a:pt x="563431" y="384581"/>
                      </a:lnTo>
                      <a:lnTo>
                        <a:pt x="601624" y="411746"/>
                      </a:lnTo>
                      <a:lnTo>
                        <a:pt x="606031" y="414782"/>
                      </a:lnTo>
                      <a:lnTo>
                        <a:pt x="607275" y="417728"/>
                      </a:lnTo>
                      <a:lnTo>
                        <a:pt x="606783" y="424419"/>
                      </a:lnTo>
                      <a:lnTo>
                        <a:pt x="604415" y="455087"/>
                      </a:lnTo>
                      <a:lnTo>
                        <a:pt x="602060" y="487038"/>
                      </a:lnTo>
                      <a:lnTo>
                        <a:pt x="597458" y="550938"/>
                      </a:lnTo>
                      <a:lnTo>
                        <a:pt x="585266" y="716140"/>
                      </a:lnTo>
                      <a:lnTo>
                        <a:pt x="611907" y="716140"/>
                      </a:lnTo>
                      <a:lnTo>
                        <a:pt x="636386" y="384314"/>
                      </a:lnTo>
                      <a:lnTo>
                        <a:pt x="609409" y="384314"/>
                      </a:lnTo>
                      <a:lnTo>
                        <a:pt x="606374" y="382282"/>
                      </a:lnTo>
                      <a:lnTo>
                        <a:pt x="604342" y="381050"/>
                      </a:lnTo>
                      <a:lnTo>
                        <a:pt x="602424" y="379641"/>
                      </a:lnTo>
                      <a:lnTo>
                        <a:pt x="532095" y="329506"/>
                      </a:lnTo>
                      <a:lnTo>
                        <a:pt x="497370" y="304711"/>
                      </a:lnTo>
                      <a:close/>
                    </a:path>
                    <a:path w="876300" h="743584">
                      <a:moveTo>
                        <a:pt x="126384" y="305219"/>
                      </a:moveTo>
                      <a:lnTo>
                        <a:pt x="80060" y="305219"/>
                      </a:lnTo>
                      <a:lnTo>
                        <a:pt x="82880" y="307022"/>
                      </a:lnTo>
                      <a:lnTo>
                        <a:pt x="85077" y="308368"/>
                      </a:lnTo>
                      <a:lnTo>
                        <a:pt x="87172" y="309956"/>
                      </a:lnTo>
                      <a:lnTo>
                        <a:pt x="114663" y="329539"/>
                      </a:lnTo>
                      <a:lnTo>
                        <a:pt x="241934" y="420370"/>
                      </a:lnTo>
                      <a:lnTo>
                        <a:pt x="248775" y="423855"/>
                      </a:lnTo>
                      <a:lnTo>
                        <a:pt x="265574" y="385622"/>
                      </a:lnTo>
                      <a:lnTo>
                        <a:pt x="239052" y="385622"/>
                      </a:lnTo>
                      <a:lnTo>
                        <a:pt x="204278" y="360789"/>
                      </a:lnTo>
                      <a:lnTo>
                        <a:pt x="160354" y="329506"/>
                      </a:lnTo>
                      <a:lnTo>
                        <a:pt x="126384" y="305219"/>
                      </a:lnTo>
                      <a:close/>
                    </a:path>
                    <a:path w="876300" h="743584">
                      <a:moveTo>
                        <a:pt x="311942" y="304990"/>
                      </a:moveTo>
                      <a:lnTo>
                        <a:pt x="265582" y="304990"/>
                      </a:lnTo>
                      <a:lnTo>
                        <a:pt x="268681" y="307022"/>
                      </a:lnTo>
                      <a:lnTo>
                        <a:pt x="270941" y="308368"/>
                      </a:lnTo>
                      <a:lnTo>
                        <a:pt x="273113" y="309956"/>
                      </a:lnTo>
                      <a:lnTo>
                        <a:pt x="377643" y="384581"/>
                      </a:lnTo>
                      <a:lnTo>
                        <a:pt x="427786" y="420319"/>
                      </a:lnTo>
                      <a:lnTo>
                        <a:pt x="434594" y="423833"/>
                      </a:lnTo>
                      <a:lnTo>
                        <a:pt x="440810" y="424413"/>
                      </a:lnTo>
                      <a:lnTo>
                        <a:pt x="446074" y="422085"/>
                      </a:lnTo>
                      <a:lnTo>
                        <a:pt x="450024" y="416877"/>
                      </a:lnTo>
                      <a:lnTo>
                        <a:pt x="451205" y="414388"/>
                      </a:lnTo>
                      <a:lnTo>
                        <a:pt x="451344" y="411746"/>
                      </a:lnTo>
                      <a:lnTo>
                        <a:pt x="451427" y="385051"/>
                      </a:lnTo>
                      <a:lnTo>
                        <a:pt x="424459" y="385051"/>
                      </a:lnTo>
                      <a:lnTo>
                        <a:pt x="421474" y="383019"/>
                      </a:lnTo>
                      <a:lnTo>
                        <a:pt x="419277" y="381558"/>
                      </a:lnTo>
                      <a:lnTo>
                        <a:pt x="417067" y="380034"/>
                      </a:lnTo>
                      <a:lnTo>
                        <a:pt x="311942" y="304990"/>
                      </a:lnTo>
                      <a:close/>
                    </a:path>
                    <a:path w="876300" h="743584">
                      <a:moveTo>
                        <a:pt x="252488" y="263804"/>
                      </a:moveTo>
                      <a:lnTo>
                        <a:pt x="246621" y="266966"/>
                      </a:lnTo>
                      <a:lnTo>
                        <a:pt x="240690" y="270116"/>
                      </a:lnTo>
                      <a:lnTo>
                        <a:pt x="238959" y="275082"/>
                      </a:lnTo>
                      <a:lnTo>
                        <a:pt x="239052" y="385622"/>
                      </a:lnTo>
                      <a:lnTo>
                        <a:pt x="265574" y="385622"/>
                      </a:lnTo>
                      <a:lnTo>
                        <a:pt x="265582" y="304990"/>
                      </a:lnTo>
                      <a:lnTo>
                        <a:pt x="311942" y="304990"/>
                      </a:lnTo>
                      <a:lnTo>
                        <a:pt x="262305" y="269557"/>
                      </a:lnTo>
                      <a:lnTo>
                        <a:pt x="257454" y="266052"/>
                      </a:lnTo>
                      <a:lnTo>
                        <a:pt x="252488" y="263804"/>
                      </a:lnTo>
                      <a:close/>
                    </a:path>
                    <a:path w="876300" h="743584">
                      <a:moveTo>
                        <a:pt x="438403" y="263804"/>
                      </a:moveTo>
                      <a:lnTo>
                        <a:pt x="432405" y="266966"/>
                      </a:lnTo>
                      <a:lnTo>
                        <a:pt x="426605" y="270065"/>
                      </a:lnTo>
                      <a:lnTo>
                        <a:pt x="424802" y="275082"/>
                      </a:lnTo>
                      <a:lnTo>
                        <a:pt x="424853" y="379641"/>
                      </a:lnTo>
                      <a:lnTo>
                        <a:pt x="424679" y="381558"/>
                      </a:lnTo>
                      <a:lnTo>
                        <a:pt x="424459" y="385051"/>
                      </a:lnTo>
                      <a:lnTo>
                        <a:pt x="451427" y="385051"/>
                      </a:lnTo>
                      <a:lnTo>
                        <a:pt x="451434" y="304711"/>
                      </a:lnTo>
                      <a:lnTo>
                        <a:pt x="497370" y="304711"/>
                      </a:lnTo>
                      <a:lnTo>
                        <a:pt x="448150" y="269557"/>
                      </a:lnTo>
                      <a:lnTo>
                        <a:pt x="443369" y="266115"/>
                      </a:lnTo>
                      <a:lnTo>
                        <a:pt x="438403" y="263804"/>
                      </a:lnTo>
                      <a:close/>
                    </a:path>
                    <a:path w="876300" h="743584">
                      <a:moveTo>
                        <a:pt x="703473" y="0"/>
                      </a:moveTo>
                      <a:lnTo>
                        <a:pt x="642988" y="139"/>
                      </a:lnTo>
                      <a:lnTo>
                        <a:pt x="636054" y="30378"/>
                      </a:lnTo>
                      <a:lnTo>
                        <a:pt x="635431" y="38227"/>
                      </a:lnTo>
                      <a:lnTo>
                        <a:pt x="629057" y="122002"/>
                      </a:lnTo>
                      <a:lnTo>
                        <a:pt x="622731" y="205740"/>
                      </a:lnTo>
                      <a:lnTo>
                        <a:pt x="611725" y="357195"/>
                      </a:lnTo>
                      <a:lnTo>
                        <a:pt x="611249" y="363183"/>
                      </a:lnTo>
                      <a:lnTo>
                        <a:pt x="609409" y="384314"/>
                      </a:lnTo>
                      <a:lnTo>
                        <a:pt x="636386" y="384314"/>
                      </a:lnTo>
                      <a:lnTo>
                        <a:pt x="662736" y="27114"/>
                      </a:lnTo>
                      <a:lnTo>
                        <a:pt x="771052" y="27114"/>
                      </a:lnTo>
                      <a:lnTo>
                        <a:pt x="769429" y="5156"/>
                      </a:lnTo>
                      <a:lnTo>
                        <a:pt x="764120" y="139"/>
                      </a:lnTo>
                      <a:lnTo>
                        <a:pt x="703473" y="0"/>
                      </a:lnTo>
                      <a:close/>
                    </a:path>
                  </a:pathLst>
                </a:custGeom>
                <a:solidFill>
                  <a:srgbClr val="004876"/>
                </a:solidFill>
              </p:spPr>
              <p:txBody>
                <a:bodyPr wrap="square" lIns="0" tIns="0" rIns="0" bIns="0" rtlCol="0"/>
                <a:lstStyle/>
                <a:p>
                  <a:endParaRPr/>
                </a:p>
              </p:txBody>
            </p:sp>
            <p:pic>
              <p:nvPicPr>
                <p:cNvPr id="76" name="object 597">
                  <a:extLst>
                    <a:ext uri="{FF2B5EF4-FFF2-40B4-BE49-F238E27FC236}">
                      <a16:creationId xmlns:a16="http://schemas.microsoft.com/office/drawing/2014/main" id="{D763FD95-0727-D109-9EF6-4EC5401E340A}"/>
                    </a:ext>
                  </a:extLst>
                </p:cNvPr>
                <p:cNvPicPr/>
                <p:nvPr/>
              </p:nvPicPr>
              <p:blipFill>
                <a:blip r:embed="rId26" cstate="print"/>
                <a:stretch>
                  <a:fillRect/>
                </a:stretch>
              </p:blipFill>
              <p:spPr>
                <a:xfrm>
                  <a:off x="672998" y="8007743"/>
                  <a:ext cx="715263" cy="689152"/>
                </a:xfrm>
                <a:prstGeom prst="rect">
                  <a:avLst/>
                </a:prstGeom>
              </p:spPr>
            </p:pic>
            <p:sp>
              <p:nvSpPr>
                <p:cNvPr id="77" name="object 598">
                  <a:extLst>
                    <a:ext uri="{FF2B5EF4-FFF2-40B4-BE49-F238E27FC236}">
                      <a16:creationId xmlns:a16="http://schemas.microsoft.com/office/drawing/2014/main" id="{F3FEB242-D860-388F-FD42-8DD570E25C9E}"/>
                    </a:ext>
                  </a:extLst>
                </p:cNvPr>
                <p:cNvSpPr/>
                <p:nvPr/>
              </p:nvSpPr>
              <p:spPr>
                <a:xfrm>
                  <a:off x="765568" y="8484882"/>
                  <a:ext cx="332105" cy="133350"/>
                </a:xfrm>
                <a:custGeom>
                  <a:avLst/>
                  <a:gdLst/>
                  <a:ahLst/>
                  <a:cxnLst/>
                  <a:rect l="l" t="t" r="r" b="b"/>
                  <a:pathLst>
                    <a:path w="332105" h="133350">
                      <a:moveTo>
                        <a:pt x="66382" y="20307"/>
                      </a:moveTo>
                      <a:lnTo>
                        <a:pt x="66217" y="6362"/>
                      </a:lnTo>
                      <a:lnTo>
                        <a:pt x="60172" y="381"/>
                      </a:lnTo>
                      <a:lnTo>
                        <a:pt x="52222" y="215"/>
                      </a:lnTo>
                      <a:lnTo>
                        <a:pt x="33096" y="50"/>
                      </a:lnTo>
                      <a:lnTo>
                        <a:pt x="6007" y="381"/>
                      </a:lnTo>
                      <a:lnTo>
                        <a:pt x="38" y="6477"/>
                      </a:lnTo>
                      <a:lnTo>
                        <a:pt x="139" y="20701"/>
                      </a:lnTo>
                      <a:lnTo>
                        <a:pt x="6184" y="26390"/>
                      </a:lnTo>
                      <a:lnTo>
                        <a:pt x="20345" y="26898"/>
                      </a:lnTo>
                      <a:lnTo>
                        <a:pt x="26441" y="26733"/>
                      </a:lnTo>
                      <a:lnTo>
                        <a:pt x="32588" y="26733"/>
                      </a:lnTo>
                      <a:lnTo>
                        <a:pt x="50977" y="26733"/>
                      </a:lnTo>
                      <a:lnTo>
                        <a:pt x="60350" y="26111"/>
                      </a:lnTo>
                      <a:lnTo>
                        <a:pt x="66382" y="20307"/>
                      </a:lnTo>
                      <a:close/>
                    </a:path>
                    <a:path w="332105" h="133350">
                      <a:moveTo>
                        <a:pt x="66408" y="126695"/>
                      </a:moveTo>
                      <a:lnTo>
                        <a:pt x="66179" y="112483"/>
                      </a:lnTo>
                      <a:lnTo>
                        <a:pt x="60147" y="106553"/>
                      </a:lnTo>
                      <a:lnTo>
                        <a:pt x="42608" y="106286"/>
                      </a:lnTo>
                      <a:lnTo>
                        <a:pt x="23482" y="106286"/>
                      </a:lnTo>
                      <a:lnTo>
                        <a:pt x="5930" y="106616"/>
                      </a:lnTo>
                      <a:lnTo>
                        <a:pt x="0" y="112699"/>
                      </a:lnTo>
                      <a:lnTo>
                        <a:pt x="165" y="126923"/>
                      </a:lnTo>
                      <a:lnTo>
                        <a:pt x="6210" y="132562"/>
                      </a:lnTo>
                      <a:lnTo>
                        <a:pt x="20370" y="133070"/>
                      </a:lnTo>
                      <a:lnTo>
                        <a:pt x="26517" y="132905"/>
                      </a:lnTo>
                      <a:lnTo>
                        <a:pt x="32613" y="132905"/>
                      </a:lnTo>
                      <a:lnTo>
                        <a:pt x="51739" y="132905"/>
                      </a:lnTo>
                      <a:lnTo>
                        <a:pt x="60147" y="132448"/>
                      </a:lnTo>
                      <a:lnTo>
                        <a:pt x="66408" y="126695"/>
                      </a:lnTo>
                      <a:close/>
                    </a:path>
                    <a:path w="332105" h="133350">
                      <a:moveTo>
                        <a:pt x="199072" y="112649"/>
                      </a:moveTo>
                      <a:lnTo>
                        <a:pt x="192976" y="106616"/>
                      </a:lnTo>
                      <a:lnTo>
                        <a:pt x="165925" y="106222"/>
                      </a:lnTo>
                      <a:lnTo>
                        <a:pt x="138811" y="106553"/>
                      </a:lnTo>
                      <a:lnTo>
                        <a:pt x="132829" y="112598"/>
                      </a:lnTo>
                      <a:lnTo>
                        <a:pt x="132829" y="126758"/>
                      </a:lnTo>
                      <a:lnTo>
                        <a:pt x="138861" y="132511"/>
                      </a:lnTo>
                      <a:lnTo>
                        <a:pt x="152971" y="133070"/>
                      </a:lnTo>
                      <a:lnTo>
                        <a:pt x="159118" y="132905"/>
                      </a:lnTo>
                      <a:lnTo>
                        <a:pt x="165214" y="132905"/>
                      </a:lnTo>
                      <a:lnTo>
                        <a:pt x="185077" y="132905"/>
                      </a:lnTo>
                      <a:lnTo>
                        <a:pt x="192976" y="132346"/>
                      </a:lnTo>
                      <a:lnTo>
                        <a:pt x="199072" y="126644"/>
                      </a:lnTo>
                      <a:lnTo>
                        <a:pt x="199072" y="112649"/>
                      </a:lnTo>
                      <a:close/>
                    </a:path>
                    <a:path w="332105" h="133350">
                      <a:moveTo>
                        <a:pt x="199072" y="6540"/>
                      </a:moveTo>
                      <a:lnTo>
                        <a:pt x="193040" y="558"/>
                      </a:lnTo>
                      <a:lnTo>
                        <a:pt x="178765" y="0"/>
                      </a:lnTo>
                      <a:lnTo>
                        <a:pt x="172389" y="165"/>
                      </a:lnTo>
                      <a:lnTo>
                        <a:pt x="166014" y="165"/>
                      </a:lnTo>
                      <a:lnTo>
                        <a:pt x="159639" y="165"/>
                      </a:lnTo>
                      <a:lnTo>
                        <a:pt x="153263" y="0"/>
                      </a:lnTo>
                      <a:lnTo>
                        <a:pt x="138938" y="508"/>
                      </a:lnTo>
                      <a:lnTo>
                        <a:pt x="132892" y="6261"/>
                      </a:lnTo>
                      <a:lnTo>
                        <a:pt x="132778" y="20421"/>
                      </a:lnTo>
                      <a:lnTo>
                        <a:pt x="138760" y="26454"/>
                      </a:lnTo>
                      <a:lnTo>
                        <a:pt x="156311" y="26797"/>
                      </a:lnTo>
                      <a:lnTo>
                        <a:pt x="175412" y="26797"/>
                      </a:lnTo>
                      <a:lnTo>
                        <a:pt x="192989" y="26454"/>
                      </a:lnTo>
                      <a:lnTo>
                        <a:pt x="198970" y="20472"/>
                      </a:lnTo>
                      <a:lnTo>
                        <a:pt x="199072" y="6540"/>
                      </a:lnTo>
                      <a:close/>
                    </a:path>
                    <a:path w="332105" h="133350">
                      <a:moveTo>
                        <a:pt x="331825" y="20345"/>
                      </a:moveTo>
                      <a:lnTo>
                        <a:pt x="331774" y="6413"/>
                      </a:lnTo>
                      <a:lnTo>
                        <a:pt x="325678" y="381"/>
                      </a:lnTo>
                      <a:lnTo>
                        <a:pt x="317728" y="203"/>
                      </a:lnTo>
                      <a:lnTo>
                        <a:pt x="298589" y="50"/>
                      </a:lnTo>
                      <a:lnTo>
                        <a:pt x="271513" y="381"/>
                      </a:lnTo>
                      <a:lnTo>
                        <a:pt x="265531" y="6477"/>
                      </a:lnTo>
                      <a:lnTo>
                        <a:pt x="265645" y="20637"/>
                      </a:lnTo>
                      <a:lnTo>
                        <a:pt x="271627" y="26327"/>
                      </a:lnTo>
                      <a:lnTo>
                        <a:pt x="285788" y="26898"/>
                      </a:lnTo>
                      <a:lnTo>
                        <a:pt x="298030" y="26670"/>
                      </a:lnTo>
                      <a:lnTo>
                        <a:pt x="304634" y="26670"/>
                      </a:lnTo>
                      <a:lnTo>
                        <a:pt x="311238" y="26898"/>
                      </a:lnTo>
                      <a:lnTo>
                        <a:pt x="325793" y="26327"/>
                      </a:lnTo>
                      <a:lnTo>
                        <a:pt x="331825" y="20345"/>
                      </a:lnTo>
                      <a:close/>
                    </a:path>
                    <a:path w="332105" h="133350">
                      <a:moveTo>
                        <a:pt x="331889" y="126530"/>
                      </a:moveTo>
                      <a:lnTo>
                        <a:pt x="331774" y="112598"/>
                      </a:lnTo>
                      <a:lnTo>
                        <a:pt x="325678" y="106553"/>
                      </a:lnTo>
                      <a:lnTo>
                        <a:pt x="298589" y="106222"/>
                      </a:lnTo>
                      <a:lnTo>
                        <a:pt x="271513" y="106553"/>
                      </a:lnTo>
                      <a:lnTo>
                        <a:pt x="265531" y="112649"/>
                      </a:lnTo>
                      <a:lnTo>
                        <a:pt x="265645" y="126809"/>
                      </a:lnTo>
                      <a:lnTo>
                        <a:pt x="271627" y="132562"/>
                      </a:lnTo>
                      <a:lnTo>
                        <a:pt x="285788" y="133070"/>
                      </a:lnTo>
                      <a:lnTo>
                        <a:pt x="291884" y="132905"/>
                      </a:lnTo>
                      <a:lnTo>
                        <a:pt x="298030" y="132905"/>
                      </a:lnTo>
                      <a:lnTo>
                        <a:pt x="317893" y="132905"/>
                      </a:lnTo>
                      <a:lnTo>
                        <a:pt x="325793" y="132346"/>
                      </a:lnTo>
                      <a:lnTo>
                        <a:pt x="331889" y="126530"/>
                      </a:lnTo>
                      <a:close/>
                    </a:path>
                  </a:pathLst>
                </a:custGeom>
                <a:solidFill>
                  <a:srgbClr val="004876"/>
                </a:solidFill>
              </p:spPr>
              <p:txBody>
                <a:bodyPr wrap="square" lIns="0" tIns="0" rIns="0" bIns="0" rtlCol="0"/>
                <a:lstStyle/>
                <a:p>
                  <a:endParaRPr/>
                </a:p>
              </p:txBody>
            </p:sp>
          </p:grpSp>
        </p:grpSp>
      </p:grpSp>
      <p:sp>
        <p:nvSpPr>
          <p:cNvPr id="41" name="Rectangle 40">
            <a:extLst>
              <a:ext uri="{FF2B5EF4-FFF2-40B4-BE49-F238E27FC236}">
                <a16:creationId xmlns:a16="http://schemas.microsoft.com/office/drawing/2014/main" id="{C31506A8-4894-2D6F-9446-8E667E3C57E4}"/>
              </a:ext>
            </a:extLst>
          </p:cNvPr>
          <p:cNvSpPr/>
          <p:nvPr/>
        </p:nvSpPr>
        <p:spPr>
          <a:xfrm>
            <a:off x="8987239" y="4991765"/>
            <a:ext cx="3004077" cy="550081"/>
          </a:xfrm>
          <a:prstGeom prst="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r>
              <a:rPr lang="en-GB" sz="1400" b="1">
                <a:ln>
                  <a:noFill/>
                </a:ln>
                <a:solidFill>
                  <a:schemeClr val="bg2"/>
                </a:solidFill>
                <a:latin typeface="Century Gothic" panose="020B0502020202020204" pitchFamily="34" charset="0"/>
              </a:rPr>
              <a:t>National commitments already made (e.g. at COP28)</a:t>
            </a:r>
            <a:endParaRPr lang="en-GB" sz="2800">
              <a:ln>
                <a:noFill/>
              </a:ln>
              <a:solidFill>
                <a:schemeClr val="bg2"/>
              </a:solidFill>
              <a:latin typeface="Century Gothic" panose="020B0502020202020204" pitchFamily="34" charset="0"/>
            </a:endParaRPr>
          </a:p>
        </p:txBody>
      </p:sp>
      <p:grpSp>
        <p:nvGrpSpPr>
          <p:cNvPr id="86" name="Group 85">
            <a:extLst>
              <a:ext uri="{FF2B5EF4-FFF2-40B4-BE49-F238E27FC236}">
                <a16:creationId xmlns:a16="http://schemas.microsoft.com/office/drawing/2014/main" id="{0E6BB659-2619-86B0-DA60-66D5077E7B5F}"/>
              </a:ext>
            </a:extLst>
          </p:cNvPr>
          <p:cNvGrpSpPr/>
          <p:nvPr/>
        </p:nvGrpSpPr>
        <p:grpSpPr>
          <a:xfrm>
            <a:off x="8322211" y="4890929"/>
            <a:ext cx="725475" cy="725475"/>
            <a:chOff x="4922326" y="4454848"/>
            <a:chExt cx="725475" cy="725475"/>
          </a:xfrm>
        </p:grpSpPr>
        <p:sp>
          <p:nvSpPr>
            <p:cNvPr id="85" name="Oval 84">
              <a:extLst>
                <a:ext uri="{FF2B5EF4-FFF2-40B4-BE49-F238E27FC236}">
                  <a16:creationId xmlns:a16="http://schemas.microsoft.com/office/drawing/2014/main" id="{7E1488F1-7516-2666-A751-C977DFF36151}"/>
                </a:ext>
              </a:extLst>
            </p:cNvPr>
            <p:cNvSpPr/>
            <p:nvPr/>
          </p:nvSpPr>
          <p:spPr>
            <a:xfrm>
              <a:off x="4922326" y="4454848"/>
              <a:ext cx="725475" cy="725475"/>
            </a:xfrm>
            <a:prstGeom prst="ellipse">
              <a:avLst/>
            </a:prstGeom>
            <a:solidFill>
              <a:schemeClr val="bg1">
                <a:lumMod val="95000"/>
              </a:schemeClr>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a:ln>
                  <a:noFill/>
                </a:ln>
                <a:solidFill>
                  <a:schemeClr val="bg1"/>
                </a:solidFill>
                <a:latin typeface="Century Gothic" panose="020B0502020202020204" pitchFamily="34" charset="0"/>
              </a:endParaRPr>
            </a:p>
          </p:txBody>
        </p:sp>
        <p:grpSp>
          <p:nvGrpSpPr>
            <p:cNvPr id="78" name="object 2">
              <a:extLst>
                <a:ext uri="{FF2B5EF4-FFF2-40B4-BE49-F238E27FC236}">
                  <a16:creationId xmlns:a16="http://schemas.microsoft.com/office/drawing/2014/main" id="{4816F531-246A-40C7-0A10-F6479782DFC6}"/>
                </a:ext>
              </a:extLst>
            </p:cNvPr>
            <p:cNvGrpSpPr/>
            <p:nvPr/>
          </p:nvGrpSpPr>
          <p:grpSpPr>
            <a:xfrm>
              <a:off x="5100497" y="4595933"/>
              <a:ext cx="369133" cy="443304"/>
              <a:chOff x="8161240" y="7944367"/>
              <a:chExt cx="679450" cy="815975"/>
            </a:xfrm>
          </p:grpSpPr>
          <p:sp>
            <p:nvSpPr>
              <p:cNvPr id="79" name="object 3">
                <a:extLst>
                  <a:ext uri="{FF2B5EF4-FFF2-40B4-BE49-F238E27FC236}">
                    <a16:creationId xmlns:a16="http://schemas.microsoft.com/office/drawing/2014/main" id="{D32EF4FC-F52F-3DAB-6A62-9E0F7EAEC882}"/>
                  </a:ext>
                </a:extLst>
              </p:cNvPr>
              <p:cNvSpPr/>
              <p:nvPr/>
            </p:nvSpPr>
            <p:spPr>
              <a:xfrm>
                <a:off x="8248916" y="8019110"/>
                <a:ext cx="591820" cy="741045"/>
              </a:xfrm>
              <a:custGeom>
                <a:avLst/>
                <a:gdLst/>
                <a:ahLst/>
                <a:cxnLst/>
                <a:rect l="l" t="t" r="r" b="b"/>
                <a:pathLst>
                  <a:path w="591820" h="741045">
                    <a:moveTo>
                      <a:pt x="486765" y="65062"/>
                    </a:moveTo>
                    <a:lnTo>
                      <a:pt x="486346" y="57759"/>
                    </a:lnTo>
                    <a:lnTo>
                      <a:pt x="483463" y="8407"/>
                    </a:lnTo>
                    <a:lnTo>
                      <a:pt x="482968" y="0"/>
                    </a:lnTo>
                    <a:lnTo>
                      <a:pt x="0" y="26784"/>
                    </a:lnTo>
                    <a:lnTo>
                      <a:pt x="37350" y="700100"/>
                    </a:lnTo>
                    <a:lnTo>
                      <a:pt x="65887" y="698715"/>
                    </a:lnTo>
                    <a:lnTo>
                      <a:pt x="65544" y="691730"/>
                    </a:lnTo>
                    <a:lnTo>
                      <a:pt x="65316" y="687095"/>
                    </a:lnTo>
                    <a:lnTo>
                      <a:pt x="64935" y="679132"/>
                    </a:lnTo>
                    <a:lnTo>
                      <a:pt x="64909" y="678713"/>
                    </a:lnTo>
                    <a:lnTo>
                      <a:pt x="56210" y="679132"/>
                    </a:lnTo>
                    <a:lnTo>
                      <a:pt x="21069" y="45618"/>
                    </a:lnTo>
                    <a:lnTo>
                      <a:pt x="464159" y="21069"/>
                    </a:lnTo>
                    <a:lnTo>
                      <a:pt x="466737" y="66217"/>
                    </a:lnTo>
                    <a:lnTo>
                      <a:pt x="486765" y="65062"/>
                    </a:lnTo>
                    <a:close/>
                  </a:path>
                  <a:path w="591820" h="741045">
                    <a:moveTo>
                      <a:pt x="551472" y="66382"/>
                    </a:moveTo>
                    <a:lnTo>
                      <a:pt x="543483" y="66382"/>
                    </a:lnTo>
                    <a:lnTo>
                      <a:pt x="543483" y="725131"/>
                    </a:lnTo>
                    <a:lnTo>
                      <a:pt x="543483" y="725512"/>
                    </a:lnTo>
                    <a:lnTo>
                      <a:pt x="539445" y="725512"/>
                    </a:lnTo>
                    <a:lnTo>
                      <a:pt x="539445" y="725131"/>
                    </a:lnTo>
                    <a:lnTo>
                      <a:pt x="543483" y="725131"/>
                    </a:lnTo>
                    <a:lnTo>
                      <a:pt x="543483" y="66382"/>
                    </a:lnTo>
                    <a:lnTo>
                      <a:pt x="535444" y="66382"/>
                    </a:lnTo>
                    <a:lnTo>
                      <a:pt x="535444" y="86702"/>
                    </a:lnTo>
                    <a:lnTo>
                      <a:pt x="531456" y="86728"/>
                    </a:lnTo>
                    <a:lnTo>
                      <a:pt x="531456" y="721144"/>
                    </a:lnTo>
                    <a:lnTo>
                      <a:pt x="535444" y="721144"/>
                    </a:lnTo>
                    <a:lnTo>
                      <a:pt x="535444" y="721702"/>
                    </a:lnTo>
                    <a:lnTo>
                      <a:pt x="87757" y="721702"/>
                    </a:lnTo>
                    <a:lnTo>
                      <a:pt x="87757" y="86702"/>
                    </a:lnTo>
                    <a:lnTo>
                      <a:pt x="535444" y="86702"/>
                    </a:lnTo>
                    <a:lnTo>
                      <a:pt x="535444" y="66382"/>
                    </a:lnTo>
                    <a:lnTo>
                      <a:pt x="67754" y="66382"/>
                    </a:lnTo>
                    <a:lnTo>
                      <a:pt x="67754" y="75272"/>
                    </a:lnTo>
                    <a:lnTo>
                      <a:pt x="67754" y="733132"/>
                    </a:lnTo>
                    <a:lnTo>
                      <a:pt x="67754" y="740752"/>
                    </a:lnTo>
                    <a:lnTo>
                      <a:pt x="551472" y="740752"/>
                    </a:lnTo>
                    <a:lnTo>
                      <a:pt x="551472" y="733183"/>
                    </a:lnTo>
                    <a:lnTo>
                      <a:pt x="551472" y="75272"/>
                    </a:lnTo>
                    <a:lnTo>
                      <a:pt x="551472" y="74714"/>
                    </a:lnTo>
                    <a:lnTo>
                      <a:pt x="551472" y="66382"/>
                    </a:lnTo>
                    <a:close/>
                  </a:path>
                  <a:path w="591820" h="741045">
                    <a:moveTo>
                      <a:pt x="591515" y="100190"/>
                    </a:moveTo>
                    <a:lnTo>
                      <a:pt x="553466" y="100190"/>
                    </a:lnTo>
                    <a:lnTo>
                      <a:pt x="553466" y="107810"/>
                    </a:lnTo>
                    <a:lnTo>
                      <a:pt x="553466" y="111620"/>
                    </a:lnTo>
                    <a:lnTo>
                      <a:pt x="553466" y="120510"/>
                    </a:lnTo>
                    <a:lnTo>
                      <a:pt x="571487" y="120510"/>
                    </a:lnTo>
                    <a:lnTo>
                      <a:pt x="571487" y="688200"/>
                    </a:lnTo>
                    <a:lnTo>
                      <a:pt x="553466" y="688200"/>
                    </a:lnTo>
                    <a:lnTo>
                      <a:pt x="553466" y="695820"/>
                    </a:lnTo>
                    <a:lnTo>
                      <a:pt x="553466" y="699630"/>
                    </a:lnTo>
                    <a:lnTo>
                      <a:pt x="553466" y="707250"/>
                    </a:lnTo>
                    <a:lnTo>
                      <a:pt x="591515" y="707250"/>
                    </a:lnTo>
                    <a:lnTo>
                      <a:pt x="591515" y="699706"/>
                    </a:lnTo>
                    <a:lnTo>
                      <a:pt x="591515" y="108178"/>
                    </a:lnTo>
                    <a:lnTo>
                      <a:pt x="587489" y="108178"/>
                    </a:lnTo>
                    <a:lnTo>
                      <a:pt x="587489" y="107810"/>
                    </a:lnTo>
                    <a:lnTo>
                      <a:pt x="591515" y="107810"/>
                    </a:lnTo>
                    <a:lnTo>
                      <a:pt x="591515" y="100190"/>
                    </a:lnTo>
                    <a:close/>
                  </a:path>
                </a:pathLst>
              </a:custGeom>
              <a:solidFill>
                <a:srgbClr val="004876"/>
              </a:solidFill>
            </p:spPr>
            <p:txBody>
              <a:bodyPr wrap="square" lIns="0" tIns="0" rIns="0" bIns="0" rtlCol="0"/>
              <a:lstStyle/>
              <a:p>
                <a:endParaRPr/>
              </a:p>
            </p:txBody>
          </p:sp>
          <p:pic>
            <p:nvPicPr>
              <p:cNvPr id="80" name="object 4">
                <a:extLst>
                  <a:ext uri="{FF2B5EF4-FFF2-40B4-BE49-F238E27FC236}">
                    <a16:creationId xmlns:a16="http://schemas.microsoft.com/office/drawing/2014/main" id="{1D1570B5-CE0F-BCF5-7D53-DB149EA0DE96}"/>
                  </a:ext>
                </a:extLst>
              </p:cNvPr>
              <p:cNvPicPr/>
              <p:nvPr/>
            </p:nvPicPr>
            <p:blipFill>
              <a:blip r:embed="rId27" cstate="print"/>
              <a:stretch>
                <a:fillRect/>
              </a:stretch>
            </p:blipFill>
            <p:spPr>
              <a:xfrm>
                <a:off x="8576839" y="8551730"/>
                <a:ext cx="159664" cy="159677"/>
              </a:xfrm>
              <a:prstGeom prst="rect">
                <a:avLst/>
              </a:prstGeom>
            </p:spPr>
          </p:pic>
          <p:sp>
            <p:nvSpPr>
              <p:cNvPr id="81" name="object 5">
                <a:extLst>
                  <a:ext uri="{FF2B5EF4-FFF2-40B4-BE49-F238E27FC236}">
                    <a16:creationId xmlns:a16="http://schemas.microsoft.com/office/drawing/2014/main" id="{D141365A-CEF6-8DB0-00D6-023ACA2D35BC}"/>
                  </a:ext>
                </a:extLst>
              </p:cNvPr>
              <p:cNvSpPr/>
              <p:nvPr/>
            </p:nvSpPr>
            <p:spPr>
              <a:xfrm>
                <a:off x="8386559" y="8162963"/>
                <a:ext cx="342900" cy="501650"/>
              </a:xfrm>
              <a:custGeom>
                <a:avLst/>
                <a:gdLst/>
                <a:ahLst/>
                <a:cxnLst/>
                <a:rect l="l" t="t" r="r" b="b"/>
                <a:pathLst>
                  <a:path w="342900" h="501650">
                    <a:moveTo>
                      <a:pt x="102908" y="481330"/>
                    </a:moveTo>
                    <a:lnTo>
                      <a:pt x="0" y="481330"/>
                    </a:lnTo>
                    <a:lnTo>
                      <a:pt x="0" y="490220"/>
                    </a:lnTo>
                    <a:lnTo>
                      <a:pt x="0" y="494030"/>
                    </a:lnTo>
                    <a:lnTo>
                      <a:pt x="0" y="501650"/>
                    </a:lnTo>
                    <a:lnTo>
                      <a:pt x="102908" y="501650"/>
                    </a:lnTo>
                    <a:lnTo>
                      <a:pt x="102908" y="494030"/>
                    </a:lnTo>
                    <a:lnTo>
                      <a:pt x="98907" y="494030"/>
                    </a:lnTo>
                    <a:lnTo>
                      <a:pt x="98907" y="493877"/>
                    </a:lnTo>
                    <a:lnTo>
                      <a:pt x="102908" y="493877"/>
                    </a:lnTo>
                    <a:lnTo>
                      <a:pt x="102908" y="490220"/>
                    </a:lnTo>
                    <a:lnTo>
                      <a:pt x="102908" y="489851"/>
                    </a:lnTo>
                    <a:lnTo>
                      <a:pt x="102908" y="481330"/>
                    </a:lnTo>
                    <a:close/>
                  </a:path>
                  <a:path w="342900" h="501650">
                    <a:moveTo>
                      <a:pt x="158369" y="388620"/>
                    </a:moveTo>
                    <a:lnTo>
                      <a:pt x="0" y="388620"/>
                    </a:lnTo>
                    <a:lnTo>
                      <a:pt x="0" y="396240"/>
                    </a:lnTo>
                    <a:lnTo>
                      <a:pt x="0" y="401320"/>
                    </a:lnTo>
                    <a:lnTo>
                      <a:pt x="0" y="408940"/>
                    </a:lnTo>
                    <a:lnTo>
                      <a:pt x="158369" y="408940"/>
                    </a:lnTo>
                    <a:lnTo>
                      <a:pt x="158369" y="401320"/>
                    </a:lnTo>
                    <a:lnTo>
                      <a:pt x="154368" y="401320"/>
                    </a:lnTo>
                    <a:lnTo>
                      <a:pt x="154368" y="400824"/>
                    </a:lnTo>
                    <a:lnTo>
                      <a:pt x="158369" y="400824"/>
                    </a:lnTo>
                    <a:lnTo>
                      <a:pt x="158369" y="396760"/>
                    </a:lnTo>
                    <a:lnTo>
                      <a:pt x="154368" y="396760"/>
                    </a:lnTo>
                    <a:lnTo>
                      <a:pt x="154368" y="396240"/>
                    </a:lnTo>
                    <a:lnTo>
                      <a:pt x="158369" y="396240"/>
                    </a:lnTo>
                    <a:lnTo>
                      <a:pt x="158369" y="388620"/>
                    </a:lnTo>
                    <a:close/>
                  </a:path>
                  <a:path w="342900" h="501650">
                    <a:moveTo>
                      <a:pt x="186677" y="0"/>
                    </a:moveTo>
                    <a:lnTo>
                      <a:pt x="84023" y="0"/>
                    </a:lnTo>
                    <a:lnTo>
                      <a:pt x="84023" y="8890"/>
                    </a:lnTo>
                    <a:lnTo>
                      <a:pt x="84023" y="12700"/>
                    </a:lnTo>
                    <a:lnTo>
                      <a:pt x="84023" y="20320"/>
                    </a:lnTo>
                    <a:lnTo>
                      <a:pt x="186677" y="20320"/>
                    </a:lnTo>
                    <a:lnTo>
                      <a:pt x="186677" y="12700"/>
                    </a:lnTo>
                    <a:lnTo>
                      <a:pt x="182689" y="12700"/>
                    </a:lnTo>
                    <a:lnTo>
                      <a:pt x="186677" y="12598"/>
                    </a:lnTo>
                    <a:lnTo>
                      <a:pt x="186677" y="8890"/>
                    </a:lnTo>
                    <a:lnTo>
                      <a:pt x="186677" y="8572"/>
                    </a:lnTo>
                    <a:lnTo>
                      <a:pt x="186677" y="0"/>
                    </a:lnTo>
                    <a:close/>
                  </a:path>
                  <a:path w="342900" h="501650">
                    <a:moveTo>
                      <a:pt x="242392" y="596"/>
                    </a:moveTo>
                    <a:lnTo>
                      <a:pt x="201574" y="596"/>
                    </a:lnTo>
                    <a:lnTo>
                      <a:pt x="201574" y="20586"/>
                    </a:lnTo>
                    <a:lnTo>
                      <a:pt x="242392" y="20586"/>
                    </a:lnTo>
                    <a:lnTo>
                      <a:pt x="242392" y="12598"/>
                    </a:lnTo>
                    <a:lnTo>
                      <a:pt x="242392" y="8572"/>
                    </a:lnTo>
                    <a:lnTo>
                      <a:pt x="242392" y="596"/>
                    </a:lnTo>
                    <a:close/>
                  </a:path>
                  <a:path w="342900" h="501650">
                    <a:moveTo>
                      <a:pt x="309753" y="231140"/>
                    </a:moveTo>
                    <a:lnTo>
                      <a:pt x="16002" y="231140"/>
                    </a:lnTo>
                    <a:lnTo>
                      <a:pt x="16002" y="238760"/>
                    </a:lnTo>
                    <a:lnTo>
                      <a:pt x="16002" y="242570"/>
                    </a:lnTo>
                    <a:lnTo>
                      <a:pt x="16002" y="251460"/>
                    </a:lnTo>
                    <a:lnTo>
                      <a:pt x="309753" y="251460"/>
                    </a:lnTo>
                    <a:lnTo>
                      <a:pt x="309753" y="243078"/>
                    </a:lnTo>
                    <a:lnTo>
                      <a:pt x="309753" y="242570"/>
                    </a:lnTo>
                    <a:lnTo>
                      <a:pt x="309753" y="239026"/>
                    </a:lnTo>
                    <a:lnTo>
                      <a:pt x="305765" y="239026"/>
                    </a:lnTo>
                    <a:lnTo>
                      <a:pt x="305765" y="238760"/>
                    </a:lnTo>
                    <a:lnTo>
                      <a:pt x="309753" y="238760"/>
                    </a:lnTo>
                    <a:lnTo>
                      <a:pt x="309753" y="231140"/>
                    </a:lnTo>
                    <a:close/>
                  </a:path>
                  <a:path w="342900" h="501650">
                    <a:moveTo>
                      <a:pt x="309753" y="173990"/>
                    </a:moveTo>
                    <a:lnTo>
                      <a:pt x="16002" y="173990"/>
                    </a:lnTo>
                    <a:lnTo>
                      <a:pt x="16002" y="181610"/>
                    </a:lnTo>
                    <a:lnTo>
                      <a:pt x="16002" y="185420"/>
                    </a:lnTo>
                    <a:lnTo>
                      <a:pt x="16002" y="193040"/>
                    </a:lnTo>
                    <a:lnTo>
                      <a:pt x="309753" y="193040"/>
                    </a:lnTo>
                    <a:lnTo>
                      <a:pt x="309753" y="185458"/>
                    </a:lnTo>
                    <a:lnTo>
                      <a:pt x="309753" y="181610"/>
                    </a:lnTo>
                    <a:lnTo>
                      <a:pt x="309753" y="181394"/>
                    </a:lnTo>
                    <a:lnTo>
                      <a:pt x="309753" y="173990"/>
                    </a:lnTo>
                    <a:close/>
                  </a:path>
                  <a:path w="342900" h="501650">
                    <a:moveTo>
                      <a:pt x="310400" y="58420"/>
                    </a:moveTo>
                    <a:lnTo>
                      <a:pt x="16002" y="58420"/>
                    </a:lnTo>
                    <a:lnTo>
                      <a:pt x="16002" y="66040"/>
                    </a:lnTo>
                    <a:lnTo>
                      <a:pt x="16002" y="69850"/>
                    </a:lnTo>
                    <a:lnTo>
                      <a:pt x="16002" y="78740"/>
                    </a:lnTo>
                    <a:lnTo>
                      <a:pt x="310400" y="78740"/>
                    </a:lnTo>
                    <a:lnTo>
                      <a:pt x="310400" y="70231"/>
                    </a:lnTo>
                    <a:lnTo>
                      <a:pt x="310400" y="69850"/>
                    </a:lnTo>
                    <a:lnTo>
                      <a:pt x="310400" y="66205"/>
                    </a:lnTo>
                    <a:lnTo>
                      <a:pt x="306362" y="66205"/>
                    </a:lnTo>
                    <a:lnTo>
                      <a:pt x="306362" y="66040"/>
                    </a:lnTo>
                    <a:lnTo>
                      <a:pt x="310400" y="66040"/>
                    </a:lnTo>
                    <a:lnTo>
                      <a:pt x="310400" y="58420"/>
                    </a:lnTo>
                    <a:close/>
                  </a:path>
                  <a:path w="342900" h="501650">
                    <a:moveTo>
                      <a:pt x="342506" y="288290"/>
                    </a:moveTo>
                    <a:lnTo>
                      <a:pt x="100774" y="288290"/>
                    </a:lnTo>
                    <a:lnTo>
                      <a:pt x="100774" y="297180"/>
                    </a:lnTo>
                    <a:lnTo>
                      <a:pt x="100774" y="300990"/>
                    </a:lnTo>
                    <a:lnTo>
                      <a:pt x="100774" y="308610"/>
                    </a:lnTo>
                    <a:lnTo>
                      <a:pt x="342506" y="308610"/>
                    </a:lnTo>
                    <a:lnTo>
                      <a:pt x="342506" y="300990"/>
                    </a:lnTo>
                    <a:lnTo>
                      <a:pt x="338480" y="300990"/>
                    </a:lnTo>
                    <a:lnTo>
                      <a:pt x="338480" y="300672"/>
                    </a:lnTo>
                    <a:lnTo>
                      <a:pt x="342506" y="300672"/>
                    </a:lnTo>
                    <a:lnTo>
                      <a:pt x="342506" y="297180"/>
                    </a:lnTo>
                    <a:lnTo>
                      <a:pt x="342506" y="296621"/>
                    </a:lnTo>
                    <a:lnTo>
                      <a:pt x="342506" y="288290"/>
                    </a:lnTo>
                    <a:close/>
                  </a:path>
                  <a:path w="342900" h="501650">
                    <a:moveTo>
                      <a:pt x="342506" y="115570"/>
                    </a:moveTo>
                    <a:lnTo>
                      <a:pt x="37020" y="115570"/>
                    </a:lnTo>
                    <a:lnTo>
                      <a:pt x="37020" y="123190"/>
                    </a:lnTo>
                    <a:lnTo>
                      <a:pt x="37020" y="128270"/>
                    </a:lnTo>
                    <a:lnTo>
                      <a:pt x="37020" y="135890"/>
                    </a:lnTo>
                    <a:lnTo>
                      <a:pt x="342506" y="135890"/>
                    </a:lnTo>
                    <a:lnTo>
                      <a:pt x="342506" y="128270"/>
                    </a:lnTo>
                    <a:lnTo>
                      <a:pt x="338518" y="128270"/>
                    </a:lnTo>
                    <a:lnTo>
                      <a:pt x="338518" y="127850"/>
                    </a:lnTo>
                    <a:lnTo>
                      <a:pt x="342506" y="127850"/>
                    </a:lnTo>
                    <a:lnTo>
                      <a:pt x="342506" y="123799"/>
                    </a:lnTo>
                    <a:lnTo>
                      <a:pt x="338518" y="123799"/>
                    </a:lnTo>
                    <a:lnTo>
                      <a:pt x="338518" y="123190"/>
                    </a:lnTo>
                    <a:lnTo>
                      <a:pt x="342506" y="123190"/>
                    </a:lnTo>
                    <a:lnTo>
                      <a:pt x="342506" y="115570"/>
                    </a:lnTo>
                    <a:close/>
                  </a:path>
                </a:pathLst>
              </a:custGeom>
              <a:solidFill>
                <a:srgbClr val="004876"/>
              </a:solidFill>
            </p:spPr>
            <p:txBody>
              <a:bodyPr wrap="square" lIns="0" tIns="0" rIns="0" bIns="0" rtlCol="0"/>
              <a:lstStyle/>
              <a:p>
                <a:endParaRPr/>
              </a:p>
            </p:txBody>
          </p:sp>
          <p:pic>
            <p:nvPicPr>
              <p:cNvPr id="82" name="object 6">
                <a:extLst>
                  <a:ext uri="{FF2B5EF4-FFF2-40B4-BE49-F238E27FC236}">
                    <a16:creationId xmlns:a16="http://schemas.microsoft.com/office/drawing/2014/main" id="{BB1C4AB6-D036-03C3-DA24-539DD604107B}"/>
                  </a:ext>
                </a:extLst>
              </p:cNvPr>
              <p:cNvPicPr/>
              <p:nvPr/>
            </p:nvPicPr>
            <p:blipFill>
              <a:blip r:embed="rId28" cstate="print"/>
              <a:stretch>
                <a:fillRect/>
              </a:stretch>
            </p:blipFill>
            <p:spPr>
              <a:xfrm>
                <a:off x="8161240" y="7944367"/>
                <a:ext cx="110150" cy="116442"/>
              </a:xfrm>
              <a:prstGeom prst="rect">
                <a:avLst/>
              </a:prstGeom>
            </p:spPr>
          </p:pic>
        </p:grpSp>
      </p:grpSp>
      <p:cxnSp>
        <p:nvCxnSpPr>
          <p:cNvPr id="91" name="Straight Connector 90">
            <a:extLst>
              <a:ext uri="{FF2B5EF4-FFF2-40B4-BE49-F238E27FC236}">
                <a16:creationId xmlns:a16="http://schemas.microsoft.com/office/drawing/2014/main" id="{B9AF5555-D3C7-ACC5-1955-83295CDAD537}"/>
              </a:ext>
            </a:extLst>
          </p:cNvPr>
          <p:cNvCxnSpPr>
            <a:cxnSpLocks/>
          </p:cNvCxnSpPr>
          <p:nvPr/>
        </p:nvCxnSpPr>
        <p:spPr>
          <a:xfrm flipH="1">
            <a:off x="503605" y="2894703"/>
            <a:ext cx="11184791"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pic>
        <p:nvPicPr>
          <p:cNvPr id="2050" name="Picture 2" descr="Column Icons - Free SVG &amp; PNG Column Images - Noun Project">
            <a:extLst>
              <a:ext uri="{FF2B5EF4-FFF2-40B4-BE49-F238E27FC236}">
                <a16:creationId xmlns:a16="http://schemas.microsoft.com/office/drawing/2014/main" id="{572C3B06-2406-93AC-794A-50A1ADD2E13D}"/>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537101" y="2871617"/>
            <a:ext cx="1905000" cy="2142570"/>
          </a:xfrm>
          <a:prstGeom prst="rect">
            <a:avLst/>
          </a:prstGeom>
          <a:noFill/>
          <a:extLst>
            <a:ext uri="{909E8E84-426E-40DD-AFC4-6F175D3DCCD1}">
              <a14:hiddenFill xmlns:a14="http://schemas.microsoft.com/office/drawing/2010/main">
                <a:solidFill>
                  <a:srgbClr val="FFFFFF"/>
                </a:solidFill>
              </a14:hiddenFill>
            </a:ext>
          </a:extLst>
        </p:spPr>
      </p:pic>
      <p:pic>
        <p:nvPicPr>
          <p:cNvPr id="95" name="Picture 2" descr="Column Icons - Free SVG &amp; PNG Column Images - Noun Project">
            <a:extLst>
              <a:ext uri="{FF2B5EF4-FFF2-40B4-BE49-F238E27FC236}">
                <a16:creationId xmlns:a16="http://schemas.microsoft.com/office/drawing/2014/main" id="{B21EC362-A002-4E94-F71E-10694F3D2B73}"/>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5143500" y="2871617"/>
            <a:ext cx="1905000" cy="2142570"/>
          </a:xfrm>
          <a:prstGeom prst="rect">
            <a:avLst/>
          </a:prstGeom>
          <a:noFill/>
          <a:extLst>
            <a:ext uri="{909E8E84-426E-40DD-AFC4-6F175D3DCCD1}">
              <a14:hiddenFill xmlns:a14="http://schemas.microsoft.com/office/drawing/2010/main">
                <a:solidFill>
                  <a:srgbClr val="FFFFFF"/>
                </a:solidFill>
              </a14:hiddenFill>
            </a:ext>
          </a:extLst>
        </p:spPr>
      </p:pic>
      <p:pic>
        <p:nvPicPr>
          <p:cNvPr id="96" name="Picture 2" descr="Column Icons - Free SVG &amp; PNG Column Images - Noun Project">
            <a:extLst>
              <a:ext uri="{FF2B5EF4-FFF2-40B4-BE49-F238E27FC236}">
                <a16:creationId xmlns:a16="http://schemas.microsoft.com/office/drawing/2014/main" id="{F9601D59-E5DC-5C43-DF80-CD4C9EBFD4D6}"/>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9234487" y="2871617"/>
            <a:ext cx="1905000" cy="21425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99238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7CFDB39-962B-C8C2-5EF8-0DD8C3CFB967}"/>
              </a:ext>
            </a:extLst>
          </p:cNvPr>
          <p:cNvGraphicFramePr>
            <a:graphicFrameLocks noChangeAspect="1"/>
          </p:cNvGraphicFramePr>
          <p:nvPr>
            <p:custDataLst>
              <p:tags r:id="rId1"/>
            </p:custDataLst>
            <p:extLst>
              <p:ext uri="{D42A27DB-BD31-4B8C-83A1-F6EECF244321}">
                <p14:modId xmlns:p14="http://schemas.microsoft.com/office/powerpoint/2010/main" val="19257706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9" imgW="395" imgH="394" progId="TCLayout.ActiveDocument.1">
                  <p:embed/>
                </p:oleObj>
              </mc:Choice>
              <mc:Fallback>
                <p:oleObj name="think-cell Slide" r:id="rId39" imgW="395" imgH="394" progId="TCLayout.ActiveDocument.1">
                  <p:embed/>
                  <p:pic>
                    <p:nvPicPr>
                      <p:cNvPr id="4" name="think-cell data - do not delete" hidden="1">
                        <a:extLst>
                          <a:ext uri="{FF2B5EF4-FFF2-40B4-BE49-F238E27FC236}">
                            <a16:creationId xmlns:a16="http://schemas.microsoft.com/office/drawing/2014/main" id="{E7CFDB39-962B-C8C2-5EF8-0DD8C3CFB967}"/>
                          </a:ext>
                        </a:extLst>
                      </p:cNvPr>
                      <p:cNvPicPr/>
                      <p:nvPr/>
                    </p:nvPicPr>
                    <p:blipFill>
                      <a:blip r:embed="rId40"/>
                      <a:stretch>
                        <a:fillRect/>
                      </a:stretch>
                    </p:blipFill>
                    <p:spPr>
                      <a:xfrm>
                        <a:off x="1588" y="1588"/>
                        <a:ext cx="1588" cy="1588"/>
                      </a:xfrm>
                      <a:prstGeom prst="rect">
                        <a:avLst/>
                      </a:prstGeom>
                    </p:spPr>
                  </p:pic>
                </p:oleObj>
              </mc:Fallback>
            </mc:AlternateContent>
          </a:graphicData>
        </a:graphic>
      </p:graphicFrame>
      <p:sp>
        <p:nvSpPr>
          <p:cNvPr id="1253" name="Rectangle 1252">
            <a:extLst>
              <a:ext uri="{FF2B5EF4-FFF2-40B4-BE49-F238E27FC236}">
                <a16:creationId xmlns:a16="http://schemas.microsoft.com/office/drawing/2014/main" id="{85CB1555-1F8D-BB8A-30BD-604EB377AD8B}"/>
              </a:ext>
            </a:extLst>
          </p:cNvPr>
          <p:cNvSpPr/>
          <p:nvPr/>
        </p:nvSpPr>
        <p:spPr>
          <a:xfrm>
            <a:off x="914401" y="4940316"/>
            <a:ext cx="5994400" cy="449247"/>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a:ln>
                <a:noFill/>
              </a:ln>
              <a:solidFill>
                <a:schemeClr val="bg1"/>
              </a:solidFill>
              <a:latin typeface="Century Gothic" panose="020B0502020202020204" pitchFamily="34" charset="0"/>
            </a:endParaRPr>
          </a:p>
        </p:txBody>
      </p:sp>
      <p:graphicFrame>
        <p:nvGraphicFramePr>
          <p:cNvPr id="1266" name="Table 1265">
            <a:extLst>
              <a:ext uri="{FF2B5EF4-FFF2-40B4-BE49-F238E27FC236}">
                <a16:creationId xmlns:a16="http://schemas.microsoft.com/office/drawing/2014/main" id="{039532A6-8D7D-E9DB-586D-07C1B05B5968}"/>
              </a:ext>
            </a:extLst>
          </p:cNvPr>
          <p:cNvGraphicFramePr>
            <a:graphicFrameLocks noGrp="1"/>
          </p:cNvGraphicFramePr>
          <p:nvPr>
            <p:extLst>
              <p:ext uri="{D42A27DB-BD31-4B8C-83A1-F6EECF244321}">
                <p14:modId xmlns:p14="http://schemas.microsoft.com/office/powerpoint/2010/main" val="4184906943"/>
              </p:ext>
            </p:extLst>
          </p:nvPr>
        </p:nvGraphicFramePr>
        <p:xfrm>
          <a:off x="8220075" y="2085975"/>
          <a:ext cx="3359309" cy="1920876"/>
        </p:xfrm>
        <a:graphic>
          <a:graphicData uri="http://schemas.openxmlformats.org/drawingml/2006/table">
            <a:tbl>
              <a:tblPr firstRow="1" bandRow="1">
                <a:tableStyleId>{5940675A-B579-460E-94D1-54222C63F5DA}</a:tableStyleId>
              </a:tblPr>
              <a:tblGrid>
                <a:gridCol w="1491690">
                  <a:extLst>
                    <a:ext uri="{9D8B030D-6E8A-4147-A177-3AD203B41FA5}">
                      <a16:colId xmlns:a16="http://schemas.microsoft.com/office/drawing/2014/main" val="1699648011"/>
                    </a:ext>
                  </a:extLst>
                </a:gridCol>
                <a:gridCol w="852953">
                  <a:extLst>
                    <a:ext uri="{9D8B030D-6E8A-4147-A177-3AD203B41FA5}">
                      <a16:colId xmlns:a16="http://schemas.microsoft.com/office/drawing/2014/main" val="2786771915"/>
                    </a:ext>
                  </a:extLst>
                </a:gridCol>
                <a:gridCol w="1014666">
                  <a:extLst>
                    <a:ext uri="{9D8B030D-6E8A-4147-A177-3AD203B41FA5}">
                      <a16:colId xmlns:a16="http://schemas.microsoft.com/office/drawing/2014/main" val="1588058637"/>
                    </a:ext>
                  </a:extLst>
                </a:gridCol>
              </a:tblGrid>
              <a:tr h="700132">
                <a:tc>
                  <a:txBody>
                    <a:bodyPr/>
                    <a:lstStyle/>
                    <a:p>
                      <a:endParaRPr lang="en-GB" sz="1100">
                        <a:latin typeface="Century Gothic" panose="020B0502020202020204" pitchFamily="34" charset="0"/>
                      </a:endParaRPr>
                    </a:p>
                  </a:txBody>
                  <a:tcP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ctr"/>
                      <a:r>
                        <a:rPr lang="en-GB" sz="1100" b="1">
                          <a:latin typeface="Century Gothic" panose="020B0502020202020204" pitchFamily="34" charset="0"/>
                        </a:rPr>
                        <a:t>Current LCOE ($/MWh)</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solidFill>
                  </a:tcPr>
                </a:tc>
                <a:tc>
                  <a:txBody>
                    <a:bodyPr/>
                    <a:lstStyle/>
                    <a:p>
                      <a:pPr algn="ctr"/>
                      <a:r>
                        <a:rPr lang="en-GB" sz="1100" b="1">
                          <a:latin typeface="Century Gothic" panose="020B0502020202020204" pitchFamily="34" charset="0"/>
                        </a:rPr>
                        <a:t>% change between 2014 - 2023</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6">
                        <a:lumMod val="20000"/>
                        <a:lumOff val="80000"/>
                      </a:schemeClr>
                    </a:solidFill>
                  </a:tcPr>
                </a:tc>
                <a:extLst>
                  <a:ext uri="{0D108BD9-81ED-4DB2-BD59-A6C34878D82A}">
                    <a16:rowId xmlns:a16="http://schemas.microsoft.com/office/drawing/2014/main" val="1622458008"/>
                  </a:ext>
                </a:extLst>
              </a:tr>
              <a:tr h="305186">
                <a:tc>
                  <a:txBody>
                    <a:bodyPr/>
                    <a:lstStyle/>
                    <a:p>
                      <a:endParaRPr lang="en-GB" sz="1100">
                        <a:latin typeface="Century Gothic" panose="020B0502020202020204" pitchFamily="34" charset="0"/>
                      </a:endParaRPr>
                    </a:p>
                  </a:txBody>
                  <a:tcPr>
                    <a:lnL w="12700" cmpd="sng">
                      <a:noFill/>
                    </a:lnL>
                    <a:lnR w="12700" cmpd="sng">
                      <a:noFill/>
                    </a:lnR>
                    <a:lnT w="12700" cmpd="sng">
                      <a:noFill/>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100">
                          <a:latin typeface="Century Gothic" panose="020B0502020202020204" pitchFamily="34" charset="0"/>
                        </a:rPr>
                        <a:t>40</a:t>
                      </a:r>
                    </a:p>
                  </a:txBody>
                  <a:tcPr anchor="ctr">
                    <a:lnL w="12700" cmpd="sng">
                      <a:noFill/>
                    </a:lnL>
                    <a:lnR w="12700" cmpd="sng">
                      <a:noFill/>
                    </a:lnR>
                    <a:lnT w="12700" cmpd="sng">
                      <a:noFill/>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GB" sz="1100">
                          <a:latin typeface="Century Gothic" panose="020B0502020202020204" pitchFamily="34" charset="0"/>
                        </a:rPr>
                        <a:t>-80%</a:t>
                      </a:r>
                    </a:p>
                  </a:txBody>
                  <a:tcPr anchor="ctr">
                    <a:lnL w="12700" cmpd="sng">
                      <a:noFill/>
                    </a:lnL>
                    <a:lnR w="12700" cmpd="sng">
                      <a:noFill/>
                    </a:lnR>
                    <a:lnT w="12700" cmpd="sng">
                      <a:noFill/>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extLst>
                  <a:ext uri="{0D108BD9-81ED-4DB2-BD59-A6C34878D82A}">
                    <a16:rowId xmlns:a16="http://schemas.microsoft.com/office/drawing/2014/main" val="157222390"/>
                  </a:ext>
                </a:extLst>
              </a:tr>
              <a:tr h="305186">
                <a:tc>
                  <a:txBody>
                    <a:bodyPr/>
                    <a:lstStyle/>
                    <a:p>
                      <a:endParaRPr lang="en-GB" sz="1100">
                        <a:latin typeface="Century Gothic" panose="020B0502020202020204" pitchFamily="34" charset="0"/>
                      </a:endParaRPr>
                    </a:p>
                  </a:txBody>
                  <a:tcP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100">
                          <a:latin typeface="Century Gothic" panose="020B0502020202020204" pitchFamily="34" charset="0"/>
                        </a:rPr>
                        <a:t>40</a:t>
                      </a:r>
                    </a:p>
                  </a:txBody>
                  <a:tcPr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GB" sz="1100">
                          <a:latin typeface="Century Gothic" panose="020B0502020202020204" pitchFamily="34" charset="0"/>
                        </a:rPr>
                        <a:t>-60%</a:t>
                      </a:r>
                    </a:p>
                  </a:txBody>
                  <a:tcPr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extLst>
                  <a:ext uri="{0D108BD9-81ED-4DB2-BD59-A6C34878D82A}">
                    <a16:rowId xmlns:a16="http://schemas.microsoft.com/office/drawing/2014/main" val="1451967320"/>
                  </a:ext>
                </a:extLst>
              </a:tr>
              <a:tr h="305186">
                <a:tc>
                  <a:txBody>
                    <a:bodyPr/>
                    <a:lstStyle/>
                    <a:p>
                      <a:endParaRPr lang="en-GB" sz="1100">
                        <a:latin typeface="Century Gothic" panose="020B0502020202020204" pitchFamily="34" charset="0"/>
                      </a:endParaRPr>
                    </a:p>
                  </a:txBody>
                  <a:tcP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100">
                          <a:latin typeface="Century Gothic" panose="020B0502020202020204" pitchFamily="34" charset="0"/>
                        </a:rPr>
                        <a:t>80</a:t>
                      </a:r>
                    </a:p>
                  </a:txBody>
                  <a:tcPr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GB" sz="1100">
                          <a:latin typeface="Century Gothic" panose="020B0502020202020204" pitchFamily="34" charset="0"/>
                        </a:rPr>
                        <a:t>-70%</a:t>
                      </a:r>
                    </a:p>
                  </a:txBody>
                  <a:tcPr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extLst>
                  <a:ext uri="{0D108BD9-81ED-4DB2-BD59-A6C34878D82A}">
                    <a16:rowId xmlns:a16="http://schemas.microsoft.com/office/drawing/2014/main" val="2356248856"/>
                  </a:ext>
                </a:extLst>
              </a:tr>
              <a:tr h="305186">
                <a:tc>
                  <a:txBody>
                    <a:bodyPr/>
                    <a:lstStyle/>
                    <a:p>
                      <a:endParaRPr lang="en-GB" sz="1100">
                        <a:latin typeface="Century Gothic" panose="020B0502020202020204" pitchFamily="34" charset="0"/>
                      </a:endParaRPr>
                    </a:p>
                  </a:txBody>
                  <a:tcPr>
                    <a:lnL w="12700" cmpd="sng">
                      <a:noFill/>
                    </a:lnL>
                    <a:lnR w="12700" cmpd="sng">
                      <a:noFill/>
                    </a:lnR>
                    <a:lnT w="9525"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ctr"/>
                      <a:r>
                        <a:rPr lang="en-GB" sz="1100">
                          <a:latin typeface="Century Gothic" panose="020B0502020202020204" pitchFamily="34" charset="0"/>
                        </a:rPr>
                        <a:t>135</a:t>
                      </a:r>
                    </a:p>
                  </a:txBody>
                  <a:tcPr anchor="ctr">
                    <a:lnL w="12700" cmpd="sng">
                      <a:noFill/>
                    </a:lnL>
                    <a:lnR w="12700" cmpd="sng">
                      <a:noFill/>
                    </a:lnR>
                    <a:lnT w="9525"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2"/>
                    </a:solidFill>
                  </a:tcPr>
                </a:tc>
                <a:tc>
                  <a:txBody>
                    <a:bodyPr/>
                    <a:lstStyle/>
                    <a:p>
                      <a:pPr algn="ctr"/>
                      <a:r>
                        <a:rPr lang="en-GB" sz="1100">
                          <a:latin typeface="Century Gothic" panose="020B0502020202020204" pitchFamily="34" charset="0"/>
                        </a:rPr>
                        <a:t>-80%</a:t>
                      </a:r>
                    </a:p>
                  </a:txBody>
                  <a:tcPr anchor="ctr">
                    <a:lnL w="12700" cmpd="sng">
                      <a:noFill/>
                    </a:lnL>
                    <a:lnR w="12700" cmpd="sng">
                      <a:noFill/>
                    </a:lnR>
                    <a:lnT w="9525"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6">
                        <a:lumMod val="20000"/>
                        <a:lumOff val="80000"/>
                      </a:schemeClr>
                    </a:solidFill>
                  </a:tcPr>
                </a:tc>
                <a:extLst>
                  <a:ext uri="{0D108BD9-81ED-4DB2-BD59-A6C34878D82A}">
                    <a16:rowId xmlns:a16="http://schemas.microsoft.com/office/drawing/2014/main" val="3867001629"/>
                  </a:ext>
                </a:extLst>
              </a:tr>
            </a:tbl>
          </a:graphicData>
        </a:graphic>
      </p:graphicFrame>
      <p:sp>
        <p:nvSpPr>
          <p:cNvPr id="7" name="Rectangle 6">
            <a:extLst>
              <a:ext uri="{FF2B5EF4-FFF2-40B4-BE49-F238E27FC236}">
                <a16:creationId xmlns:a16="http://schemas.microsoft.com/office/drawing/2014/main" id="{4FFB7D11-9165-8685-7C91-4BA3B8E07BA2}"/>
              </a:ext>
            </a:extLst>
          </p:cNvPr>
          <p:cNvSpPr/>
          <p:nvPr/>
        </p:nvSpPr>
        <p:spPr>
          <a:xfrm>
            <a:off x="203200" y="6248400"/>
            <a:ext cx="1259840" cy="589385"/>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US" sz="1400">
              <a:ln>
                <a:noFill/>
              </a:ln>
              <a:solidFill>
                <a:schemeClr val="bg1"/>
              </a:solidFill>
              <a:latin typeface="Century Gothic" panose="020B0502020202020204" pitchFamily="34" charset="0"/>
            </a:endParaRPr>
          </a:p>
        </p:txBody>
      </p:sp>
      <p:sp>
        <p:nvSpPr>
          <p:cNvPr id="2" name="Title 1">
            <a:extLst>
              <a:ext uri="{FF2B5EF4-FFF2-40B4-BE49-F238E27FC236}">
                <a16:creationId xmlns:a16="http://schemas.microsoft.com/office/drawing/2014/main" id="{522B25B0-B153-DBB4-157C-CD00C29B72AC}"/>
              </a:ext>
            </a:extLst>
          </p:cNvPr>
          <p:cNvSpPr>
            <a:spLocks noGrp="1"/>
          </p:cNvSpPr>
          <p:nvPr>
            <p:ph type="title"/>
          </p:nvPr>
        </p:nvSpPr>
        <p:spPr>
          <a:xfrm>
            <a:off x="382384" y="179388"/>
            <a:ext cx="11438313" cy="708715"/>
          </a:xfrm>
        </p:spPr>
        <p:txBody>
          <a:bodyPr vert="horz"/>
          <a:lstStyle/>
          <a:p>
            <a:r>
              <a:rPr lang="en-GB" sz="2000"/>
              <a:t>The cost of key technologies for the energy transition has fallen significantly over the past decade …</a:t>
            </a:r>
          </a:p>
        </p:txBody>
      </p:sp>
      <p:grpSp>
        <p:nvGrpSpPr>
          <p:cNvPr id="3" name="Group 2">
            <a:extLst>
              <a:ext uri="{FF2B5EF4-FFF2-40B4-BE49-F238E27FC236}">
                <a16:creationId xmlns:a16="http://schemas.microsoft.com/office/drawing/2014/main" id="{04C2FBDB-7623-2AE8-F796-ECADD169BB5F}"/>
              </a:ext>
            </a:extLst>
          </p:cNvPr>
          <p:cNvGrpSpPr>
            <a:grpSpLocks/>
          </p:cNvGrpSpPr>
          <p:nvPr/>
        </p:nvGrpSpPr>
        <p:grpSpPr>
          <a:xfrm>
            <a:off x="382384" y="941688"/>
            <a:ext cx="11438313" cy="403862"/>
            <a:chOff x="185697" y="968570"/>
            <a:chExt cx="12080183" cy="403862"/>
          </a:xfrm>
        </p:grpSpPr>
        <p:cxnSp>
          <p:nvCxnSpPr>
            <p:cNvPr id="5" name="Straight Connector 4">
              <a:extLst>
                <a:ext uri="{FF2B5EF4-FFF2-40B4-BE49-F238E27FC236}">
                  <a16:creationId xmlns:a16="http://schemas.microsoft.com/office/drawing/2014/main" id="{12B0F443-14E3-F9E8-BE4B-1052A3CEE134}"/>
                </a:ext>
              </a:extLst>
            </p:cNvPr>
            <p:cNvCxnSpPr>
              <a:cxnSpLocks/>
            </p:cNvCxnSpPr>
            <p:nvPr/>
          </p:nvCxnSpPr>
          <p:spPr>
            <a:xfrm>
              <a:off x="185697" y="1372432"/>
              <a:ext cx="11825327" cy="0"/>
            </a:xfrm>
            <a:prstGeom prst="line">
              <a:avLst/>
            </a:prstGeom>
            <a:ln w="19050" cap="flat" cmpd="sng" algn="ctr">
              <a:solidFill>
                <a:schemeClr val="tx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95B8A405-F262-9D29-F305-3D362929769B}"/>
                </a:ext>
              </a:extLst>
            </p:cNvPr>
            <p:cNvSpPr/>
            <p:nvPr/>
          </p:nvSpPr>
          <p:spPr>
            <a:xfrm>
              <a:off x="204386" y="968570"/>
              <a:ext cx="12061494" cy="384850"/>
            </a:xfrm>
            <a:prstGeom prst="rect">
              <a:avLst/>
            </a:prstGeom>
            <a:noFill/>
          </p:spPr>
          <p:txBody>
            <a:bodyPr wrap="square" lIns="0" tIns="0" rIns="0" bIns="0" rtlCol="0">
              <a:spAutoFit/>
            </a:bodyPr>
            <a:lstStyle/>
            <a:p>
              <a:r>
                <a:rPr lang="en-GB" sz="1401" b="1">
                  <a:solidFill>
                    <a:schemeClr val="tx2"/>
                  </a:solidFill>
                  <a:latin typeface="Century Gothic" panose="020B0502020202020204" pitchFamily="34" charset="0"/>
                </a:rPr>
                <a:t>LCOE global benchmarks</a:t>
              </a:r>
            </a:p>
            <a:p>
              <a:r>
                <a:rPr lang="en-GB" sz="1100">
                  <a:solidFill>
                    <a:schemeClr val="bg1">
                      <a:lumMod val="50000"/>
                    </a:schemeClr>
                  </a:solidFill>
                  <a:latin typeface="Century Gothic" panose="020B0502020202020204" pitchFamily="34" charset="0"/>
                </a:rPr>
                <a:t>$/MWh (2022 real)</a:t>
              </a:r>
              <a:endParaRPr lang="en-GB" sz="1401">
                <a:solidFill>
                  <a:schemeClr val="bg1">
                    <a:lumMod val="50000"/>
                  </a:schemeClr>
                </a:solidFill>
                <a:latin typeface="Century Gothic" panose="020B0502020202020204" pitchFamily="34" charset="0"/>
              </a:endParaRPr>
            </a:p>
          </p:txBody>
        </p:sp>
      </p:grpSp>
      <p:sp>
        <p:nvSpPr>
          <p:cNvPr id="1061" name="Footer Placeholder 3">
            <a:extLst>
              <a:ext uri="{FF2B5EF4-FFF2-40B4-BE49-F238E27FC236}">
                <a16:creationId xmlns:a16="http://schemas.microsoft.com/office/drawing/2014/main" id="{9F3C94C2-85DA-1A1F-527D-6C17B9891369}"/>
              </a:ext>
            </a:extLst>
          </p:cNvPr>
          <p:cNvSpPr txBox="1">
            <a:spLocks/>
          </p:cNvSpPr>
          <p:nvPr/>
        </p:nvSpPr>
        <p:spPr>
          <a:xfrm>
            <a:off x="396671" y="6136851"/>
            <a:ext cx="11288916" cy="589386"/>
          </a:xfrm>
          <a:prstGeom prst="rect">
            <a:avLst/>
          </a:prstGeom>
        </p:spPr>
        <p:txBody>
          <a:bodyPr anchor="ctr"/>
          <a:lstStyle>
            <a:defPPr>
              <a:defRPr lang="de-DE"/>
            </a:defPPr>
            <a:lvl1pPr marL="0" algn="l" defTabSz="914400" rtl="0" eaLnBrk="1" latinLnBrk="0" hangingPunct="1">
              <a:defRPr sz="900" kern="1200">
                <a:solidFill>
                  <a:schemeClr val="tx1"/>
                </a:solidFill>
                <a:latin typeface="Century Gothic" panose="020B0502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Note: the LCOE is the long-term breakeven price a power project needs to recoup all costs and meet the required rate of return. The global benchmarks are capacity-weighted averages using the latest country estimates. Solar PV refers to fixed-axis. Offshore wind includes offshore transmission costs. Battery is a 4h utility-scale battery and considers delivered power cost. Coal- and gas-fired power include carbon pricing where policies are already active. LCOEs do not include subsidies or tax credits. LCOE does not include transport, storage and distribution costs. Table values have been rounded to the nearest ten.</a:t>
            </a:r>
          </a:p>
          <a:p>
            <a:r>
              <a:rPr lang="en-US"/>
              <a:t>Source: BNEF (2023), </a:t>
            </a:r>
            <a:r>
              <a:rPr lang="en-US" i="1"/>
              <a:t>Levelized Cost of Electricity 2H 2023</a:t>
            </a:r>
          </a:p>
        </p:txBody>
      </p:sp>
      <p:cxnSp>
        <p:nvCxnSpPr>
          <p:cNvPr id="1294" name="Straight Connector 1293">
            <a:extLst>
              <a:ext uri="{FF2B5EF4-FFF2-40B4-BE49-F238E27FC236}">
                <a16:creationId xmlns:a16="http://schemas.microsoft.com/office/drawing/2014/main" id="{FA996A7C-6E58-DBB6-6578-B4718DAD4BD5}"/>
              </a:ext>
            </a:extLst>
          </p:cNvPr>
          <p:cNvCxnSpPr/>
          <p:nvPr>
            <p:custDataLst>
              <p:tags r:id="rId2"/>
            </p:custDataLst>
          </p:nvPr>
        </p:nvCxnSpPr>
        <p:spPr bwMode="gray">
          <a:xfrm>
            <a:off x="914400" y="5405438"/>
            <a:ext cx="5994400" cy="0"/>
          </a:xfrm>
          <a:prstGeom prst="line">
            <a:avLst/>
          </a:prstGeom>
          <a:ln w="3175" cap="flat" cmpd="sng" algn="ctr">
            <a:solidFill>
              <a:srgbClr val="969696"/>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95" name="Straight Connector 1294">
            <a:extLst>
              <a:ext uri="{FF2B5EF4-FFF2-40B4-BE49-F238E27FC236}">
                <a16:creationId xmlns:a16="http://schemas.microsoft.com/office/drawing/2014/main" id="{2B98F2C2-C08F-D856-3E7E-117E166C8A0D}"/>
              </a:ext>
            </a:extLst>
          </p:cNvPr>
          <p:cNvCxnSpPr/>
          <p:nvPr>
            <p:custDataLst>
              <p:tags r:id="rId3"/>
            </p:custDataLst>
          </p:nvPr>
        </p:nvCxnSpPr>
        <p:spPr bwMode="gray">
          <a:xfrm>
            <a:off x="914400" y="5000625"/>
            <a:ext cx="5994400" cy="0"/>
          </a:xfrm>
          <a:prstGeom prst="line">
            <a:avLst/>
          </a:prstGeom>
          <a:ln w="3175" cap="flat" cmpd="sng" algn="ctr">
            <a:solidFill>
              <a:srgbClr val="969696"/>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96" name="Straight Connector 1295">
            <a:extLst>
              <a:ext uri="{FF2B5EF4-FFF2-40B4-BE49-F238E27FC236}">
                <a16:creationId xmlns:a16="http://schemas.microsoft.com/office/drawing/2014/main" id="{4AD4A605-D057-5953-70B4-8DE088E09EA4}"/>
              </a:ext>
            </a:extLst>
          </p:cNvPr>
          <p:cNvCxnSpPr/>
          <p:nvPr>
            <p:custDataLst>
              <p:tags r:id="rId4"/>
            </p:custDataLst>
          </p:nvPr>
        </p:nvCxnSpPr>
        <p:spPr bwMode="gray">
          <a:xfrm>
            <a:off x="914400" y="4595813"/>
            <a:ext cx="5994400" cy="0"/>
          </a:xfrm>
          <a:prstGeom prst="line">
            <a:avLst/>
          </a:prstGeom>
          <a:ln w="3175" cap="flat" cmpd="sng" algn="ctr">
            <a:solidFill>
              <a:srgbClr val="969696"/>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97" name="Straight Connector 1296">
            <a:extLst>
              <a:ext uri="{FF2B5EF4-FFF2-40B4-BE49-F238E27FC236}">
                <a16:creationId xmlns:a16="http://schemas.microsoft.com/office/drawing/2014/main" id="{B91CA9F9-4670-CBAC-AE02-39F04388B304}"/>
              </a:ext>
            </a:extLst>
          </p:cNvPr>
          <p:cNvCxnSpPr/>
          <p:nvPr>
            <p:custDataLst>
              <p:tags r:id="rId5"/>
            </p:custDataLst>
          </p:nvPr>
        </p:nvCxnSpPr>
        <p:spPr bwMode="gray">
          <a:xfrm>
            <a:off x="914400" y="4191000"/>
            <a:ext cx="5994400" cy="0"/>
          </a:xfrm>
          <a:prstGeom prst="line">
            <a:avLst/>
          </a:prstGeom>
          <a:ln w="3175" cap="flat" cmpd="sng" algn="ctr">
            <a:solidFill>
              <a:srgbClr val="969696"/>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98" name="Straight Connector 1297">
            <a:extLst>
              <a:ext uri="{FF2B5EF4-FFF2-40B4-BE49-F238E27FC236}">
                <a16:creationId xmlns:a16="http://schemas.microsoft.com/office/drawing/2014/main" id="{94064054-3E43-5B81-461D-0BD1B4CD43F4}"/>
              </a:ext>
            </a:extLst>
          </p:cNvPr>
          <p:cNvCxnSpPr/>
          <p:nvPr>
            <p:custDataLst>
              <p:tags r:id="rId6"/>
            </p:custDataLst>
          </p:nvPr>
        </p:nvCxnSpPr>
        <p:spPr bwMode="gray">
          <a:xfrm>
            <a:off x="914400" y="3786188"/>
            <a:ext cx="5994400" cy="0"/>
          </a:xfrm>
          <a:prstGeom prst="line">
            <a:avLst/>
          </a:prstGeom>
          <a:ln w="3175" cap="flat" cmpd="sng" algn="ctr">
            <a:solidFill>
              <a:srgbClr val="969696"/>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99" name="Straight Connector 1298">
            <a:extLst>
              <a:ext uri="{FF2B5EF4-FFF2-40B4-BE49-F238E27FC236}">
                <a16:creationId xmlns:a16="http://schemas.microsoft.com/office/drawing/2014/main" id="{9496A073-308B-080A-EDA2-E3F9CF6520BA}"/>
              </a:ext>
            </a:extLst>
          </p:cNvPr>
          <p:cNvCxnSpPr/>
          <p:nvPr>
            <p:custDataLst>
              <p:tags r:id="rId7"/>
            </p:custDataLst>
          </p:nvPr>
        </p:nvCxnSpPr>
        <p:spPr bwMode="gray">
          <a:xfrm>
            <a:off x="914400" y="3381375"/>
            <a:ext cx="5994400" cy="0"/>
          </a:xfrm>
          <a:prstGeom prst="line">
            <a:avLst/>
          </a:prstGeom>
          <a:ln w="3175" cap="flat" cmpd="sng" algn="ctr">
            <a:solidFill>
              <a:srgbClr val="969696"/>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00" name="Straight Connector 1299">
            <a:extLst>
              <a:ext uri="{FF2B5EF4-FFF2-40B4-BE49-F238E27FC236}">
                <a16:creationId xmlns:a16="http://schemas.microsoft.com/office/drawing/2014/main" id="{808CF285-66A2-D394-058C-8B0D40E17DDE}"/>
              </a:ext>
            </a:extLst>
          </p:cNvPr>
          <p:cNvCxnSpPr/>
          <p:nvPr>
            <p:custDataLst>
              <p:tags r:id="rId8"/>
            </p:custDataLst>
          </p:nvPr>
        </p:nvCxnSpPr>
        <p:spPr bwMode="gray">
          <a:xfrm>
            <a:off x="914400" y="2976563"/>
            <a:ext cx="5994400" cy="0"/>
          </a:xfrm>
          <a:prstGeom prst="line">
            <a:avLst/>
          </a:prstGeom>
          <a:ln w="3175" cap="flat" cmpd="sng" algn="ctr">
            <a:solidFill>
              <a:srgbClr val="969696"/>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01" name="Straight Connector 1300">
            <a:extLst>
              <a:ext uri="{FF2B5EF4-FFF2-40B4-BE49-F238E27FC236}">
                <a16:creationId xmlns:a16="http://schemas.microsoft.com/office/drawing/2014/main" id="{661D8A76-0FCC-91A5-B991-08A5DFABC041}"/>
              </a:ext>
            </a:extLst>
          </p:cNvPr>
          <p:cNvCxnSpPr/>
          <p:nvPr>
            <p:custDataLst>
              <p:tags r:id="rId9"/>
            </p:custDataLst>
          </p:nvPr>
        </p:nvCxnSpPr>
        <p:spPr bwMode="gray">
          <a:xfrm>
            <a:off x="914400" y="2571750"/>
            <a:ext cx="5994400" cy="0"/>
          </a:xfrm>
          <a:prstGeom prst="line">
            <a:avLst/>
          </a:prstGeom>
          <a:ln w="3175" cap="flat" cmpd="sng" algn="ctr">
            <a:solidFill>
              <a:srgbClr val="969696"/>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02" name="Straight Connector 1301">
            <a:extLst>
              <a:ext uri="{FF2B5EF4-FFF2-40B4-BE49-F238E27FC236}">
                <a16:creationId xmlns:a16="http://schemas.microsoft.com/office/drawing/2014/main" id="{157DEEF1-FB4F-936D-7F1F-DC5FF1742467}"/>
              </a:ext>
            </a:extLst>
          </p:cNvPr>
          <p:cNvCxnSpPr/>
          <p:nvPr>
            <p:custDataLst>
              <p:tags r:id="rId10"/>
            </p:custDataLst>
          </p:nvPr>
        </p:nvCxnSpPr>
        <p:spPr bwMode="gray">
          <a:xfrm>
            <a:off x="914400" y="2166938"/>
            <a:ext cx="5994400" cy="0"/>
          </a:xfrm>
          <a:prstGeom prst="line">
            <a:avLst/>
          </a:prstGeom>
          <a:ln w="3175" cap="flat" cmpd="sng" algn="ctr">
            <a:solidFill>
              <a:srgbClr val="969696"/>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03" name="Straight Connector 1302">
            <a:extLst>
              <a:ext uri="{FF2B5EF4-FFF2-40B4-BE49-F238E27FC236}">
                <a16:creationId xmlns:a16="http://schemas.microsoft.com/office/drawing/2014/main" id="{3FE4819C-B056-B8A5-E801-F8436DEAC98A}"/>
              </a:ext>
            </a:extLst>
          </p:cNvPr>
          <p:cNvCxnSpPr/>
          <p:nvPr>
            <p:custDataLst>
              <p:tags r:id="rId11"/>
            </p:custDataLst>
          </p:nvPr>
        </p:nvCxnSpPr>
        <p:spPr bwMode="gray">
          <a:xfrm>
            <a:off x="914400" y="1762125"/>
            <a:ext cx="5994400" cy="0"/>
          </a:xfrm>
          <a:prstGeom prst="line">
            <a:avLst/>
          </a:prstGeom>
          <a:ln w="3175" cap="flat" cmpd="sng" algn="ctr">
            <a:solidFill>
              <a:srgbClr val="969696"/>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1304" name="Chart 1303">
            <a:extLst>
              <a:ext uri="{FF2B5EF4-FFF2-40B4-BE49-F238E27FC236}">
                <a16:creationId xmlns:a16="http://schemas.microsoft.com/office/drawing/2014/main" id="{FD119E93-53A2-2493-95F5-C700C20E8380}"/>
              </a:ext>
            </a:extLst>
          </p:cNvPr>
          <p:cNvGraphicFramePr/>
          <p:nvPr>
            <p:custDataLst>
              <p:tags r:id="rId12"/>
            </p:custDataLst>
            <p:extLst>
              <p:ext uri="{D42A27DB-BD31-4B8C-83A1-F6EECF244321}">
                <p14:modId xmlns:p14="http://schemas.microsoft.com/office/powerpoint/2010/main" val="2331824443"/>
              </p:ext>
            </p:extLst>
          </p:nvPr>
        </p:nvGraphicFramePr>
        <p:xfrm>
          <a:off x="395288" y="1581150"/>
          <a:ext cx="6596062" cy="4411663"/>
        </p:xfrm>
        <a:graphic>
          <a:graphicData uri="http://schemas.openxmlformats.org/drawingml/2006/chart">
            <c:chart xmlns:c="http://schemas.openxmlformats.org/drawingml/2006/chart" xmlns:r="http://schemas.openxmlformats.org/officeDocument/2006/relationships" r:id="rId41"/>
          </a:graphicData>
        </a:graphic>
      </p:graphicFrame>
      <p:cxnSp>
        <p:nvCxnSpPr>
          <p:cNvPr id="12" name="Straight Connector 11">
            <a:extLst>
              <a:ext uri="{FF2B5EF4-FFF2-40B4-BE49-F238E27FC236}">
                <a16:creationId xmlns:a16="http://schemas.microsoft.com/office/drawing/2014/main" id="{81072F00-BC0C-46B9-0B59-502F52CEBD45}"/>
              </a:ext>
            </a:extLst>
          </p:cNvPr>
          <p:cNvCxnSpPr/>
          <p:nvPr>
            <p:custDataLst>
              <p:tags r:id="rId13"/>
            </p:custDataLst>
          </p:nvPr>
        </p:nvCxnSpPr>
        <p:spPr bwMode="auto">
          <a:xfrm>
            <a:off x="914400" y="4943475"/>
            <a:ext cx="5994400" cy="0"/>
          </a:xfrm>
          <a:prstGeom prst="line">
            <a:avLst/>
          </a:prstGeom>
          <a:ln w="952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30" name="Straight Connector 1229">
            <a:extLst>
              <a:ext uri="{FF2B5EF4-FFF2-40B4-BE49-F238E27FC236}">
                <a16:creationId xmlns:a16="http://schemas.microsoft.com/office/drawing/2014/main" id="{45651402-2189-E961-E899-98068631A178}"/>
              </a:ext>
            </a:extLst>
          </p:cNvPr>
          <p:cNvCxnSpPr/>
          <p:nvPr>
            <p:custDataLst>
              <p:tags r:id="rId14"/>
            </p:custDataLst>
          </p:nvPr>
        </p:nvCxnSpPr>
        <p:spPr bwMode="auto">
          <a:xfrm>
            <a:off x="914400" y="5389563"/>
            <a:ext cx="5994400" cy="0"/>
          </a:xfrm>
          <a:prstGeom prst="line">
            <a:avLst/>
          </a:prstGeom>
          <a:ln w="952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8" name="Text Placeholder 2">
            <a:extLst>
              <a:ext uri="{FF2B5EF4-FFF2-40B4-BE49-F238E27FC236}">
                <a16:creationId xmlns:a16="http://schemas.microsoft.com/office/drawing/2014/main" id="{B926D567-524F-4499-A030-E098F89DCD34}"/>
              </a:ext>
            </a:extLst>
          </p:cNvPr>
          <p:cNvSpPr>
            <a:spLocks noGrp="1"/>
          </p:cNvSpPr>
          <p:nvPr>
            <p:custDataLst>
              <p:tags r:id="rId15"/>
            </p:custDataLst>
          </p:nvPr>
        </p:nvSpPr>
        <p:spPr bwMode="auto">
          <a:xfrm>
            <a:off x="954088" y="5861050"/>
            <a:ext cx="3492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200">
                <a:effectLst/>
              </a:rPr>
              <a:t>2010</a:t>
            </a:r>
            <a:endParaRPr lang="en-GB" sz="1200" noProof="0"/>
          </a:p>
        </p:txBody>
      </p:sp>
      <p:sp>
        <p:nvSpPr>
          <p:cNvPr id="40" name="Text Placeholder 2">
            <a:extLst>
              <a:ext uri="{FF2B5EF4-FFF2-40B4-BE49-F238E27FC236}">
                <a16:creationId xmlns:a16="http://schemas.microsoft.com/office/drawing/2014/main" id="{B926D567-524F-4499-A030-E098F89DCD34}"/>
              </a:ext>
            </a:extLst>
          </p:cNvPr>
          <p:cNvSpPr>
            <a:spLocks noGrp="1"/>
          </p:cNvSpPr>
          <p:nvPr>
            <p:custDataLst>
              <p:tags r:id="rId16"/>
            </p:custDataLst>
          </p:nvPr>
        </p:nvSpPr>
        <p:spPr bwMode="auto">
          <a:xfrm>
            <a:off x="1382713" y="5861050"/>
            <a:ext cx="3492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200">
                <a:effectLst/>
              </a:rPr>
              <a:t>2011</a:t>
            </a:r>
            <a:endParaRPr lang="en-GB" sz="1200" noProof="0"/>
          </a:p>
        </p:txBody>
      </p:sp>
      <p:sp>
        <p:nvSpPr>
          <p:cNvPr id="42" name="Text Placeholder 2">
            <a:extLst>
              <a:ext uri="{FF2B5EF4-FFF2-40B4-BE49-F238E27FC236}">
                <a16:creationId xmlns:a16="http://schemas.microsoft.com/office/drawing/2014/main" id="{B926D567-524F-4499-A030-E098F89DCD34}"/>
              </a:ext>
            </a:extLst>
          </p:cNvPr>
          <p:cNvSpPr>
            <a:spLocks noGrp="1"/>
          </p:cNvSpPr>
          <p:nvPr>
            <p:custDataLst>
              <p:tags r:id="rId17"/>
            </p:custDataLst>
          </p:nvPr>
        </p:nvSpPr>
        <p:spPr bwMode="auto">
          <a:xfrm>
            <a:off x="1809750" y="5861050"/>
            <a:ext cx="3492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200">
                <a:effectLst/>
              </a:rPr>
              <a:t>2012</a:t>
            </a:r>
            <a:endParaRPr lang="en-GB" sz="1200" noProof="0"/>
          </a:p>
        </p:txBody>
      </p:sp>
      <p:sp>
        <p:nvSpPr>
          <p:cNvPr id="44" name="Text Placeholder 2">
            <a:extLst>
              <a:ext uri="{FF2B5EF4-FFF2-40B4-BE49-F238E27FC236}">
                <a16:creationId xmlns:a16="http://schemas.microsoft.com/office/drawing/2014/main" id="{B926D567-524F-4499-A030-E098F89DCD34}"/>
              </a:ext>
            </a:extLst>
          </p:cNvPr>
          <p:cNvSpPr>
            <a:spLocks noGrp="1"/>
          </p:cNvSpPr>
          <p:nvPr>
            <p:custDataLst>
              <p:tags r:id="rId18"/>
            </p:custDataLst>
          </p:nvPr>
        </p:nvSpPr>
        <p:spPr bwMode="auto">
          <a:xfrm>
            <a:off x="2238375" y="5861050"/>
            <a:ext cx="3492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200">
                <a:effectLst/>
              </a:rPr>
              <a:t>2013</a:t>
            </a:r>
            <a:endParaRPr lang="en-GB" sz="1200" noProof="0"/>
          </a:p>
        </p:txBody>
      </p:sp>
      <p:sp>
        <p:nvSpPr>
          <p:cNvPr id="46" name="Text Placeholder 2">
            <a:extLst>
              <a:ext uri="{FF2B5EF4-FFF2-40B4-BE49-F238E27FC236}">
                <a16:creationId xmlns:a16="http://schemas.microsoft.com/office/drawing/2014/main" id="{B926D567-524F-4499-A030-E098F89DCD34}"/>
              </a:ext>
            </a:extLst>
          </p:cNvPr>
          <p:cNvSpPr>
            <a:spLocks noGrp="1"/>
          </p:cNvSpPr>
          <p:nvPr>
            <p:custDataLst>
              <p:tags r:id="rId19"/>
            </p:custDataLst>
          </p:nvPr>
        </p:nvSpPr>
        <p:spPr bwMode="auto">
          <a:xfrm>
            <a:off x="2667000" y="5861050"/>
            <a:ext cx="3492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200">
                <a:effectLst/>
              </a:rPr>
              <a:t>2014</a:t>
            </a:r>
            <a:endParaRPr lang="en-GB" sz="1200" noProof="0"/>
          </a:p>
        </p:txBody>
      </p:sp>
      <p:sp>
        <p:nvSpPr>
          <p:cNvPr id="48" name="Text Placeholder 2">
            <a:extLst>
              <a:ext uri="{FF2B5EF4-FFF2-40B4-BE49-F238E27FC236}">
                <a16:creationId xmlns:a16="http://schemas.microsoft.com/office/drawing/2014/main" id="{B926D567-524F-4499-A030-E098F89DCD34}"/>
              </a:ext>
            </a:extLst>
          </p:cNvPr>
          <p:cNvSpPr>
            <a:spLocks noGrp="1"/>
          </p:cNvSpPr>
          <p:nvPr>
            <p:custDataLst>
              <p:tags r:id="rId20"/>
            </p:custDataLst>
          </p:nvPr>
        </p:nvSpPr>
        <p:spPr bwMode="auto">
          <a:xfrm>
            <a:off x="3094038" y="5861050"/>
            <a:ext cx="3492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200">
                <a:effectLst/>
              </a:rPr>
              <a:t>2015</a:t>
            </a:r>
            <a:endParaRPr lang="en-GB" sz="1200" noProof="0"/>
          </a:p>
        </p:txBody>
      </p:sp>
      <p:sp>
        <p:nvSpPr>
          <p:cNvPr id="50" name="Text Placeholder 2">
            <a:extLst>
              <a:ext uri="{FF2B5EF4-FFF2-40B4-BE49-F238E27FC236}">
                <a16:creationId xmlns:a16="http://schemas.microsoft.com/office/drawing/2014/main" id="{B926D567-524F-4499-A030-E098F89DCD34}"/>
              </a:ext>
            </a:extLst>
          </p:cNvPr>
          <p:cNvSpPr>
            <a:spLocks noGrp="1"/>
          </p:cNvSpPr>
          <p:nvPr>
            <p:custDataLst>
              <p:tags r:id="rId21"/>
            </p:custDataLst>
          </p:nvPr>
        </p:nvSpPr>
        <p:spPr bwMode="auto">
          <a:xfrm>
            <a:off x="3522663" y="5861050"/>
            <a:ext cx="3492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200">
                <a:effectLst/>
              </a:rPr>
              <a:t>2016</a:t>
            </a:r>
            <a:endParaRPr lang="en-GB" sz="1200" noProof="0"/>
          </a:p>
        </p:txBody>
      </p:sp>
      <p:sp>
        <p:nvSpPr>
          <p:cNvPr id="52" name="Text Placeholder 2">
            <a:extLst>
              <a:ext uri="{FF2B5EF4-FFF2-40B4-BE49-F238E27FC236}">
                <a16:creationId xmlns:a16="http://schemas.microsoft.com/office/drawing/2014/main" id="{B926D567-524F-4499-A030-E098F89DCD34}"/>
              </a:ext>
            </a:extLst>
          </p:cNvPr>
          <p:cNvSpPr>
            <a:spLocks noGrp="1"/>
          </p:cNvSpPr>
          <p:nvPr>
            <p:custDataLst>
              <p:tags r:id="rId22"/>
            </p:custDataLst>
          </p:nvPr>
        </p:nvSpPr>
        <p:spPr bwMode="auto">
          <a:xfrm>
            <a:off x="3951288" y="5861050"/>
            <a:ext cx="3492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200">
                <a:effectLst/>
              </a:rPr>
              <a:t>2017</a:t>
            </a:r>
            <a:endParaRPr lang="en-GB" sz="1200" noProof="0"/>
          </a:p>
        </p:txBody>
      </p:sp>
      <p:sp>
        <p:nvSpPr>
          <p:cNvPr id="54" name="Text Placeholder 2">
            <a:extLst>
              <a:ext uri="{FF2B5EF4-FFF2-40B4-BE49-F238E27FC236}">
                <a16:creationId xmlns:a16="http://schemas.microsoft.com/office/drawing/2014/main" id="{B926D567-524F-4499-A030-E098F89DCD34}"/>
              </a:ext>
            </a:extLst>
          </p:cNvPr>
          <p:cNvSpPr>
            <a:spLocks noGrp="1"/>
          </p:cNvSpPr>
          <p:nvPr>
            <p:custDataLst>
              <p:tags r:id="rId23"/>
            </p:custDataLst>
          </p:nvPr>
        </p:nvSpPr>
        <p:spPr bwMode="auto">
          <a:xfrm>
            <a:off x="4379913" y="5861050"/>
            <a:ext cx="3492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200">
                <a:effectLst/>
              </a:rPr>
              <a:t>2018</a:t>
            </a:r>
            <a:endParaRPr lang="en-GB" sz="1200" noProof="0"/>
          </a:p>
        </p:txBody>
      </p:sp>
      <p:sp>
        <p:nvSpPr>
          <p:cNvPr id="56" name="Text Placeholder 2">
            <a:extLst>
              <a:ext uri="{FF2B5EF4-FFF2-40B4-BE49-F238E27FC236}">
                <a16:creationId xmlns:a16="http://schemas.microsoft.com/office/drawing/2014/main" id="{B926D567-524F-4499-A030-E098F89DCD34}"/>
              </a:ext>
            </a:extLst>
          </p:cNvPr>
          <p:cNvSpPr>
            <a:spLocks noGrp="1"/>
          </p:cNvSpPr>
          <p:nvPr>
            <p:custDataLst>
              <p:tags r:id="rId24"/>
            </p:custDataLst>
          </p:nvPr>
        </p:nvSpPr>
        <p:spPr bwMode="auto">
          <a:xfrm>
            <a:off x="4806950" y="5861050"/>
            <a:ext cx="3492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200">
                <a:effectLst/>
              </a:rPr>
              <a:t>2019</a:t>
            </a:r>
            <a:endParaRPr lang="en-GB" sz="1200" noProof="0"/>
          </a:p>
        </p:txBody>
      </p:sp>
      <p:sp>
        <p:nvSpPr>
          <p:cNvPr id="58" name="Text Placeholder 2">
            <a:extLst>
              <a:ext uri="{FF2B5EF4-FFF2-40B4-BE49-F238E27FC236}">
                <a16:creationId xmlns:a16="http://schemas.microsoft.com/office/drawing/2014/main" id="{B926D567-524F-4499-A030-E098F89DCD34}"/>
              </a:ext>
            </a:extLst>
          </p:cNvPr>
          <p:cNvSpPr>
            <a:spLocks noGrp="1"/>
          </p:cNvSpPr>
          <p:nvPr>
            <p:custDataLst>
              <p:tags r:id="rId25"/>
            </p:custDataLst>
          </p:nvPr>
        </p:nvSpPr>
        <p:spPr bwMode="auto">
          <a:xfrm>
            <a:off x="5235575" y="5861050"/>
            <a:ext cx="3492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200">
                <a:effectLst/>
              </a:rPr>
              <a:t>2020</a:t>
            </a:r>
            <a:endParaRPr lang="en-GB" sz="1200" noProof="0"/>
          </a:p>
        </p:txBody>
      </p:sp>
      <p:sp>
        <p:nvSpPr>
          <p:cNvPr id="60" name="Text Placeholder 2">
            <a:extLst>
              <a:ext uri="{FF2B5EF4-FFF2-40B4-BE49-F238E27FC236}">
                <a16:creationId xmlns:a16="http://schemas.microsoft.com/office/drawing/2014/main" id="{B926D567-524F-4499-A030-E098F89DCD34}"/>
              </a:ext>
            </a:extLst>
          </p:cNvPr>
          <p:cNvSpPr>
            <a:spLocks noGrp="1"/>
          </p:cNvSpPr>
          <p:nvPr>
            <p:custDataLst>
              <p:tags r:id="rId26"/>
            </p:custDataLst>
          </p:nvPr>
        </p:nvSpPr>
        <p:spPr bwMode="auto">
          <a:xfrm>
            <a:off x="5664200" y="5861050"/>
            <a:ext cx="3492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200">
                <a:effectLst/>
              </a:rPr>
              <a:t>2021</a:t>
            </a:r>
            <a:endParaRPr lang="en-GB" sz="1200" noProof="0"/>
          </a:p>
        </p:txBody>
      </p:sp>
      <p:sp>
        <p:nvSpPr>
          <p:cNvPr id="62" name="Text Placeholder 2">
            <a:extLst>
              <a:ext uri="{FF2B5EF4-FFF2-40B4-BE49-F238E27FC236}">
                <a16:creationId xmlns:a16="http://schemas.microsoft.com/office/drawing/2014/main" id="{B926D567-524F-4499-A030-E098F89DCD34}"/>
              </a:ext>
            </a:extLst>
          </p:cNvPr>
          <p:cNvSpPr>
            <a:spLocks noGrp="1"/>
          </p:cNvSpPr>
          <p:nvPr>
            <p:custDataLst>
              <p:tags r:id="rId27"/>
            </p:custDataLst>
          </p:nvPr>
        </p:nvSpPr>
        <p:spPr bwMode="auto">
          <a:xfrm>
            <a:off x="6091238" y="5861050"/>
            <a:ext cx="3492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200">
                <a:effectLst/>
              </a:rPr>
              <a:t>2022</a:t>
            </a:r>
            <a:endParaRPr lang="en-GB" sz="1200" noProof="0"/>
          </a:p>
        </p:txBody>
      </p:sp>
      <p:sp>
        <p:nvSpPr>
          <p:cNvPr id="1024" name="Text Placeholder 2">
            <a:extLst>
              <a:ext uri="{FF2B5EF4-FFF2-40B4-BE49-F238E27FC236}">
                <a16:creationId xmlns:a16="http://schemas.microsoft.com/office/drawing/2014/main" id="{B926D567-524F-4499-A030-E098F89DCD34}"/>
              </a:ext>
            </a:extLst>
          </p:cNvPr>
          <p:cNvSpPr>
            <a:spLocks noGrp="1"/>
          </p:cNvSpPr>
          <p:nvPr>
            <p:custDataLst>
              <p:tags r:id="rId28"/>
            </p:custDataLst>
          </p:nvPr>
        </p:nvSpPr>
        <p:spPr bwMode="auto">
          <a:xfrm>
            <a:off x="6519863" y="5861050"/>
            <a:ext cx="3492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200">
                <a:effectLst/>
              </a:rPr>
              <a:t>2023</a:t>
            </a:r>
            <a:endParaRPr lang="en-GB" sz="1200" noProof="0"/>
          </a:p>
        </p:txBody>
      </p:sp>
      <p:cxnSp>
        <p:nvCxnSpPr>
          <p:cNvPr id="1047" name="Straight Connector 1046">
            <a:extLst>
              <a:ext uri="{FF2B5EF4-FFF2-40B4-BE49-F238E27FC236}">
                <a16:creationId xmlns:a16="http://schemas.microsoft.com/office/drawing/2014/main" id="{9CDA7BF9-A02D-AE03-AA61-AE0D714DE112}"/>
              </a:ext>
            </a:extLst>
          </p:cNvPr>
          <p:cNvCxnSpPr/>
          <p:nvPr>
            <p:custDataLst>
              <p:tags r:id="rId29"/>
            </p:custDataLst>
          </p:nvPr>
        </p:nvCxnSpPr>
        <p:spPr bwMode="gray">
          <a:xfrm>
            <a:off x="8289925" y="2981325"/>
            <a:ext cx="195263" cy="0"/>
          </a:xfrm>
          <a:prstGeom prst="line">
            <a:avLst/>
          </a:prstGeom>
          <a:ln w="19050" cap="rnd" cmpd="sng" algn="ctr">
            <a:solidFill>
              <a:srgbClr val="E59E6D"/>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49" name="Straight Connector 1048">
            <a:extLst>
              <a:ext uri="{FF2B5EF4-FFF2-40B4-BE49-F238E27FC236}">
                <a16:creationId xmlns:a16="http://schemas.microsoft.com/office/drawing/2014/main" id="{AE91CD30-2C63-604D-D7F1-6FC9BD68C220}"/>
              </a:ext>
            </a:extLst>
          </p:cNvPr>
          <p:cNvCxnSpPr/>
          <p:nvPr>
            <p:custDataLst>
              <p:tags r:id="rId30"/>
            </p:custDataLst>
          </p:nvPr>
        </p:nvCxnSpPr>
        <p:spPr bwMode="gray">
          <a:xfrm>
            <a:off x="8289925" y="3248025"/>
            <a:ext cx="195263" cy="0"/>
          </a:xfrm>
          <a:prstGeom prst="line">
            <a:avLst/>
          </a:prstGeom>
          <a:ln w="19050" cap="rnd" cmpd="sng" algn="ctr">
            <a:solidFill>
              <a:srgbClr val="364D6E"/>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50" name="Straight Connector 1049">
            <a:extLst>
              <a:ext uri="{FF2B5EF4-FFF2-40B4-BE49-F238E27FC236}">
                <a16:creationId xmlns:a16="http://schemas.microsoft.com/office/drawing/2014/main" id="{279D3466-03FE-FB3E-8975-874C701DAA88}"/>
              </a:ext>
            </a:extLst>
          </p:cNvPr>
          <p:cNvCxnSpPr/>
          <p:nvPr>
            <p:custDataLst>
              <p:tags r:id="rId31"/>
            </p:custDataLst>
          </p:nvPr>
        </p:nvCxnSpPr>
        <p:spPr bwMode="gray">
          <a:xfrm>
            <a:off x="8289925" y="3514725"/>
            <a:ext cx="195263" cy="0"/>
          </a:xfrm>
          <a:prstGeom prst="line">
            <a:avLst/>
          </a:prstGeom>
          <a:ln w="19050" cap="rnd" cmpd="sng" algn="ctr">
            <a:solidFill>
              <a:srgbClr val="9DB1CF"/>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51" name="Straight Connector 1050">
            <a:extLst>
              <a:ext uri="{FF2B5EF4-FFF2-40B4-BE49-F238E27FC236}">
                <a16:creationId xmlns:a16="http://schemas.microsoft.com/office/drawing/2014/main" id="{E6DCCB56-5239-B718-D50C-03DE6F0D76A9}"/>
              </a:ext>
            </a:extLst>
          </p:cNvPr>
          <p:cNvCxnSpPr/>
          <p:nvPr>
            <p:custDataLst>
              <p:tags r:id="rId32"/>
            </p:custDataLst>
          </p:nvPr>
        </p:nvCxnSpPr>
        <p:spPr bwMode="gray">
          <a:xfrm>
            <a:off x="8289925" y="3781425"/>
            <a:ext cx="195263" cy="0"/>
          </a:xfrm>
          <a:prstGeom prst="line">
            <a:avLst/>
          </a:prstGeom>
          <a:ln w="19050" cap="rnd" cmpd="sng" algn="ctr">
            <a:solidFill>
              <a:schemeClr val="accent5"/>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2" name="Text Placeholder 2">
            <a:extLst>
              <a:ext uri="{FF2B5EF4-FFF2-40B4-BE49-F238E27FC236}">
                <a16:creationId xmlns:a16="http://schemas.microsoft.com/office/drawing/2014/main" id="{B926D567-524F-4499-A030-E098F89DCD34}"/>
              </a:ext>
            </a:extLst>
          </p:cNvPr>
          <p:cNvSpPr>
            <a:spLocks noGrp="1"/>
          </p:cNvSpPr>
          <p:nvPr>
            <p:custDataLst>
              <p:tags r:id="rId33"/>
            </p:custDataLst>
          </p:nvPr>
        </p:nvSpPr>
        <p:spPr bwMode="auto">
          <a:xfrm>
            <a:off x="8545513" y="2871788"/>
            <a:ext cx="596900" cy="2159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nSpc>
                <a:spcPts val="1700"/>
              </a:lnSpc>
              <a:spcBef>
                <a:spcPct val="0"/>
              </a:spcBef>
              <a:spcAft>
                <a:spcPct val="0"/>
              </a:spcAft>
              <a:buNone/>
            </a:pPr>
            <a:fld id="{9B9C613C-C3D7-4149-84C7-C4F8C0A281F6}" type="datetime'Sola''''''''''''''''''r'''''''''' ''''P''''''''''''''''V'">
              <a:rPr lang="en-GB" altLang="en-US" sz="1200" smtClean="0"/>
              <a:pPr marL="0" lvl="0" indent="0">
                <a:lnSpc>
                  <a:spcPts val="1700"/>
                </a:lnSpc>
                <a:spcBef>
                  <a:spcPct val="0"/>
                </a:spcBef>
                <a:spcAft>
                  <a:spcPct val="0"/>
                </a:spcAft>
                <a:buNone/>
              </a:pPr>
              <a:t>Solar PV</a:t>
            </a:fld>
            <a:endParaRPr lang="en-GB" sz="1200" noProof="0"/>
          </a:p>
        </p:txBody>
      </p:sp>
      <p:sp>
        <p:nvSpPr>
          <p:cNvPr id="1027" name="Text Placeholder 2">
            <a:extLst>
              <a:ext uri="{FF2B5EF4-FFF2-40B4-BE49-F238E27FC236}">
                <a16:creationId xmlns:a16="http://schemas.microsoft.com/office/drawing/2014/main" id="{444EE6FB-EAF5-6D41-F929-03D9143C45D4}"/>
              </a:ext>
            </a:extLst>
          </p:cNvPr>
          <p:cNvSpPr>
            <a:spLocks noGrp="1"/>
          </p:cNvSpPr>
          <p:nvPr>
            <p:custDataLst>
              <p:tags r:id="rId34"/>
            </p:custDataLst>
          </p:nvPr>
        </p:nvSpPr>
        <p:spPr bwMode="auto">
          <a:xfrm>
            <a:off x="8545513" y="3138488"/>
            <a:ext cx="1020763" cy="2159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nSpc>
                <a:spcPts val="1700"/>
              </a:lnSpc>
              <a:spcBef>
                <a:spcPct val="0"/>
              </a:spcBef>
              <a:spcAft>
                <a:spcPct val="0"/>
              </a:spcAft>
              <a:buNone/>
            </a:pPr>
            <a:fld id="{6DCD8227-9252-460A-B3C0-4298984079BE}" type="datetime'''Ons''''''''''''h''''o''r''''''''''e'' ''w''''''''''ind'''">
              <a:rPr lang="en-GB" altLang="en-US" sz="1200" smtClean="0">
                <a:cs typeface="Inter" panose="020B0604020202020204" charset="0"/>
              </a:rPr>
              <a:pPr marL="0" lvl="0" indent="0">
                <a:lnSpc>
                  <a:spcPts val="1700"/>
                </a:lnSpc>
                <a:spcBef>
                  <a:spcPct val="0"/>
                </a:spcBef>
                <a:spcAft>
                  <a:spcPct val="0"/>
                </a:spcAft>
                <a:buNone/>
              </a:pPr>
              <a:t>Onshore wind</a:t>
            </a:fld>
            <a:endParaRPr lang="en-GB" sz="1200" noProof="0">
              <a:cs typeface="Inter" panose="020B0604020202020204" charset="0"/>
            </a:endParaRPr>
          </a:p>
        </p:txBody>
      </p:sp>
      <p:sp>
        <p:nvSpPr>
          <p:cNvPr id="1028" name="Text Placeholder 2">
            <a:extLst>
              <a:ext uri="{FF2B5EF4-FFF2-40B4-BE49-F238E27FC236}">
                <a16:creationId xmlns:a16="http://schemas.microsoft.com/office/drawing/2014/main" id="{10F30741-DF1C-8616-828F-08ABE6CE41AB}"/>
              </a:ext>
            </a:extLst>
          </p:cNvPr>
          <p:cNvSpPr>
            <a:spLocks noGrp="1"/>
          </p:cNvSpPr>
          <p:nvPr>
            <p:custDataLst>
              <p:tags r:id="rId35"/>
            </p:custDataLst>
          </p:nvPr>
        </p:nvSpPr>
        <p:spPr bwMode="auto">
          <a:xfrm>
            <a:off x="8545513" y="3405188"/>
            <a:ext cx="1022350" cy="2159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nSpc>
                <a:spcPts val="1700"/>
              </a:lnSpc>
              <a:spcBef>
                <a:spcPct val="0"/>
              </a:spcBef>
              <a:spcAft>
                <a:spcPct val="0"/>
              </a:spcAft>
              <a:buNone/>
            </a:pPr>
            <a:fld id="{79E62179-9E1D-4D2C-A261-A33D5A3E5C42}" type="datetime'''''''''Off''sh''''ore'''' ''''''''''w''''in''''d'''''">
              <a:rPr lang="en-GB" altLang="en-US" sz="1200" smtClean="0">
                <a:cs typeface="Inter" panose="020B0604020202020204" charset="0"/>
              </a:rPr>
              <a:pPr marL="0" lvl="0" indent="0">
                <a:lnSpc>
                  <a:spcPts val="1700"/>
                </a:lnSpc>
                <a:spcBef>
                  <a:spcPct val="0"/>
                </a:spcBef>
                <a:spcAft>
                  <a:spcPct val="0"/>
                </a:spcAft>
                <a:buNone/>
              </a:pPr>
              <a:t>Offshore wind</a:t>
            </a:fld>
            <a:endParaRPr lang="en-GB" sz="1200" noProof="0">
              <a:cs typeface="Inter" panose="020B0604020202020204" charset="0"/>
            </a:endParaRPr>
          </a:p>
        </p:txBody>
      </p:sp>
      <p:sp>
        <p:nvSpPr>
          <p:cNvPr id="1029" name="Text Placeholder 2">
            <a:extLst>
              <a:ext uri="{FF2B5EF4-FFF2-40B4-BE49-F238E27FC236}">
                <a16:creationId xmlns:a16="http://schemas.microsoft.com/office/drawing/2014/main" id="{74EC977C-B73B-5BC8-212E-76C175781D9B}"/>
              </a:ext>
            </a:extLst>
          </p:cNvPr>
          <p:cNvSpPr>
            <a:spLocks noGrp="1"/>
          </p:cNvSpPr>
          <p:nvPr>
            <p:custDataLst>
              <p:tags r:id="rId36"/>
            </p:custDataLst>
          </p:nvPr>
        </p:nvSpPr>
        <p:spPr bwMode="auto">
          <a:xfrm>
            <a:off x="8545513" y="3671888"/>
            <a:ext cx="522288" cy="2159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nSpc>
                <a:spcPts val="1700"/>
              </a:lnSpc>
              <a:spcBef>
                <a:spcPct val="0"/>
              </a:spcBef>
              <a:spcAft>
                <a:spcPct val="0"/>
              </a:spcAft>
              <a:buNone/>
            </a:pPr>
            <a:fld id="{4CFDAF9A-2EA8-475B-8A62-E7AB152F3509}" type="datetime'''''''B''a''''''''''''''t''''''''t''''''e''''''''ry'''''''''''">
              <a:rPr lang="en-GB" altLang="en-US" sz="1200" smtClean="0"/>
              <a:pPr marL="0" lvl="0" indent="0">
                <a:lnSpc>
                  <a:spcPts val="1700"/>
                </a:lnSpc>
                <a:spcBef>
                  <a:spcPct val="0"/>
                </a:spcBef>
                <a:spcAft>
                  <a:spcPct val="0"/>
                </a:spcAft>
                <a:buNone/>
              </a:pPr>
              <a:t>Battery</a:t>
            </a:fld>
            <a:endParaRPr lang="en-GB" sz="1200" noProof="0">
              <a:cs typeface="Inter" panose="020B0604020202020204" charset="0"/>
            </a:endParaRPr>
          </a:p>
        </p:txBody>
      </p:sp>
      <p:sp>
        <p:nvSpPr>
          <p:cNvPr id="1256" name="Right Brace 1255">
            <a:extLst>
              <a:ext uri="{FF2B5EF4-FFF2-40B4-BE49-F238E27FC236}">
                <a16:creationId xmlns:a16="http://schemas.microsoft.com/office/drawing/2014/main" id="{68672140-B57C-1C5F-B511-F3B4222C69FD}"/>
              </a:ext>
            </a:extLst>
          </p:cNvPr>
          <p:cNvSpPr/>
          <p:nvPr/>
        </p:nvSpPr>
        <p:spPr>
          <a:xfrm>
            <a:off x="6973888" y="4940317"/>
            <a:ext cx="174625" cy="449244"/>
          </a:xfrm>
          <a:prstGeom prst="rightBrace">
            <a:avLst/>
          </a:prstGeom>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257" name="TextBox 1256">
            <a:extLst>
              <a:ext uri="{FF2B5EF4-FFF2-40B4-BE49-F238E27FC236}">
                <a16:creationId xmlns:a16="http://schemas.microsoft.com/office/drawing/2014/main" id="{BA5DBEE4-00EA-9D1F-6FDF-CEDF655FD29D}"/>
              </a:ext>
            </a:extLst>
          </p:cNvPr>
          <p:cNvSpPr txBox="1"/>
          <p:nvPr/>
        </p:nvSpPr>
        <p:spPr>
          <a:xfrm>
            <a:off x="7119938" y="4922565"/>
            <a:ext cx="1150937" cy="484748"/>
          </a:xfrm>
          <a:prstGeom prst="rect">
            <a:avLst/>
          </a:prstGeom>
          <a:noFill/>
        </p:spPr>
        <p:txBody>
          <a:bodyPr wrap="square" lIns="0" tIns="0" rIns="0" bIns="0" rtlCol="0">
            <a:spAutoFit/>
          </a:bodyPr>
          <a:lstStyle/>
          <a:p>
            <a:pPr algn="ctr"/>
            <a:r>
              <a:rPr lang="en-GB" sz="1050">
                <a:latin typeface="Century Gothic" panose="020B0502020202020204" pitchFamily="34" charset="0"/>
              </a:rPr>
              <a:t>Fossil-based LCOE range (coal &amp; gas)</a:t>
            </a:r>
          </a:p>
        </p:txBody>
      </p:sp>
      <p:grpSp>
        <p:nvGrpSpPr>
          <p:cNvPr id="1263" name="Group 1262">
            <a:extLst>
              <a:ext uri="{FF2B5EF4-FFF2-40B4-BE49-F238E27FC236}">
                <a16:creationId xmlns:a16="http://schemas.microsoft.com/office/drawing/2014/main" id="{024DE6B9-01F6-82D5-7E6E-E636313B3BF5}"/>
              </a:ext>
            </a:extLst>
          </p:cNvPr>
          <p:cNvGrpSpPr/>
          <p:nvPr/>
        </p:nvGrpSpPr>
        <p:grpSpPr>
          <a:xfrm>
            <a:off x="11556134" y="279119"/>
            <a:ext cx="506963" cy="506963"/>
            <a:chOff x="2106774" y="4511186"/>
            <a:chExt cx="976789" cy="976789"/>
          </a:xfrm>
        </p:grpSpPr>
        <p:sp>
          <p:nvSpPr>
            <p:cNvPr id="1264" name="Oval 1263">
              <a:extLst>
                <a:ext uri="{FF2B5EF4-FFF2-40B4-BE49-F238E27FC236}">
                  <a16:creationId xmlns:a16="http://schemas.microsoft.com/office/drawing/2014/main" id="{3EC0D15A-E63A-51C9-6BA5-63A8B877198B}"/>
                </a:ext>
              </a:extLst>
            </p:cNvPr>
            <p:cNvSpPr/>
            <p:nvPr/>
          </p:nvSpPr>
          <p:spPr>
            <a:xfrm>
              <a:off x="2106774" y="4511186"/>
              <a:ext cx="976789" cy="976789"/>
            </a:xfrm>
            <a:prstGeom prst="ellipse">
              <a:avLst/>
            </a:prstGeom>
            <a:solidFill>
              <a:schemeClr val="bg1">
                <a:lumMod val="95000"/>
              </a:schemeClr>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a:ln>
                  <a:noFill/>
                </a:ln>
                <a:solidFill>
                  <a:schemeClr val="bg1"/>
                </a:solidFill>
                <a:latin typeface="Century Gothic" panose="020B0502020202020204" pitchFamily="34" charset="0"/>
              </a:endParaRPr>
            </a:p>
          </p:txBody>
        </p:sp>
        <p:grpSp>
          <p:nvGrpSpPr>
            <p:cNvPr id="1265" name="Group 1264">
              <a:extLst>
                <a:ext uri="{FF2B5EF4-FFF2-40B4-BE49-F238E27FC236}">
                  <a16:creationId xmlns:a16="http://schemas.microsoft.com/office/drawing/2014/main" id="{0EDB069C-A426-3D81-306D-9D687654F297}"/>
                </a:ext>
              </a:extLst>
            </p:cNvPr>
            <p:cNvGrpSpPr/>
            <p:nvPr/>
          </p:nvGrpSpPr>
          <p:grpSpPr>
            <a:xfrm>
              <a:off x="2320848" y="4725260"/>
              <a:ext cx="548640" cy="548640"/>
              <a:chOff x="566978" y="542842"/>
              <a:chExt cx="904113" cy="914891"/>
            </a:xfrm>
          </p:grpSpPr>
          <p:grpSp>
            <p:nvGrpSpPr>
              <p:cNvPr id="1267" name="object 60">
                <a:extLst>
                  <a:ext uri="{FF2B5EF4-FFF2-40B4-BE49-F238E27FC236}">
                    <a16:creationId xmlns:a16="http://schemas.microsoft.com/office/drawing/2014/main" id="{7F45060C-FB98-FD20-58E3-8BD85E59CF82}"/>
                  </a:ext>
                </a:extLst>
              </p:cNvPr>
              <p:cNvGrpSpPr/>
              <p:nvPr/>
            </p:nvGrpSpPr>
            <p:grpSpPr>
              <a:xfrm>
                <a:off x="854377" y="1000533"/>
                <a:ext cx="569595" cy="457200"/>
                <a:chOff x="854377" y="1000533"/>
                <a:chExt cx="569595" cy="457200"/>
              </a:xfrm>
            </p:grpSpPr>
            <p:pic>
              <p:nvPicPr>
                <p:cNvPr id="1287" name="object 61">
                  <a:extLst>
                    <a:ext uri="{FF2B5EF4-FFF2-40B4-BE49-F238E27FC236}">
                      <a16:creationId xmlns:a16="http://schemas.microsoft.com/office/drawing/2014/main" id="{41A27880-2267-89B8-A738-8D9EE08F0EB5}"/>
                    </a:ext>
                  </a:extLst>
                </p:cNvPr>
                <p:cNvPicPr/>
                <p:nvPr/>
              </p:nvPicPr>
              <p:blipFill>
                <a:blip r:embed="rId42" cstate="print"/>
                <a:stretch>
                  <a:fillRect/>
                </a:stretch>
              </p:blipFill>
              <p:spPr>
                <a:xfrm>
                  <a:off x="862939" y="1007123"/>
                  <a:ext cx="554774" cy="441959"/>
                </a:xfrm>
                <a:prstGeom prst="rect">
                  <a:avLst/>
                </a:prstGeom>
              </p:spPr>
            </p:pic>
            <p:sp>
              <p:nvSpPr>
                <p:cNvPr id="1288" name="object 62">
                  <a:extLst>
                    <a:ext uri="{FF2B5EF4-FFF2-40B4-BE49-F238E27FC236}">
                      <a16:creationId xmlns:a16="http://schemas.microsoft.com/office/drawing/2014/main" id="{06896C2B-0E6F-7289-1AEA-5DB11B736329}"/>
                    </a:ext>
                  </a:extLst>
                </p:cNvPr>
                <p:cNvSpPr/>
                <p:nvPr/>
              </p:nvSpPr>
              <p:spPr>
                <a:xfrm>
                  <a:off x="854377" y="1000533"/>
                  <a:ext cx="569595" cy="457200"/>
                </a:xfrm>
                <a:custGeom>
                  <a:avLst/>
                  <a:gdLst/>
                  <a:ahLst/>
                  <a:cxnLst/>
                  <a:rect l="l" t="t" r="r" b="b"/>
                  <a:pathLst>
                    <a:path w="569594" h="457200">
                      <a:moveTo>
                        <a:pt x="282549" y="358140"/>
                      </a:moveTo>
                      <a:lnTo>
                        <a:pt x="251840" y="358140"/>
                      </a:lnTo>
                      <a:lnTo>
                        <a:pt x="251790" y="363220"/>
                      </a:lnTo>
                      <a:lnTo>
                        <a:pt x="165468" y="378460"/>
                      </a:lnTo>
                      <a:lnTo>
                        <a:pt x="139192" y="383540"/>
                      </a:lnTo>
                      <a:lnTo>
                        <a:pt x="128092" y="386080"/>
                      </a:lnTo>
                      <a:lnTo>
                        <a:pt x="126314" y="393700"/>
                      </a:lnTo>
                      <a:lnTo>
                        <a:pt x="126085" y="397510"/>
                      </a:lnTo>
                      <a:lnTo>
                        <a:pt x="125463" y="405130"/>
                      </a:lnTo>
                      <a:lnTo>
                        <a:pt x="129793" y="411480"/>
                      </a:lnTo>
                      <a:lnTo>
                        <a:pt x="137706" y="412750"/>
                      </a:lnTo>
                      <a:lnTo>
                        <a:pt x="144775" y="415290"/>
                      </a:lnTo>
                      <a:lnTo>
                        <a:pt x="158960" y="419100"/>
                      </a:lnTo>
                      <a:lnTo>
                        <a:pt x="214667" y="435610"/>
                      </a:lnTo>
                      <a:lnTo>
                        <a:pt x="240744" y="441960"/>
                      </a:lnTo>
                      <a:lnTo>
                        <a:pt x="266826" y="449580"/>
                      </a:lnTo>
                      <a:lnTo>
                        <a:pt x="295402" y="457200"/>
                      </a:lnTo>
                      <a:lnTo>
                        <a:pt x="305015" y="457200"/>
                      </a:lnTo>
                      <a:lnTo>
                        <a:pt x="403618" y="427990"/>
                      </a:lnTo>
                      <a:lnTo>
                        <a:pt x="299605" y="427990"/>
                      </a:lnTo>
                      <a:lnTo>
                        <a:pt x="277368" y="421640"/>
                      </a:lnTo>
                      <a:lnTo>
                        <a:pt x="283540" y="419100"/>
                      </a:lnTo>
                      <a:lnTo>
                        <a:pt x="294096" y="414020"/>
                      </a:lnTo>
                      <a:lnTo>
                        <a:pt x="251040" y="414020"/>
                      </a:lnTo>
                      <a:lnTo>
                        <a:pt x="208064" y="401320"/>
                      </a:lnTo>
                      <a:lnTo>
                        <a:pt x="250786" y="393700"/>
                      </a:lnTo>
                      <a:lnTo>
                        <a:pt x="442100" y="393700"/>
                      </a:lnTo>
                      <a:lnTo>
                        <a:pt x="441998" y="392430"/>
                      </a:lnTo>
                      <a:lnTo>
                        <a:pt x="410777" y="386080"/>
                      </a:lnTo>
                      <a:lnTo>
                        <a:pt x="281571" y="386080"/>
                      </a:lnTo>
                      <a:lnTo>
                        <a:pt x="282549" y="358140"/>
                      </a:lnTo>
                      <a:close/>
                    </a:path>
                    <a:path w="569594" h="457200">
                      <a:moveTo>
                        <a:pt x="442407" y="397510"/>
                      </a:moveTo>
                      <a:lnTo>
                        <a:pt x="317601" y="397510"/>
                      </a:lnTo>
                      <a:lnTo>
                        <a:pt x="366585" y="407670"/>
                      </a:lnTo>
                      <a:lnTo>
                        <a:pt x="317390" y="422910"/>
                      </a:lnTo>
                      <a:lnTo>
                        <a:pt x="300990" y="426720"/>
                      </a:lnTo>
                      <a:lnTo>
                        <a:pt x="300761" y="427990"/>
                      </a:lnTo>
                      <a:lnTo>
                        <a:pt x="403618" y="427990"/>
                      </a:lnTo>
                      <a:lnTo>
                        <a:pt x="429856" y="420370"/>
                      </a:lnTo>
                      <a:lnTo>
                        <a:pt x="439153" y="416560"/>
                      </a:lnTo>
                      <a:lnTo>
                        <a:pt x="443534" y="411480"/>
                      </a:lnTo>
                      <a:lnTo>
                        <a:pt x="442407" y="397510"/>
                      </a:lnTo>
                      <a:close/>
                    </a:path>
                    <a:path w="569594" h="457200">
                      <a:moveTo>
                        <a:pt x="442100" y="393700"/>
                      </a:moveTo>
                      <a:lnTo>
                        <a:pt x="250786" y="393700"/>
                      </a:lnTo>
                      <a:lnTo>
                        <a:pt x="250363" y="405130"/>
                      </a:lnTo>
                      <a:lnTo>
                        <a:pt x="250240" y="408940"/>
                      </a:lnTo>
                      <a:lnTo>
                        <a:pt x="250469" y="411480"/>
                      </a:lnTo>
                      <a:lnTo>
                        <a:pt x="251040" y="414020"/>
                      </a:lnTo>
                      <a:lnTo>
                        <a:pt x="294096" y="414020"/>
                      </a:lnTo>
                      <a:lnTo>
                        <a:pt x="296735" y="412750"/>
                      </a:lnTo>
                      <a:lnTo>
                        <a:pt x="310908" y="407670"/>
                      </a:lnTo>
                      <a:lnTo>
                        <a:pt x="315645" y="403860"/>
                      </a:lnTo>
                      <a:lnTo>
                        <a:pt x="317601" y="397510"/>
                      </a:lnTo>
                      <a:lnTo>
                        <a:pt x="442407" y="397510"/>
                      </a:lnTo>
                      <a:lnTo>
                        <a:pt x="442100" y="393700"/>
                      </a:lnTo>
                      <a:close/>
                    </a:path>
                    <a:path w="569594" h="457200">
                      <a:moveTo>
                        <a:pt x="318663" y="351790"/>
                      </a:moveTo>
                      <a:lnTo>
                        <a:pt x="287985" y="351790"/>
                      </a:lnTo>
                      <a:lnTo>
                        <a:pt x="287921" y="383540"/>
                      </a:lnTo>
                      <a:lnTo>
                        <a:pt x="285838" y="384810"/>
                      </a:lnTo>
                      <a:lnTo>
                        <a:pt x="281571" y="386080"/>
                      </a:lnTo>
                      <a:lnTo>
                        <a:pt x="410777" y="386080"/>
                      </a:lnTo>
                      <a:lnTo>
                        <a:pt x="318668" y="367030"/>
                      </a:lnTo>
                      <a:lnTo>
                        <a:pt x="318663" y="351790"/>
                      </a:lnTo>
                      <a:close/>
                    </a:path>
                    <a:path w="569594" h="457200">
                      <a:moveTo>
                        <a:pt x="22059" y="0"/>
                      </a:moveTo>
                      <a:lnTo>
                        <a:pt x="15633" y="0"/>
                      </a:lnTo>
                      <a:lnTo>
                        <a:pt x="13766" y="1270"/>
                      </a:lnTo>
                      <a:lnTo>
                        <a:pt x="5359" y="2540"/>
                      </a:lnTo>
                      <a:lnTo>
                        <a:pt x="2870" y="7620"/>
                      </a:lnTo>
                      <a:lnTo>
                        <a:pt x="0" y="12700"/>
                      </a:lnTo>
                      <a:lnTo>
                        <a:pt x="1193" y="20320"/>
                      </a:lnTo>
                      <a:lnTo>
                        <a:pt x="4038" y="24130"/>
                      </a:lnTo>
                      <a:lnTo>
                        <a:pt x="9375" y="33020"/>
                      </a:lnTo>
                      <a:lnTo>
                        <a:pt x="14795" y="40640"/>
                      </a:lnTo>
                      <a:lnTo>
                        <a:pt x="25781" y="55880"/>
                      </a:lnTo>
                      <a:lnTo>
                        <a:pt x="201154" y="302260"/>
                      </a:lnTo>
                      <a:lnTo>
                        <a:pt x="234772" y="350520"/>
                      </a:lnTo>
                      <a:lnTo>
                        <a:pt x="241376" y="359410"/>
                      </a:lnTo>
                      <a:lnTo>
                        <a:pt x="251840" y="358140"/>
                      </a:lnTo>
                      <a:lnTo>
                        <a:pt x="282549" y="358140"/>
                      </a:lnTo>
                      <a:lnTo>
                        <a:pt x="282727" y="353060"/>
                      </a:lnTo>
                      <a:lnTo>
                        <a:pt x="287985" y="351790"/>
                      </a:lnTo>
                      <a:lnTo>
                        <a:pt x="318663" y="351790"/>
                      </a:lnTo>
                      <a:lnTo>
                        <a:pt x="318744" y="346710"/>
                      </a:lnTo>
                      <a:lnTo>
                        <a:pt x="440188" y="326390"/>
                      </a:lnTo>
                      <a:lnTo>
                        <a:pt x="255460" y="326390"/>
                      </a:lnTo>
                      <a:lnTo>
                        <a:pt x="248557" y="317500"/>
                      </a:lnTo>
                      <a:lnTo>
                        <a:pt x="241687" y="307340"/>
                      </a:lnTo>
                      <a:lnTo>
                        <a:pt x="227596" y="287020"/>
                      </a:lnTo>
                      <a:lnTo>
                        <a:pt x="294313" y="279400"/>
                      </a:lnTo>
                      <a:lnTo>
                        <a:pt x="315912" y="275590"/>
                      </a:lnTo>
                      <a:lnTo>
                        <a:pt x="355092" y="275590"/>
                      </a:lnTo>
                      <a:lnTo>
                        <a:pt x="351967" y="271780"/>
                      </a:lnTo>
                      <a:lnTo>
                        <a:pt x="420370" y="264160"/>
                      </a:lnTo>
                      <a:lnTo>
                        <a:pt x="463261" y="264160"/>
                      </a:lnTo>
                      <a:lnTo>
                        <a:pt x="459401" y="260350"/>
                      </a:lnTo>
                      <a:lnTo>
                        <a:pt x="207797" y="260350"/>
                      </a:lnTo>
                      <a:lnTo>
                        <a:pt x="202255" y="251460"/>
                      </a:lnTo>
                      <a:lnTo>
                        <a:pt x="191095" y="236220"/>
                      </a:lnTo>
                      <a:lnTo>
                        <a:pt x="169138" y="204470"/>
                      </a:lnTo>
                      <a:lnTo>
                        <a:pt x="174561" y="204470"/>
                      </a:lnTo>
                      <a:lnTo>
                        <a:pt x="214275" y="201930"/>
                      </a:lnTo>
                      <a:lnTo>
                        <a:pt x="234245" y="201930"/>
                      </a:lnTo>
                      <a:lnTo>
                        <a:pt x="254342" y="200660"/>
                      </a:lnTo>
                      <a:lnTo>
                        <a:pt x="293114" y="200660"/>
                      </a:lnTo>
                      <a:lnTo>
                        <a:pt x="291007" y="198120"/>
                      </a:lnTo>
                      <a:lnTo>
                        <a:pt x="323654" y="195580"/>
                      </a:lnTo>
                      <a:lnTo>
                        <a:pt x="339162" y="195580"/>
                      </a:lnTo>
                      <a:lnTo>
                        <a:pt x="354711" y="194310"/>
                      </a:lnTo>
                      <a:lnTo>
                        <a:pt x="396064" y="194310"/>
                      </a:lnTo>
                      <a:lnTo>
                        <a:pt x="393649" y="191770"/>
                      </a:lnTo>
                      <a:lnTo>
                        <a:pt x="400418" y="191770"/>
                      </a:lnTo>
                      <a:lnTo>
                        <a:pt x="407390" y="190500"/>
                      </a:lnTo>
                      <a:lnTo>
                        <a:pt x="423875" y="187960"/>
                      </a:lnTo>
                      <a:lnTo>
                        <a:pt x="467627" y="187960"/>
                      </a:lnTo>
                      <a:lnTo>
                        <a:pt x="455735" y="176530"/>
                      </a:lnTo>
                      <a:lnTo>
                        <a:pt x="148551" y="176530"/>
                      </a:lnTo>
                      <a:lnTo>
                        <a:pt x="140137" y="163830"/>
                      </a:lnTo>
                      <a:lnTo>
                        <a:pt x="131732" y="152400"/>
                      </a:lnTo>
                      <a:lnTo>
                        <a:pt x="114807" y="128270"/>
                      </a:lnTo>
                      <a:lnTo>
                        <a:pt x="405631" y="128270"/>
                      </a:lnTo>
                      <a:lnTo>
                        <a:pt x="376668" y="100330"/>
                      </a:lnTo>
                      <a:lnTo>
                        <a:pt x="306463" y="100330"/>
                      </a:lnTo>
                      <a:lnTo>
                        <a:pt x="306095" y="99060"/>
                      </a:lnTo>
                      <a:lnTo>
                        <a:pt x="210489" y="99060"/>
                      </a:lnTo>
                      <a:lnTo>
                        <a:pt x="209413" y="97790"/>
                      </a:lnTo>
                      <a:lnTo>
                        <a:pt x="92506" y="97790"/>
                      </a:lnTo>
                      <a:lnTo>
                        <a:pt x="83223" y="83820"/>
                      </a:lnTo>
                      <a:lnTo>
                        <a:pt x="64590" y="58420"/>
                      </a:lnTo>
                      <a:lnTo>
                        <a:pt x="49021" y="35560"/>
                      </a:lnTo>
                      <a:lnTo>
                        <a:pt x="227866" y="35560"/>
                      </a:lnTo>
                      <a:lnTo>
                        <a:pt x="22059" y="0"/>
                      </a:lnTo>
                      <a:close/>
                    </a:path>
                    <a:path w="569594" h="457200">
                      <a:moveTo>
                        <a:pt x="355092" y="275590"/>
                      </a:moveTo>
                      <a:lnTo>
                        <a:pt x="315912" y="275590"/>
                      </a:lnTo>
                      <a:lnTo>
                        <a:pt x="319023" y="279400"/>
                      </a:lnTo>
                      <a:lnTo>
                        <a:pt x="324840" y="287020"/>
                      </a:lnTo>
                      <a:lnTo>
                        <a:pt x="345046" y="311150"/>
                      </a:lnTo>
                      <a:lnTo>
                        <a:pt x="282378" y="322580"/>
                      </a:lnTo>
                      <a:lnTo>
                        <a:pt x="268889" y="323850"/>
                      </a:lnTo>
                      <a:lnTo>
                        <a:pt x="255460" y="326390"/>
                      </a:lnTo>
                      <a:lnTo>
                        <a:pt x="440188" y="326390"/>
                      </a:lnTo>
                      <a:lnTo>
                        <a:pt x="552272" y="307340"/>
                      </a:lnTo>
                      <a:lnTo>
                        <a:pt x="554393" y="306070"/>
                      </a:lnTo>
                      <a:lnTo>
                        <a:pt x="562190" y="304800"/>
                      </a:lnTo>
                      <a:lnTo>
                        <a:pt x="379564" y="304800"/>
                      </a:lnTo>
                      <a:lnTo>
                        <a:pt x="374697" y="299720"/>
                      </a:lnTo>
                      <a:lnTo>
                        <a:pt x="369874" y="293370"/>
                      </a:lnTo>
                      <a:lnTo>
                        <a:pt x="360298" y="281940"/>
                      </a:lnTo>
                      <a:lnTo>
                        <a:pt x="355092" y="275590"/>
                      </a:lnTo>
                      <a:close/>
                    </a:path>
                    <a:path w="569594" h="457200">
                      <a:moveTo>
                        <a:pt x="463261" y="264160"/>
                      </a:moveTo>
                      <a:lnTo>
                        <a:pt x="420370" y="264160"/>
                      </a:lnTo>
                      <a:lnTo>
                        <a:pt x="449275" y="293370"/>
                      </a:lnTo>
                      <a:lnTo>
                        <a:pt x="414158" y="299720"/>
                      </a:lnTo>
                      <a:lnTo>
                        <a:pt x="379564" y="304800"/>
                      </a:lnTo>
                      <a:lnTo>
                        <a:pt x="562190" y="304800"/>
                      </a:lnTo>
                      <a:lnTo>
                        <a:pt x="566458" y="300990"/>
                      </a:lnTo>
                      <a:lnTo>
                        <a:pt x="569417" y="290830"/>
                      </a:lnTo>
                      <a:lnTo>
                        <a:pt x="568853" y="288290"/>
                      </a:lnTo>
                      <a:lnTo>
                        <a:pt x="487426" y="288290"/>
                      </a:lnTo>
                      <a:lnTo>
                        <a:pt x="483400" y="287020"/>
                      </a:lnTo>
                      <a:lnTo>
                        <a:pt x="477761" y="279400"/>
                      </a:lnTo>
                      <a:lnTo>
                        <a:pt x="473093" y="274320"/>
                      </a:lnTo>
                      <a:lnTo>
                        <a:pt x="468256" y="269240"/>
                      </a:lnTo>
                      <a:lnTo>
                        <a:pt x="463261" y="264160"/>
                      </a:lnTo>
                      <a:close/>
                    </a:path>
                    <a:path w="569594" h="457200">
                      <a:moveTo>
                        <a:pt x="536338" y="254000"/>
                      </a:moveTo>
                      <a:lnTo>
                        <a:pt x="493267" y="254000"/>
                      </a:lnTo>
                      <a:lnTo>
                        <a:pt x="521106" y="281940"/>
                      </a:lnTo>
                      <a:lnTo>
                        <a:pt x="514635" y="281940"/>
                      </a:lnTo>
                      <a:lnTo>
                        <a:pt x="495147" y="285750"/>
                      </a:lnTo>
                      <a:lnTo>
                        <a:pt x="487426" y="288290"/>
                      </a:lnTo>
                      <a:lnTo>
                        <a:pt x="568853" y="288290"/>
                      </a:lnTo>
                      <a:lnTo>
                        <a:pt x="568007" y="284480"/>
                      </a:lnTo>
                      <a:lnTo>
                        <a:pt x="561174" y="278130"/>
                      </a:lnTo>
                      <a:lnTo>
                        <a:pt x="554837" y="271780"/>
                      </a:lnTo>
                      <a:lnTo>
                        <a:pt x="536338" y="254000"/>
                      </a:lnTo>
                      <a:close/>
                    </a:path>
                    <a:path w="569594" h="457200">
                      <a:moveTo>
                        <a:pt x="293114" y="200660"/>
                      </a:moveTo>
                      <a:lnTo>
                        <a:pt x="254342" y="200660"/>
                      </a:lnTo>
                      <a:lnTo>
                        <a:pt x="260829" y="208280"/>
                      </a:lnTo>
                      <a:lnTo>
                        <a:pt x="267268" y="217170"/>
                      </a:lnTo>
                      <a:lnTo>
                        <a:pt x="293700" y="248920"/>
                      </a:lnTo>
                      <a:lnTo>
                        <a:pt x="256451" y="254000"/>
                      </a:lnTo>
                      <a:lnTo>
                        <a:pt x="240225" y="255270"/>
                      </a:lnTo>
                      <a:lnTo>
                        <a:pt x="207797" y="260350"/>
                      </a:lnTo>
                      <a:lnTo>
                        <a:pt x="459401" y="260350"/>
                      </a:lnTo>
                      <a:lnTo>
                        <a:pt x="458114" y="259080"/>
                      </a:lnTo>
                      <a:lnTo>
                        <a:pt x="493267" y="254000"/>
                      </a:lnTo>
                      <a:lnTo>
                        <a:pt x="536338" y="254000"/>
                      </a:lnTo>
                      <a:lnTo>
                        <a:pt x="525767" y="243840"/>
                      </a:lnTo>
                      <a:lnTo>
                        <a:pt x="329387" y="243840"/>
                      </a:lnTo>
                      <a:lnTo>
                        <a:pt x="326288" y="241300"/>
                      </a:lnTo>
                      <a:lnTo>
                        <a:pt x="320497" y="233680"/>
                      </a:lnTo>
                      <a:lnTo>
                        <a:pt x="293114" y="200660"/>
                      </a:lnTo>
                      <a:close/>
                    </a:path>
                    <a:path w="569594" h="457200">
                      <a:moveTo>
                        <a:pt x="396064" y="194310"/>
                      </a:moveTo>
                      <a:lnTo>
                        <a:pt x="354711" y="194310"/>
                      </a:lnTo>
                      <a:lnTo>
                        <a:pt x="363766" y="204470"/>
                      </a:lnTo>
                      <a:lnTo>
                        <a:pt x="372787" y="213360"/>
                      </a:lnTo>
                      <a:lnTo>
                        <a:pt x="394589" y="236220"/>
                      </a:lnTo>
                      <a:lnTo>
                        <a:pt x="361556" y="240030"/>
                      </a:lnTo>
                      <a:lnTo>
                        <a:pt x="345322" y="242570"/>
                      </a:lnTo>
                      <a:lnTo>
                        <a:pt x="329387" y="243840"/>
                      </a:lnTo>
                      <a:lnTo>
                        <a:pt x="525767" y="243840"/>
                      </a:lnTo>
                      <a:lnTo>
                        <a:pt x="512554" y="231140"/>
                      </a:lnTo>
                      <a:lnTo>
                        <a:pt x="431228" y="231140"/>
                      </a:lnTo>
                      <a:lnTo>
                        <a:pt x="420216" y="219710"/>
                      </a:lnTo>
                      <a:lnTo>
                        <a:pt x="396064" y="194310"/>
                      </a:lnTo>
                      <a:close/>
                    </a:path>
                    <a:path w="569594" h="457200">
                      <a:moveTo>
                        <a:pt x="467627" y="187960"/>
                      </a:moveTo>
                      <a:lnTo>
                        <a:pt x="423875" y="187960"/>
                      </a:lnTo>
                      <a:lnTo>
                        <a:pt x="429298" y="190500"/>
                      </a:lnTo>
                      <a:lnTo>
                        <a:pt x="433616" y="196850"/>
                      </a:lnTo>
                      <a:lnTo>
                        <a:pt x="465416" y="227330"/>
                      </a:lnTo>
                      <a:lnTo>
                        <a:pt x="448395" y="229870"/>
                      </a:lnTo>
                      <a:lnTo>
                        <a:pt x="440498" y="231140"/>
                      </a:lnTo>
                      <a:lnTo>
                        <a:pt x="512554" y="231140"/>
                      </a:lnTo>
                      <a:lnTo>
                        <a:pt x="467627" y="187960"/>
                      </a:lnTo>
                      <a:close/>
                    </a:path>
                    <a:path w="569594" h="457200">
                      <a:moveTo>
                        <a:pt x="235254" y="129540"/>
                      </a:moveTo>
                      <a:lnTo>
                        <a:pt x="195961" y="129540"/>
                      </a:lnTo>
                      <a:lnTo>
                        <a:pt x="202566" y="138430"/>
                      </a:lnTo>
                      <a:lnTo>
                        <a:pt x="222199" y="161290"/>
                      </a:lnTo>
                      <a:lnTo>
                        <a:pt x="229958" y="171450"/>
                      </a:lnTo>
                      <a:lnTo>
                        <a:pt x="218897" y="171450"/>
                      </a:lnTo>
                      <a:lnTo>
                        <a:pt x="148551" y="176530"/>
                      </a:lnTo>
                      <a:lnTo>
                        <a:pt x="455735" y="176530"/>
                      </a:lnTo>
                      <a:lnTo>
                        <a:pt x="447807" y="168910"/>
                      </a:lnTo>
                      <a:lnTo>
                        <a:pt x="267398" y="168910"/>
                      </a:lnTo>
                      <a:lnTo>
                        <a:pt x="261630" y="161290"/>
                      </a:lnTo>
                      <a:lnTo>
                        <a:pt x="255914" y="154940"/>
                      </a:lnTo>
                      <a:lnTo>
                        <a:pt x="235254" y="129540"/>
                      </a:lnTo>
                      <a:close/>
                    </a:path>
                    <a:path w="569594" h="457200">
                      <a:moveTo>
                        <a:pt x="335927" y="130810"/>
                      </a:moveTo>
                      <a:lnTo>
                        <a:pt x="293827" y="130810"/>
                      </a:lnTo>
                      <a:lnTo>
                        <a:pt x="298399" y="135890"/>
                      </a:lnTo>
                      <a:lnTo>
                        <a:pt x="326796" y="165100"/>
                      </a:lnTo>
                      <a:lnTo>
                        <a:pt x="296521" y="167640"/>
                      </a:lnTo>
                      <a:lnTo>
                        <a:pt x="281810" y="167640"/>
                      </a:lnTo>
                      <a:lnTo>
                        <a:pt x="267398" y="168910"/>
                      </a:lnTo>
                      <a:lnTo>
                        <a:pt x="447807" y="168910"/>
                      </a:lnTo>
                      <a:lnTo>
                        <a:pt x="441200" y="162560"/>
                      </a:lnTo>
                      <a:lnTo>
                        <a:pt x="365925" y="162560"/>
                      </a:lnTo>
                      <a:lnTo>
                        <a:pt x="365620" y="161290"/>
                      </a:lnTo>
                      <a:lnTo>
                        <a:pt x="345967" y="142240"/>
                      </a:lnTo>
                      <a:lnTo>
                        <a:pt x="335927" y="130810"/>
                      </a:lnTo>
                      <a:close/>
                    </a:path>
                    <a:path w="569594" h="457200">
                      <a:moveTo>
                        <a:pt x="405631" y="128270"/>
                      </a:moveTo>
                      <a:lnTo>
                        <a:pt x="135176" y="128270"/>
                      </a:lnTo>
                      <a:lnTo>
                        <a:pt x="155513" y="129540"/>
                      </a:lnTo>
                      <a:lnTo>
                        <a:pt x="362381" y="129540"/>
                      </a:lnTo>
                      <a:lnTo>
                        <a:pt x="369176" y="132080"/>
                      </a:lnTo>
                      <a:lnTo>
                        <a:pt x="374472" y="139700"/>
                      </a:lnTo>
                      <a:lnTo>
                        <a:pt x="375602" y="140970"/>
                      </a:lnTo>
                      <a:lnTo>
                        <a:pt x="378688" y="143510"/>
                      </a:lnTo>
                      <a:lnTo>
                        <a:pt x="379018" y="143510"/>
                      </a:lnTo>
                      <a:lnTo>
                        <a:pt x="394538" y="161290"/>
                      </a:lnTo>
                      <a:lnTo>
                        <a:pt x="387758" y="161290"/>
                      </a:lnTo>
                      <a:lnTo>
                        <a:pt x="380982" y="162560"/>
                      </a:lnTo>
                      <a:lnTo>
                        <a:pt x="441200" y="162560"/>
                      </a:lnTo>
                      <a:lnTo>
                        <a:pt x="405631" y="128270"/>
                      </a:lnTo>
                      <a:close/>
                    </a:path>
                    <a:path w="569594" h="457200">
                      <a:moveTo>
                        <a:pt x="362381" y="129540"/>
                      </a:moveTo>
                      <a:lnTo>
                        <a:pt x="265023" y="129540"/>
                      </a:lnTo>
                      <a:lnTo>
                        <a:pt x="279438" y="130810"/>
                      </a:lnTo>
                      <a:lnTo>
                        <a:pt x="346532" y="130810"/>
                      </a:lnTo>
                      <a:lnTo>
                        <a:pt x="362381" y="129540"/>
                      </a:lnTo>
                      <a:close/>
                    </a:path>
                    <a:path w="569594" h="457200">
                      <a:moveTo>
                        <a:pt x="351645" y="76200"/>
                      </a:moveTo>
                      <a:lnTo>
                        <a:pt x="283222" y="76200"/>
                      </a:lnTo>
                      <a:lnTo>
                        <a:pt x="313588" y="81280"/>
                      </a:lnTo>
                      <a:lnTo>
                        <a:pt x="323454" y="90170"/>
                      </a:lnTo>
                      <a:lnTo>
                        <a:pt x="333349" y="100330"/>
                      </a:lnTo>
                      <a:lnTo>
                        <a:pt x="376668" y="100330"/>
                      </a:lnTo>
                      <a:lnTo>
                        <a:pt x="351645" y="76200"/>
                      </a:lnTo>
                      <a:close/>
                    </a:path>
                    <a:path w="569594" h="457200">
                      <a:moveTo>
                        <a:pt x="331168" y="57150"/>
                      </a:moveTo>
                      <a:lnTo>
                        <a:pt x="176009" y="57150"/>
                      </a:lnTo>
                      <a:lnTo>
                        <a:pt x="232575" y="67310"/>
                      </a:lnTo>
                      <a:lnTo>
                        <a:pt x="233210" y="67310"/>
                      </a:lnTo>
                      <a:lnTo>
                        <a:pt x="233946" y="68580"/>
                      </a:lnTo>
                      <a:lnTo>
                        <a:pt x="263829" y="99060"/>
                      </a:lnTo>
                      <a:lnTo>
                        <a:pt x="306095" y="99060"/>
                      </a:lnTo>
                      <a:lnTo>
                        <a:pt x="283222" y="76200"/>
                      </a:lnTo>
                      <a:lnTo>
                        <a:pt x="351645" y="76200"/>
                      </a:lnTo>
                      <a:lnTo>
                        <a:pt x="346341" y="71120"/>
                      </a:lnTo>
                      <a:lnTo>
                        <a:pt x="343204" y="68580"/>
                      </a:lnTo>
                      <a:lnTo>
                        <a:pt x="340525" y="64770"/>
                      </a:lnTo>
                      <a:lnTo>
                        <a:pt x="333642" y="58420"/>
                      </a:lnTo>
                      <a:lnTo>
                        <a:pt x="331168" y="57150"/>
                      </a:lnTo>
                      <a:close/>
                    </a:path>
                    <a:path w="569594" h="457200">
                      <a:moveTo>
                        <a:pt x="227866" y="35560"/>
                      </a:moveTo>
                      <a:lnTo>
                        <a:pt x="49021" y="35560"/>
                      </a:lnTo>
                      <a:lnTo>
                        <a:pt x="89312" y="43180"/>
                      </a:lnTo>
                      <a:lnTo>
                        <a:pt x="109436" y="45720"/>
                      </a:lnTo>
                      <a:lnTo>
                        <a:pt x="129527" y="49530"/>
                      </a:lnTo>
                      <a:lnTo>
                        <a:pt x="129844" y="49530"/>
                      </a:lnTo>
                      <a:lnTo>
                        <a:pt x="130670" y="50800"/>
                      </a:lnTo>
                      <a:lnTo>
                        <a:pt x="136371" y="57150"/>
                      </a:lnTo>
                      <a:lnTo>
                        <a:pt x="141408" y="63500"/>
                      </a:lnTo>
                      <a:lnTo>
                        <a:pt x="151409" y="74930"/>
                      </a:lnTo>
                      <a:lnTo>
                        <a:pt x="170014" y="97790"/>
                      </a:lnTo>
                      <a:lnTo>
                        <a:pt x="209413" y="97790"/>
                      </a:lnTo>
                      <a:lnTo>
                        <a:pt x="206184" y="93980"/>
                      </a:lnTo>
                      <a:lnTo>
                        <a:pt x="194602" y="80010"/>
                      </a:lnTo>
                      <a:lnTo>
                        <a:pt x="176009" y="57150"/>
                      </a:lnTo>
                      <a:lnTo>
                        <a:pt x="331168" y="57150"/>
                      </a:lnTo>
                      <a:lnTo>
                        <a:pt x="326221" y="54610"/>
                      </a:lnTo>
                      <a:lnTo>
                        <a:pt x="318615" y="50800"/>
                      </a:lnTo>
                      <a:lnTo>
                        <a:pt x="311175" y="49530"/>
                      </a:lnTo>
                      <a:lnTo>
                        <a:pt x="276868" y="44450"/>
                      </a:lnTo>
                      <a:lnTo>
                        <a:pt x="242566" y="38100"/>
                      </a:lnTo>
                      <a:lnTo>
                        <a:pt x="227866" y="35560"/>
                      </a:lnTo>
                      <a:close/>
                    </a:path>
                  </a:pathLst>
                </a:custGeom>
                <a:solidFill>
                  <a:srgbClr val="004876"/>
                </a:solidFill>
              </p:spPr>
              <p:txBody>
                <a:bodyPr wrap="square" lIns="0" tIns="0" rIns="0" bIns="0" rtlCol="0"/>
                <a:lstStyle/>
                <a:p>
                  <a:endParaRPr/>
                </a:p>
              </p:txBody>
            </p:sp>
          </p:grpSp>
          <p:grpSp>
            <p:nvGrpSpPr>
              <p:cNvPr id="1268" name="object 63">
                <a:extLst>
                  <a:ext uri="{FF2B5EF4-FFF2-40B4-BE49-F238E27FC236}">
                    <a16:creationId xmlns:a16="http://schemas.microsoft.com/office/drawing/2014/main" id="{098837BF-CF4B-7F8D-B68B-743B381A4DC1}"/>
                  </a:ext>
                </a:extLst>
              </p:cNvPr>
              <p:cNvGrpSpPr/>
              <p:nvPr/>
            </p:nvGrpSpPr>
            <p:grpSpPr>
              <a:xfrm>
                <a:off x="887526" y="709024"/>
                <a:ext cx="583565" cy="725170"/>
                <a:chOff x="887526" y="709024"/>
                <a:chExt cx="583565" cy="725170"/>
              </a:xfrm>
            </p:grpSpPr>
            <p:pic>
              <p:nvPicPr>
                <p:cNvPr id="1280" name="object 64">
                  <a:extLst>
                    <a:ext uri="{FF2B5EF4-FFF2-40B4-BE49-F238E27FC236}">
                      <a16:creationId xmlns:a16="http://schemas.microsoft.com/office/drawing/2014/main" id="{29AE7AE7-75CC-7000-7D38-4305CF0C64FA}"/>
                    </a:ext>
                  </a:extLst>
                </p:cNvPr>
                <p:cNvPicPr/>
                <p:nvPr/>
              </p:nvPicPr>
              <p:blipFill>
                <a:blip r:embed="rId43" cstate="print"/>
                <a:stretch>
                  <a:fillRect/>
                </a:stretch>
              </p:blipFill>
              <p:spPr>
                <a:xfrm>
                  <a:off x="1237615" y="797382"/>
                  <a:ext cx="144894" cy="142494"/>
                </a:xfrm>
                <a:prstGeom prst="rect">
                  <a:avLst/>
                </a:prstGeom>
              </p:spPr>
            </p:pic>
            <p:pic>
              <p:nvPicPr>
                <p:cNvPr id="1281" name="object 65">
                  <a:extLst>
                    <a:ext uri="{FF2B5EF4-FFF2-40B4-BE49-F238E27FC236}">
                      <a16:creationId xmlns:a16="http://schemas.microsoft.com/office/drawing/2014/main" id="{5A45028F-2D1B-7ACC-F839-AD6B140A9D43}"/>
                    </a:ext>
                  </a:extLst>
                </p:cNvPr>
                <p:cNvPicPr/>
                <p:nvPr/>
              </p:nvPicPr>
              <p:blipFill>
                <a:blip r:embed="rId44" cstate="print"/>
                <a:stretch>
                  <a:fillRect/>
                </a:stretch>
              </p:blipFill>
              <p:spPr>
                <a:xfrm>
                  <a:off x="1149350" y="709024"/>
                  <a:ext cx="321428" cy="317442"/>
                </a:xfrm>
                <a:prstGeom prst="rect">
                  <a:avLst/>
                </a:prstGeom>
              </p:spPr>
            </p:pic>
            <p:pic>
              <p:nvPicPr>
                <p:cNvPr id="1282" name="object 66">
                  <a:extLst>
                    <a:ext uri="{FF2B5EF4-FFF2-40B4-BE49-F238E27FC236}">
                      <a16:creationId xmlns:a16="http://schemas.microsoft.com/office/drawing/2014/main" id="{2B618789-B18E-BD60-A5A5-5A214AD96E0E}"/>
                    </a:ext>
                  </a:extLst>
                </p:cNvPr>
                <p:cNvPicPr/>
                <p:nvPr/>
              </p:nvPicPr>
              <p:blipFill>
                <a:blip r:embed="rId45" cstate="print"/>
                <a:stretch>
                  <a:fillRect/>
                </a:stretch>
              </p:blipFill>
              <p:spPr>
                <a:xfrm>
                  <a:off x="1259484" y="819277"/>
                  <a:ext cx="100444" cy="98602"/>
                </a:xfrm>
                <a:prstGeom prst="rect">
                  <a:avLst/>
                </a:prstGeom>
              </p:spPr>
            </p:pic>
            <p:pic>
              <p:nvPicPr>
                <p:cNvPr id="1283" name="object 67">
                  <a:extLst>
                    <a:ext uri="{FF2B5EF4-FFF2-40B4-BE49-F238E27FC236}">
                      <a16:creationId xmlns:a16="http://schemas.microsoft.com/office/drawing/2014/main" id="{5C919424-D774-D2FB-2823-CD2F0C22B4B8}"/>
                    </a:ext>
                  </a:extLst>
                </p:cNvPr>
                <p:cNvPicPr/>
                <p:nvPr/>
              </p:nvPicPr>
              <p:blipFill>
                <a:blip r:embed="rId46" cstate="print"/>
                <a:stretch>
                  <a:fillRect/>
                </a:stretch>
              </p:blipFill>
              <p:spPr>
                <a:xfrm>
                  <a:off x="887526" y="1024433"/>
                  <a:ext cx="248272" cy="81087"/>
                </a:xfrm>
                <a:prstGeom prst="rect">
                  <a:avLst/>
                </a:prstGeom>
              </p:spPr>
            </p:pic>
            <p:pic>
              <p:nvPicPr>
                <p:cNvPr id="1284" name="object 68">
                  <a:extLst>
                    <a:ext uri="{FF2B5EF4-FFF2-40B4-BE49-F238E27FC236}">
                      <a16:creationId xmlns:a16="http://schemas.microsoft.com/office/drawing/2014/main" id="{6FDAF58C-BB3A-ABE8-5D75-E46F96D073FF}"/>
                    </a:ext>
                  </a:extLst>
                </p:cNvPr>
                <p:cNvPicPr/>
                <p:nvPr/>
              </p:nvPicPr>
              <p:blipFill>
                <a:blip r:embed="rId47" cstate="print"/>
                <a:stretch>
                  <a:fillRect/>
                </a:stretch>
              </p:blipFill>
              <p:spPr>
                <a:xfrm>
                  <a:off x="954951" y="1119416"/>
                  <a:ext cx="436156" cy="213601"/>
                </a:xfrm>
                <a:prstGeom prst="rect">
                  <a:avLst/>
                </a:prstGeom>
              </p:spPr>
            </p:pic>
            <p:pic>
              <p:nvPicPr>
                <p:cNvPr id="1285" name="object 69">
                  <a:extLst>
                    <a:ext uri="{FF2B5EF4-FFF2-40B4-BE49-F238E27FC236}">
                      <a16:creationId xmlns:a16="http://schemas.microsoft.com/office/drawing/2014/main" id="{EDB6011C-0CCD-AF05-D6CF-15FE2C98FF33}"/>
                    </a:ext>
                  </a:extLst>
                </p:cNvPr>
                <p:cNvPicPr/>
                <p:nvPr/>
              </p:nvPicPr>
              <p:blipFill>
                <a:blip r:embed="rId48" cstate="print"/>
                <a:stretch>
                  <a:fillRect/>
                </a:stretch>
              </p:blipFill>
              <p:spPr>
                <a:xfrm>
                  <a:off x="1031176" y="1341856"/>
                  <a:ext cx="219748" cy="91911"/>
                </a:xfrm>
                <a:prstGeom prst="rect">
                  <a:avLst/>
                </a:prstGeom>
              </p:spPr>
            </p:pic>
            <p:pic>
              <p:nvPicPr>
                <p:cNvPr id="1286" name="object 70">
                  <a:extLst>
                    <a:ext uri="{FF2B5EF4-FFF2-40B4-BE49-F238E27FC236}">
                      <a16:creationId xmlns:a16="http://schemas.microsoft.com/office/drawing/2014/main" id="{92043953-4BF3-0594-8A3D-97137E3AFE3E}"/>
                    </a:ext>
                  </a:extLst>
                </p:cNvPr>
                <p:cNvPicPr/>
                <p:nvPr/>
              </p:nvPicPr>
              <p:blipFill>
                <a:blip r:embed="rId49" cstate="print"/>
                <a:stretch>
                  <a:fillRect/>
                </a:stretch>
              </p:blipFill>
              <p:spPr>
                <a:xfrm>
                  <a:off x="1117142" y="1063079"/>
                  <a:ext cx="150495" cy="105599"/>
                </a:xfrm>
                <a:prstGeom prst="rect">
                  <a:avLst/>
                </a:prstGeom>
              </p:spPr>
            </p:pic>
          </p:grpSp>
          <p:grpSp>
            <p:nvGrpSpPr>
              <p:cNvPr id="1269" name="object 71">
                <a:extLst>
                  <a:ext uri="{FF2B5EF4-FFF2-40B4-BE49-F238E27FC236}">
                    <a16:creationId xmlns:a16="http://schemas.microsoft.com/office/drawing/2014/main" id="{E1697DC9-451C-EF52-BDBC-95CE10D6570D}"/>
                  </a:ext>
                </a:extLst>
              </p:cNvPr>
              <p:cNvGrpSpPr/>
              <p:nvPr/>
            </p:nvGrpSpPr>
            <p:grpSpPr>
              <a:xfrm>
                <a:off x="566978" y="542842"/>
                <a:ext cx="516890" cy="744220"/>
                <a:chOff x="566978" y="542842"/>
                <a:chExt cx="516890" cy="744220"/>
              </a:xfrm>
            </p:grpSpPr>
            <p:pic>
              <p:nvPicPr>
                <p:cNvPr id="1270" name="object 72">
                  <a:extLst>
                    <a:ext uri="{FF2B5EF4-FFF2-40B4-BE49-F238E27FC236}">
                      <a16:creationId xmlns:a16="http://schemas.microsoft.com/office/drawing/2014/main" id="{5E7B8627-8520-A88D-36CF-72E4216E32E0}"/>
                    </a:ext>
                  </a:extLst>
                </p:cNvPr>
                <p:cNvPicPr/>
                <p:nvPr/>
              </p:nvPicPr>
              <p:blipFill>
                <a:blip r:embed="rId50" cstate="print"/>
                <a:stretch>
                  <a:fillRect/>
                </a:stretch>
              </p:blipFill>
              <p:spPr>
                <a:xfrm>
                  <a:off x="730669" y="929704"/>
                  <a:ext cx="88887" cy="349745"/>
                </a:xfrm>
                <a:prstGeom prst="rect">
                  <a:avLst/>
                </a:prstGeom>
              </p:spPr>
            </p:pic>
            <p:sp>
              <p:nvSpPr>
                <p:cNvPr id="1271" name="object 73">
                  <a:extLst>
                    <a:ext uri="{FF2B5EF4-FFF2-40B4-BE49-F238E27FC236}">
                      <a16:creationId xmlns:a16="http://schemas.microsoft.com/office/drawing/2014/main" id="{D92A081A-C109-7717-E42A-ADA0A85D42CB}"/>
                    </a:ext>
                  </a:extLst>
                </p:cNvPr>
                <p:cNvSpPr/>
                <p:nvPr/>
              </p:nvSpPr>
              <p:spPr>
                <a:xfrm>
                  <a:off x="722500" y="908581"/>
                  <a:ext cx="105410" cy="378460"/>
                </a:xfrm>
                <a:custGeom>
                  <a:avLst/>
                  <a:gdLst/>
                  <a:ahLst/>
                  <a:cxnLst/>
                  <a:rect l="l" t="t" r="r" b="b"/>
                  <a:pathLst>
                    <a:path w="105409" h="378459">
                      <a:moveTo>
                        <a:pt x="74714" y="0"/>
                      </a:moveTo>
                      <a:lnTo>
                        <a:pt x="60706" y="19405"/>
                      </a:lnTo>
                      <a:lnTo>
                        <a:pt x="57264" y="24803"/>
                      </a:lnTo>
                      <a:lnTo>
                        <a:pt x="51219" y="34213"/>
                      </a:lnTo>
                      <a:lnTo>
                        <a:pt x="24286" y="74643"/>
                      </a:lnTo>
                      <a:lnTo>
                        <a:pt x="21277" y="111975"/>
                      </a:lnTo>
                      <a:lnTo>
                        <a:pt x="19730" y="134480"/>
                      </a:lnTo>
                      <a:lnTo>
                        <a:pt x="17971" y="156062"/>
                      </a:lnTo>
                      <a:lnTo>
                        <a:pt x="14578" y="194703"/>
                      </a:lnTo>
                      <a:lnTo>
                        <a:pt x="13220" y="210781"/>
                      </a:lnTo>
                      <a:lnTo>
                        <a:pt x="4706" y="316166"/>
                      </a:lnTo>
                      <a:lnTo>
                        <a:pt x="3365" y="333438"/>
                      </a:lnTo>
                      <a:lnTo>
                        <a:pt x="0" y="378434"/>
                      </a:lnTo>
                      <a:lnTo>
                        <a:pt x="105270" y="378434"/>
                      </a:lnTo>
                      <a:lnTo>
                        <a:pt x="104046" y="363283"/>
                      </a:lnTo>
                      <a:lnTo>
                        <a:pt x="16332" y="363283"/>
                      </a:lnTo>
                      <a:lnTo>
                        <a:pt x="19998" y="314960"/>
                      </a:lnTo>
                      <a:lnTo>
                        <a:pt x="29044" y="203352"/>
                      </a:lnTo>
                      <a:lnTo>
                        <a:pt x="29893" y="193425"/>
                      </a:lnTo>
                      <a:lnTo>
                        <a:pt x="33279" y="154871"/>
                      </a:lnTo>
                      <a:lnTo>
                        <a:pt x="34937" y="134480"/>
                      </a:lnTo>
                      <a:lnTo>
                        <a:pt x="36416" y="112783"/>
                      </a:lnTo>
                      <a:lnTo>
                        <a:pt x="37465" y="91097"/>
                      </a:lnTo>
                      <a:lnTo>
                        <a:pt x="39004" y="78358"/>
                      </a:lnTo>
                      <a:lnTo>
                        <a:pt x="42740" y="67322"/>
                      </a:lnTo>
                      <a:lnTo>
                        <a:pt x="48864" y="57582"/>
                      </a:lnTo>
                      <a:lnTo>
                        <a:pt x="57569" y="48729"/>
                      </a:lnTo>
                      <a:lnTo>
                        <a:pt x="59563" y="47028"/>
                      </a:lnTo>
                      <a:lnTo>
                        <a:pt x="61353" y="45123"/>
                      </a:lnTo>
                      <a:lnTo>
                        <a:pt x="62979" y="43103"/>
                      </a:lnTo>
                      <a:lnTo>
                        <a:pt x="78194" y="43103"/>
                      </a:lnTo>
                      <a:lnTo>
                        <a:pt x="74714" y="0"/>
                      </a:lnTo>
                      <a:close/>
                    </a:path>
                    <a:path w="105409" h="378459">
                      <a:moveTo>
                        <a:pt x="78194" y="43103"/>
                      </a:moveTo>
                      <a:lnTo>
                        <a:pt x="62979" y="43103"/>
                      </a:lnTo>
                      <a:lnTo>
                        <a:pt x="88836" y="363283"/>
                      </a:lnTo>
                      <a:lnTo>
                        <a:pt x="104046" y="363283"/>
                      </a:lnTo>
                      <a:lnTo>
                        <a:pt x="78194" y="43103"/>
                      </a:lnTo>
                      <a:close/>
                    </a:path>
                  </a:pathLst>
                </a:custGeom>
                <a:solidFill>
                  <a:srgbClr val="004876"/>
                </a:solidFill>
              </p:spPr>
              <p:txBody>
                <a:bodyPr wrap="square" lIns="0" tIns="0" rIns="0" bIns="0" rtlCol="0"/>
                <a:lstStyle/>
                <a:p>
                  <a:endParaRPr/>
                </a:p>
              </p:txBody>
            </p:sp>
            <p:pic>
              <p:nvPicPr>
                <p:cNvPr id="1272" name="object 74">
                  <a:extLst>
                    <a:ext uri="{FF2B5EF4-FFF2-40B4-BE49-F238E27FC236}">
                      <a16:creationId xmlns:a16="http://schemas.microsoft.com/office/drawing/2014/main" id="{8F4D9EA1-BEE3-4A68-4178-236E86C95C45}"/>
                    </a:ext>
                  </a:extLst>
                </p:cNvPr>
                <p:cNvPicPr/>
                <p:nvPr/>
              </p:nvPicPr>
              <p:blipFill>
                <a:blip r:embed="rId51" cstate="print"/>
                <a:stretch>
                  <a:fillRect/>
                </a:stretch>
              </p:blipFill>
              <p:spPr>
                <a:xfrm>
                  <a:off x="576198" y="845565"/>
                  <a:ext cx="203085" cy="229552"/>
                </a:xfrm>
                <a:prstGeom prst="rect">
                  <a:avLst/>
                </a:prstGeom>
              </p:spPr>
            </p:pic>
            <p:pic>
              <p:nvPicPr>
                <p:cNvPr id="1273" name="object 75">
                  <a:extLst>
                    <a:ext uri="{FF2B5EF4-FFF2-40B4-BE49-F238E27FC236}">
                      <a16:creationId xmlns:a16="http://schemas.microsoft.com/office/drawing/2014/main" id="{10DF8A79-15D8-6792-6755-049FDA3D11EE}"/>
                    </a:ext>
                  </a:extLst>
                </p:cNvPr>
                <p:cNvPicPr/>
                <p:nvPr/>
              </p:nvPicPr>
              <p:blipFill>
                <a:blip r:embed="rId52" cstate="print"/>
                <a:stretch>
                  <a:fillRect/>
                </a:stretch>
              </p:blipFill>
              <p:spPr>
                <a:xfrm>
                  <a:off x="566978" y="834692"/>
                  <a:ext cx="222110" cy="251460"/>
                </a:xfrm>
                <a:prstGeom prst="rect">
                  <a:avLst/>
                </a:prstGeom>
              </p:spPr>
            </p:pic>
            <p:pic>
              <p:nvPicPr>
                <p:cNvPr id="1274" name="object 76">
                  <a:extLst>
                    <a:ext uri="{FF2B5EF4-FFF2-40B4-BE49-F238E27FC236}">
                      <a16:creationId xmlns:a16="http://schemas.microsoft.com/office/drawing/2014/main" id="{F5DC516B-6911-34CC-4B8A-2F34F33A7185}"/>
                    </a:ext>
                  </a:extLst>
                </p:cNvPr>
                <p:cNvPicPr/>
                <p:nvPr/>
              </p:nvPicPr>
              <p:blipFill>
                <a:blip r:embed="rId53" cstate="print"/>
                <a:stretch>
                  <a:fillRect/>
                </a:stretch>
              </p:blipFill>
              <p:spPr>
                <a:xfrm>
                  <a:off x="811326" y="799172"/>
                  <a:ext cx="252539" cy="108661"/>
                </a:xfrm>
                <a:prstGeom prst="rect">
                  <a:avLst/>
                </a:prstGeom>
              </p:spPr>
            </p:pic>
            <p:sp>
              <p:nvSpPr>
                <p:cNvPr id="1275" name="object 77">
                  <a:extLst>
                    <a:ext uri="{FF2B5EF4-FFF2-40B4-BE49-F238E27FC236}">
                      <a16:creationId xmlns:a16="http://schemas.microsoft.com/office/drawing/2014/main" id="{5AB8FB4C-C5E5-344E-88DD-45876C70A51C}"/>
                    </a:ext>
                  </a:extLst>
                </p:cNvPr>
                <p:cNvSpPr/>
                <p:nvPr/>
              </p:nvSpPr>
              <p:spPr>
                <a:xfrm>
                  <a:off x="799136" y="791736"/>
                  <a:ext cx="285115" cy="124460"/>
                </a:xfrm>
                <a:custGeom>
                  <a:avLst/>
                  <a:gdLst/>
                  <a:ahLst/>
                  <a:cxnLst/>
                  <a:rect l="l" t="t" r="r" b="b"/>
                  <a:pathLst>
                    <a:path w="285115" h="124459">
                      <a:moveTo>
                        <a:pt x="49930" y="0"/>
                      </a:moveTo>
                      <a:lnTo>
                        <a:pt x="39435" y="1463"/>
                      </a:lnTo>
                      <a:lnTo>
                        <a:pt x="28397" y="4519"/>
                      </a:lnTo>
                      <a:lnTo>
                        <a:pt x="20345" y="7275"/>
                      </a:lnTo>
                      <a:lnTo>
                        <a:pt x="24015" y="14971"/>
                      </a:lnTo>
                      <a:lnTo>
                        <a:pt x="31249" y="36861"/>
                      </a:lnTo>
                      <a:lnTo>
                        <a:pt x="30919" y="56807"/>
                      </a:lnTo>
                      <a:lnTo>
                        <a:pt x="22953" y="75145"/>
                      </a:lnTo>
                      <a:lnTo>
                        <a:pt x="7277" y="92213"/>
                      </a:lnTo>
                      <a:lnTo>
                        <a:pt x="0" y="98372"/>
                      </a:lnTo>
                      <a:lnTo>
                        <a:pt x="7645" y="104074"/>
                      </a:lnTo>
                      <a:lnTo>
                        <a:pt x="47409" y="121809"/>
                      </a:lnTo>
                      <a:lnTo>
                        <a:pt x="74104" y="124115"/>
                      </a:lnTo>
                      <a:lnTo>
                        <a:pt x="80175" y="124115"/>
                      </a:lnTo>
                      <a:lnTo>
                        <a:pt x="124897" y="122058"/>
                      </a:lnTo>
                      <a:lnTo>
                        <a:pt x="166798" y="117476"/>
                      </a:lnTo>
                      <a:lnTo>
                        <a:pt x="212598" y="110285"/>
                      </a:lnTo>
                      <a:lnTo>
                        <a:pt x="219022" y="108532"/>
                      </a:lnTo>
                      <a:lnTo>
                        <a:pt x="63284" y="108532"/>
                      </a:lnTo>
                      <a:lnTo>
                        <a:pt x="52758" y="107372"/>
                      </a:lnTo>
                      <a:lnTo>
                        <a:pt x="42795" y="105082"/>
                      </a:lnTo>
                      <a:lnTo>
                        <a:pt x="33351" y="101647"/>
                      </a:lnTo>
                      <a:lnTo>
                        <a:pt x="24384" y="97051"/>
                      </a:lnTo>
                      <a:lnTo>
                        <a:pt x="38336" y="79017"/>
                      </a:lnTo>
                      <a:lnTo>
                        <a:pt x="45800" y="59561"/>
                      </a:lnTo>
                      <a:lnTo>
                        <a:pt x="46767" y="38733"/>
                      </a:lnTo>
                      <a:lnTo>
                        <a:pt x="41224" y="16584"/>
                      </a:lnTo>
                      <a:lnTo>
                        <a:pt x="50088" y="14552"/>
                      </a:lnTo>
                      <a:lnTo>
                        <a:pt x="109928" y="14514"/>
                      </a:lnTo>
                      <a:lnTo>
                        <a:pt x="69138" y="1890"/>
                      </a:lnTo>
                      <a:lnTo>
                        <a:pt x="59843" y="138"/>
                      </a:lnTo>
                      <a:lnTo>
                        <a:pt x="49930" y="0"/>
                      </a:lnTo>
                      <a:close/>
                    </a:path>
                    <a:path w="285115" h="124459">
                      <a:moveTo>
                        <a:pt x="109928" y="14514"/>
                      </a:moveTo>
                      <a:lnTo>
                        <a:pt x="58077" y="14514"/>
                      </a:lnTo>
                      <a:lnTo>
                        <a:pt x="64998" y="16470"/>
                      </a:lnTo>
                      <a:lnTo>
                        <a:pt x="114939" y="31795"/>
                      </a:lnTo>
                      <a:lnTo>
                        <a:pt x="161339" y="48406"/>
                      </a:lnTo>
                      <a:lnTo>
                        <a:pt x="204449" y="66399"/>
                      </a:lnTo>
                      <a:lnTo>
                        <a:pt x="244525" y="85875"/>
                      </a:lnTo>
                      <a:lnTo>
                        <a:pt x="209207" y="95527"/>
                      </a:lnTo>
                      <a:lnTo>
                        <a:pt x="194320" y="98074"/>
                      </a:lnTo>
                      <a:lnTo>
                        <a:pt x="157986" y="103277"/>
                      </a:lnTo>
                      <a:lnTo>
                        <a:pt x="110782" y="107857"/>
                      </a:lnTo>
                      <a:lnTo>
                        <a:pt x="63284" y="108532"/>
                      </a:lnTo>
                      <a:lnTo>
                        <a:pt x="219022" y="108532"/>
                      </a:lnTo>
                      <a:lnTo>
                        <a:pt x="284619" y="90638"/>
                      </a:lnTo>
                      <a:lnTo>
                        <a:pt x="268439" y="81595"/>
                      </a:lnTo>
                      <a:lnTo>
                        <a:pt x="224431" y="58931"/>
                      </a:lnTo>
                      <a:lnTo>
                        <a:pt x="176776" y="38185"/>
                      </a:lnTo>
                      <a:lnTo>
                        <a:pt x="125127" y="19218"/>
                      </a:lnTo>
                      <a:lnTo>
                        <a:pt x="109928" y="14514"/>
                      </a:lnTo>
                      <a:close/>
                    </a:path>
                  </a:pathLst>
                </a:custGeom>
                <a:solidFill>
                  <a:srgbClr val="004876"/>
                </a:solidFill>
              </p:spPr>
              <p:txBody>
                <a:bodyPr wrap="square" lIns="0" tIns="0" rIns="0" bIns="0" rtlCol="0"/>
                <a:lstStyle/>
                <a:p>
                  <a:endParaRPr/>
                </a:p>
              </p:txBody>
            </p:sp>
            <p:pic>
              <p:nvPicPr>
                <p:cNvPr id="1276" name="object 78">
                  <a:extLst>
                    <a:ext uri="{FF2B5EF4-FFF2-40B4-BE49-F238E27FC236}">
                      <a16:creationId xmlns:a16="http://schemas.microsoft.com/office/drawing/2014/main" id="{694B798F-C253-13CA-7955-47F16EAAF32D}"/>
                    </a:ext>
                  </a:extLst>
                </p:cNvPr>
                <p:cNvPicPr/>
                <p:nvPr/>
              </p:nvPicPr>
              <p:blipFill>
                <a:blip r:embed="rId54" cstate="print"/>
                <a:stretch>
                  <a:fillRect/>
                </a:stretch>
              </p:blipFill>
              <p:spPr>
                <a:xfrm>
                  <a:off x="664354" y="551752"/>
                  <a:ext cx="136371" cy="259283"/>
                </a:xfrm>
                <a:prstGeom prst="rect">
                  <a:avLst/>
                </a:prstGeom>
              </p:spPr>
            </p:pic>
            <p:sp>
              <p:nvSpPr>
                <p:cNvPr id="1277" name="object 79">
                  <a:extLst>
                    <a:ext uri="{FF2B5EF4-FFF2-40B4-BE49-F238E27FC236}">
                      <a16:creationId xmlns:a16="http://schemas.microsoft.com/office/drawing/2014/main" id="{024F4E48-BB8D-857C-4324-918ECF403AA0}"/>
                    </a:ext>
                  </a:extLst>
                </p:cNvPr>
                <p:cNvSpPr/>
                <p:nvPr/>
              </p:nvSpPr>
              <p:spPr>
                <a:xfrm>
                  <a:off x="656781" y="542842"/>
                  <a:ext cx="151765" cy="281940"/>
                </a:xfrm>
                <a:custGeom>
                  <a:avLst/>
                  <a:gdLst/>
                  <a:ahLst/>
                  <a:cxnLst/>
                  <a:rect l="l" t="t" r="r" b="b"/>
                  <a:pathLst>
                    <a:path w="151765" h="281940">
                      <a:moveTo>
                        <a:pt x="9576" y="0"/>
                      </a:moveTo>
                      <a:lnTo>
                        <a:pt x="6604" y="5105"/>
                      </a:lnTo>
                      <a:lnTo>
                        <a:pt x="2777" y="13250"/>
                      </a:lnTo>
                      <a:lnTo>
                        <a:pt x="639" y="22009"/>
                      </a:lnTo>
                      <a:lnTo>
                        <a:pt x="0" y="32546"/>
                      </a:lnTo>
                      <a:lnTo>
                        <a:pt x="787" y="45542"/>
                      </a:lnTo>
                      <a:lnTo>
                        <a:pt x="6050" y="98771"/>
                      </a:lnTo>
                      <a:lnTo>
                        <a:pt x="14650" y="156111"/>
                      </a:lnTo>
                      <a:lnTo>
                        <a:pt x="23988" y="202678"/>
                      </a:lnTo>
                      <a:lnTo>
                        <a:pt x="34587" y="246216"/>
                      </a:lnTo>
                      <a:lnTo>
                        <a:pt x="62014" y="281368"/>
                      </a:lnTo>
                      <a:lnTo>
                        <a:pt x="66865" y="271551"/>
                      </a:lnTo>
                      <a:lnTo>
                        <a:pt x="72831" y="261475"/>
                      </a:lnTo>
                      <a:lnTo>
                        <a:pt x="78108" y="255346"/>
                      </a:lnTo>
                      <a:lnTo>
                        <a:pt x="58674" y="255346"/>
                      </a:lnTo>
                      <a:lnTo>
                        <a:pt x="54321" y="249872"/>
                      </a:lnTo>
                      <a:lnTo>
                        <a:pt x="38843" y="199633"/>
                      </a:lnTo>
                      <a:lnTo>
                        <a:pt x="29574" y="153436"/>
                      </a:lnTo>
                      <a:lnTo>
                        <a:pt x="23116" y="113675"/>
                      </a:lnTo>
                      <a:lnTo>
                        <a:pt x="15862" y="44043"/>
                      </a:lnTo>
                      <a:lnTo>
                        <a:pt x="15213" y="28681"/>
                      </a:lnTo>
                      <a:lnTo>
                        <a:pt x="15771" y="23271"/>
                      </a:lnTo>
                      <a:lnTo>
                        <a:pt x="16878" y="18834"/>
                      </a:lnTo>
                      <a:lnTo>
                        <a:pt x="38032" y="18834"/>
                      </a:lnTo>
                      <a:lnTo>
                        <a:pt x="36961" y="17384"/>
                      </a:lnTo>
                      <a:lnTo>
                        <a:pt x="31288" y="11061"/>
                      </a:lnTo>
                      <a:lnTo>
                        <a:pt x="24198" y="5548"/>
                      </a:lnTo>
                      <a:lnTo>
                        <a:pt x="15253" y="1625"/>
                      </a:lnTo>
                      <a:lnTo>
                        <a:pt x="9576" y="0"/>
                      </a:lnTo>
                      <a:close/>
                    </a:path>
                    <a:path w="151765" h="281940">
                      <a:moveTo>
                        <a:pt x="113867" y="222732"/>
                      </a:moveTo>
                      <a:lnTo>
                        <a:pt x="73376" y="238810"/>
                      </a:lnTo>
                      <a:lnTo>
                        <a:pt x="58674" y="255346"/>
                      </a:lnTo>
                      <a:lnTo>
                        <a:pt x="78108" y="255346"/>
                      </a:lnTo>
                      <a:lnTo>
                        <a:pt x="79923" y="253237"/>
                      </a:lnTo>
                      <a:lnTo>
                        <a:pt x="88273" y="246705"/>
                      </a:lnTo>
                      <a:lnTo>
                        <a:pt x="98018" y="241744"/>
                      </a:lnTo>
                      <a:lnTo>
                        <a:pt x="108182" y="238736"/>
                      </a:lnTo>
                      <a:lnTo>
                        <a:pt x="118643" y="237804"/>
                      </a:lnTo>
                      <a:lnTo>
                        <a:pt x="150712" y="237804"/>
                      </a:lnTo>
                      <a:lnTo>
                        <a:pt x="150914" y="235788"/>
                      </a:lnTo>
                      <a:lnTo>
                        <a:pt x="151438" y="224942"/>
                      </a:lnTo>
                      <a:lnTo>
                        <a:pt x="136360" y="224942"/>
                      </a:lnTo>
                      <a:lnTo>
                        <a:pt x="124960" y="222942"/>
                      </a:lnTo>
                      <a:lnTo>
                        <a:pt x="113867" y="222732"/>
                      </a:lnTo>
                      <a:close/>
                    </a:path>
                    <a:path w="151765" h="281940">
                      <a:moveTo>
                        <a:pt x="150712" y="237804"/>
                      </a:moveTo>
                      <a:lnTo>
                        <a:pt x="118643" y="237804"/>
                      </a:lnTo>
                      <a:lnTo>
                        <a:pt x="129476" y="238944"/>
                      </a:lnTo>
                      <a:lnTo>
                        <a:pt x="140754" y="242150"/>
                      </a:lnTo>
                      <a:lnTo>
                        <a:pt x="149936" y="245529"/>
                      </a:lnTo>
                      <a:lnTo>
                        <a:pt x="150712" y="237804"/>
                      </a:lnTo>
                      <a:close/>
                    </a:path>
                    <a:path w="151765" h="281940">
                      <a:moveTo>
                        <a:pt x="38032" y="18834"/>
                      </a:moveTo>
                      <a:lnTo>
                        <a:pt x="16878" y="18834"/>
                      </a:lnTo>
                      <a:lnTo>
                        <a:pt x="21806" y="22009"/>
                      </a:lnTo>
                      <a:lnTo>
                        <a:pt x="31737" y="35890"/>
                      </a:lnTo>
                      <a:lnTo>
                        <a:pt x="60405" y="76571"/>
                      </a:lnTo>
                      <a:lnTo>
                        <a:pt x="86403" y="117120"/>
                      </a:lnTo>
                      <a:lnTo>
                        <a:pt x="109902" y="157825"/>
                      </a:lnTo>
                      <a:lnTo>
                        <a:pt x="131077" y="198970"/>
                      </a:lnTo>
                      <a:lnTo>
                        <a:pt x="136360" y="224942"/>
                      </a:lnTo>
                      <a:lnTo>
                        <a:pt x="151438" y="224942"/>
                      </a:lnTo>
                      <a:lnTo>
                        <a:pt x="123223" y="150603"/>
                      </a:lnTo>
                      <a:lnTo>
                        <a:pt x="99374" y="109300"/>
                      </a:lnTo>
                      <a:lnTo>
                        <a:pt x="73006" y="68167"/>
                      </a:lnTo>
                      <a:lnTo>
                        <a:pt x="43942" y="26911"/>
                      </a:lnTo>
                      <a:lnTo>
                        <a:pt x="41656" y="23736"/>
                      </a:lnTo>
                      <a:lnTo>
                        <a:pt x="38032" y="18834"/>
                      </a:lnTo>
                      <a:close/>
                    </a:path>
                  </a:pathLst>
                </a:custGeom>
                <a:solidFill>
                  <a:srgbClr val="004876"/>
                </a:solidFill>
              </p:spPr>
              <p:txBody>
                <a:bodyPr wrap="square" lIns="0" tIns="0" rIns="0" bIns="0" rtlCol="0"/>
                <a:lstStyle/>
                <a:p>
                  <a:endParaRPr/>
                </a:p>
              </p:txBody>
            </p:sp>
            <p:pic>
              <p:nvPicPr>
                <p:cNvPr id="1278" name="object 80">
                  <a:extLst>
                    <a:ext uri="{FF2B5EF4-FFF2-40B4-BE49-F238E27FC236}">
                      <a16:creationId xmlns:a16="http://schemas.microsoft.com/office/drawing/2014/main" id="{A49B4AC9-0F5C-F8A6-DF85-886A260AFA6F}"/>
                    </a:ext>
                  </a:extLst>
                </p:cNvPr>
                <p:cNvPicPr/>
                <p:nvPr/>
              </p:nvPicPr>
              <p:blipFill>
                <a:blip r:embed="rId55" cstate="print"/>
                <a:stretch>
                  <a:fillRect/>
                </a:stretch>
              </p:blipFill>
              <p:spPr>
                <a:xfrm>
                  <a:off x="731405" y="792861"/>
                  <a:ext cx="87160" cy="87680"/>
                </a:xfrm>
                <a:prstGeom prst="rect">
                  <a:avLst/>
                </a:prstGeom>
              </p:spPr>
            </p:pic>
            <p:pic>
              <p:nvPicPr>
                <p:cNvPr id="1279" name="object 81">
                  <a:extLst>
                    <a:ext uri="{FF2B5EF4-FFF2-40B4-BE49-F238E27FC236}">
                      <a16:creationId xmlns:a16="http://schemas.microsoft.com/office/drawing/2014/main" id="{FA68C5B4-CC1D-3963-AFC9-9A1C921E5D59}"/>
                    </a:ext>
                  </a:extLst>
                </p:cNvPr>
                <p:cNvPicPr/>
                <p:nvPr/>
              </p:nvPicPr>
              <p:blipFill>
                <a:blip r:embed="rId56" cstate="print"/>
                <a:stretch>
                  <a:fillRect/>
                </a:stretch>
              </p:blipFill>
              <p:spPr>
                <a:xfrm>
                  <a:off x="723835" y="785375"/>
                  <a:ext cx="102311" cy="102793"/>
                </a:xfrm>
                <a:prstGeom prst="rect">
                  <a:avLst/>
                </a:prstGeom>
              </p:spPr>
            </p:pic>
          </p:grpSp>
        </p:grpSp>
      </p:grpSp>
    </p:spTree>
    <p:extLst>
      <p:ext uri="{BB962C8B-B14F-4D97-AF65-F5344CB8AC3E}">
        <p14:creationId xmlns:p14="http://schemas.microsoft.com/office/powerpoint/2010/main" val="273653443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FE8219-8A23-8657-2B5F-6E7A11AD4CF5}"/>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D57D2C5-0EA6-05A6-B018-0F58B0A10A20}"/>
              </a:ext>
            </a:extLst>
          </p:cNvPr>
          <p:cNvGraphicFramePr>
            <a:graphicFrameLocks noChangeAspect="1"/>
          </p:cNvGraphicFramePr>
          <p:nvPr>
            <p:custDataLst>
              <p:tags r:id="rId1"/>
            </p:custDataLst>
            <p:extLst>
              <p:ext uri="{D42A27DB-BD31-4B8C-83A1-F6EECF244321}">
                <p14:modId xmlns:p14="http://schemas.microsoft.com/office/powerpoint/2010/main" val="23236001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3" imgW="395" imgH="394" progId="TCLayout.ActiveDocument.1">
                  <p:embed/>
                </p:oleObj>
              </mc:Choice>
              <mc:Fallback>
                <p:oleObj name="think-cell Slide" r:id="rId43" imgW="395" imgH="394" progId="TCLayout.ActiveDocument.1">
                  <p:embed/>
                  <p:pic>
                    <p:nvPicPr>
                      <p:cNvPr id="6" name="think-cell data - do not delete" hidden="1">
                        <a:extLst>
                          <a:ext uri="{FF2B5EF4-FFF2-40B4-BE49-F238E27FC236}">
                            <a16:creationId xmlns:a16="http://schemas.microsoft.com/office/drawing/2014/main" id="{DD57D2C5-0EA6-05A6-B018-0F58B0A10A20}"/>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graphicFrame>
        <p:nvGraphicFramePr>
          <p:cNvPr id="3" name="Chart 2">
            <a:extLst>
              <a:ext uri="{FF2B5EF4-FFF2-40B4-BE49-F238E27FC236}">
                <a16:creationId xmlns:a16="http://schemas.microsoft.com/office/drawing/2014/main" id="{E6CAB987-7861-4A7C-FAC5-978FEEC3E87B}"/>
              </a:ext>
            </a:extLst>
          </p:cNvPr>
          <p:cNvGraphicFramePr/>
          <p:nvPr>
            <p:custDataLst>
              <p:tags r:id="rId2"/>
            </p:custDataLst>
            <p:extLst>
              <p:ext uri="{D42A27DB-BD31-4B8C-83A1-F6EECF244321}">
                <p14:modId xmlns:p14="http://schemas.microsoft.com/office/powerpoint/2010/main" val="3169169045"/>
              </p:ext>
            </p:extLst>
          </p:nvPr>
        </p:nvGraphicFramePr>
        <p:xfrm>
          <a:off x="174625" y="2393950"/>
          <a:ext cx="3854450" cy="3741738"/>
        </p:xfrm>
        <a:graphic>
          <a:graphicData uri="http://schemas.openxmlformats.org/drawingml/2006/chart">
            <c:chart xmlns:c="http://schemas.openxmlformats.org/drawingml/2006/chart" xmlns:r="http://schemas.openxmlformats.org/officeDocument/2006/relationships" r:id="rId45"/>
          </a:graphicData>
        </a:graphic>
      </p:graphicFrame>
      <p:sp>
        <p:nvSpPr>
          <p:cNvPr id="239" name="Text Placeholder 2">
            <a:extLst>
              <a:ext uri="{FF2B5EF4-FFF2-40B4-BE49-F238E27FC236}">
                <a16:creationId xmlns:a16="http://schemas.microsoft.com/office/drawing/2014/main" id="{56342B6E-34C8-DC50-3618-E2E0A9564A49}"/>
              </a:ext>
            </a:extLst>
          </p:cNvPr>
          <p:cNvSpPr>
            <a:spLocks noGrp="1"/>
          </p:cNvSpPr>
          <p:nvPr>
            <p:custDataLst>
              <p:tags r:id="rId3"/>
            </p:custDataLst>
          </p:nvPr>
        </p:nvSpPr>
        <p:spPr bwMode="auto">
          <a:xfrm>
            <a:off x="604838" y="2376489"/>
            <a:ext cx="2333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GB" altLang="en-US" sz="1000">
                <a:cs typeface="Inter" panose="020B0604020202020204" charset="0"/>
              </a:rPr>
              <a:t>GW</a:t>
            </a:r>
            <a:endParaRPr lang="en-GB" sz="1000">
              <a:cs typeface="Inter" panose="020B0604020202020204" charset="0"/>
            </a:endParaRPr>
          </a:p>
        </p:txBody>
      </p:sp>
      <p:sp>
        <p:nvSpPr>
          <p:cNvPr id="16" name="Text Placeholder 2">
            <a:extLst>
              <a:ext uri="{FF2B5EF4-FFF2-40B4-BE49-F238E27FC236}">
                <a16:creationId xmlns:a16="http://schemas.microsoft.com/office/drawing/2014/main" id="{478298D9-DA9E-7303-EDD2-E7A22E745792}"/>
              </a:ext>
            </a:extLst>
          </p:cNvPr>
          <p:cNvSpPr>
            <a:spLocks noGrp="1"/>
          </p:cNvSpPr>
          <p:nvPr>
            <p:custDataLst>
              <p:tags r:id="rId4"/>
            </p:custDataLst>
          </p:nvPr>
        </p:nvSpPr>
        <p:spPr bwMode="auto">
          <a:xfrm>
            <a:off x="636588" y="5953126"/>
            <a:ext cx="292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7C278E7-7759-4BE0-B7CA-C843D8AA16F8}" type="datetime'''''''''''''''2''''''''0''''''1''0'''''''''''''''''''''">
              <a:rPr lang="en-GB" altLang="en-US" sz="1000" smtClean="0">
                <a:cs typeface="Inter" panose="020B0604020202020204" charset="0"/>
              </a:rPr>
              <a:pPr marL="0" indent="0" algn="ctr">
                <a:spcBef>
                  <a:spcPct val="0"/>
                </a:spcBef>
                <a:spcAft>
                  <a:spcPct val="0"/>
                </a:spcAft>
                <a:buNone/>
              </a:pPr>
              <a:t>2010</a:t>
            </a:fld>
            <a:endParaRPr lang="en-GB" sz="1000">
              <a:cs typeface="Inter" panose="020B0604020202020204" charset="0"/>
            </a:endParaRPr>
          </a:p>
        </p:txBody>
      </p:sp>
      <p:sp>
        <p:nvSpPr>
          <p:cNvPr id="28" name="Text Placeholder 2">
            <a:extLst>
              <a:ext uri="{FF2B5EF4-FFF2-40B4-BE49-F238E27FC236}">
                <a16:creationId xmlns:a16="http://schemas.microsoft.com/office/drawing/2014/main" id="{F37E5194-AB89-E202-CF0B-54FC15D5F3C3}"/>
              </a:ext>
            </a:extLst>
          </p:cNvPr>
          <p:cNvSpPr>
            <a:spLocks noGrp="1"/>
          </p:cNvSpPr>
          <p:nvPr>
            <p:custDataLst>
              <p:tags r:id="rId5"/>
            </p:custDataLst>
          </p:nvPr>
        </p:nvSpPr>
        <p:spPr bwMode="auto">
          <a:xfrm>
            <a:off x="1257300" y="5953126"/>
            <a:ext cx="292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CB00E18-62FE-4772-8186-AD530B55037C}" type="datetime'''''''''''2''''''''''''''''''''''''''01''''''''''''''5'''''">
              <a:rPr lang="en-GB" altLang="en-US" sz="1000" smtClean="0">
                <a:cs typeface="Inter" panose="020B0604020202020204" charset="0"/>
              </a:rPr>
              <a:pPr marL="0" indent="0" algn="ctr">
                <a:spcBef>
                  <a:spcPct val="0"/>
                </a:spcBef>
                <a:spcAft>
                  <a:spcPct val="0"/>
                </a:spcAft>
                <a:buNone/>
              </a:pPr>
              <a:t>2015</a:t>
            </a:fld>
            <a:endParaRPr lang="en-GB" sz="1000">
              <a:cs typeface="Inter" panose="020B0604020202020204" charset="0"/>
            </a:endParaRPr>
          </a:p>
        </p:txBody>
      </p:sp>
      <p:sp>
        <p:nvSpPr>
          <p:cNvPr id="33" name="Text Placeholder 2">
            <a:extLst>
              <a:ext uri="{FF2B5EF4-FFF2-40B4-BE49-F238E27FC236}">
                <a16:creationId xmlns:a16="http://schemas.microsoft.com/office/drawing/2014/main" id="{2A5C0E0E-DA07-D5A9-1D3A-6EBCE866F499}"/>
              </a:ext>
            </a:extLst>
          </p:cNvPr>
          <p:cNvSpPr>
            <a:spLocks noGrp="1"/>
          </p:cNvSpPr>
          <p:nvPr>
            <p:custDataLst>
              <p:tags r:id="rId6"/>
            </p:custDataLst>
          </p:nvPr>
        </p:nvSpPr>
        <p:spPr bwMode="auto">
          <a:xfrm>
            <a:off x="1878013" y="5953126"/>
            <a:ext cx="292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7911AD3-DE56-4701-87EA-F2429AA70CDC}" type="datetime'2''''''02''''''''''''''''0'''''''''''''''''''">
              <a:rPr lang="en-GB" altLang="en-US" sz="1000" smtClean="0">
                <a:cs typeface="Inter" panose="020B0604020202020204" charset="0"/>
              </a:rPr>
              <a:pPr marL="0" indent="0" algn="ctr">
                <a:spcBef>
                  <a:spcPct val="0"/>
                </a:spcBef>
                <a:spcAft>
                  <a:spcPct val="0"/>
                </a:spcAft>
                <a:buNone/>
              </a:pPr>
              <a:t>2020</a:t>
            </a:fld>
            <a:endParaRPr lang="en-GB" sz="1000">
              <a:cs typeface="Inter" panose="020B0604020202020204" charset="0"/>
            </a:endParaRPr>
          </a:p>
        </p:txBody>
      </p:sp>
      <p:sp>
        <p:nvSpPr>
          <p:cNvPr id="184" name="Text Placeholder 2">
            <a:extLst>
              <a:ext uri="{FF2B5EF4-FFF2-40B4-BE49-F238E27FC236}">
                <a16:creationId xmlns:a16="http://schemas.microsoft.com/office/drawing/2014/main" id="{5BB65253-048D-F75C-5A36-D49B17556213}"/>
              </a:ext>
            </a:extLst>
          </p:cNvPr>
          <p:cNvSpPr>
            <a:spLocks noGrp="1"/>
          </p:cNvSpPr>
          <p:nvPr>
            <p:custDataLst>
              <p:tags r:id="rId7"/>
            </p:custDataLst>
          </p:nvPr>
        </p:nvSpPr>
        <p:spPr bwMode="auto">
          <a:xfrm>
            <a:off x="2497138" y="5953126"/>
            <a:ext cx="292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6C16AFF-B784-475F-85A8-2DBE2E0E0DF9}" type="datetime'''''''''''''''2''''0''''''''''25'''''">
              <a:rPr lang="en-GB" altLang="en-US" sz="1000" smtClean="0">
                <a:cs typeface="Inter" panose="020B0604020202020204" charset="0"/>
              </a:rPr>
              <a:pPr marL="0" indent="0" algn="ctr">
                <a:spcBef>
                  <a:spcPct val="0"/>
                </a:spcBef>
                <a:spcAft>
                  <a:spcPct val="0"/>
                </a:spcAft>
                <a:buNone/>
              </a:pPr>
              <a:t>2025</a:t>
            </a:fld>
            <a:endParaRPr lang="en-GB" sz="1000">
              <a:cs typeface="Inter" panose="020B0604020202020204" charset="0"/>
            </a:endParaRPr>
          </a:p>
        </p:txBody>
      </p:sp>
      <p:sp>
        <p:nvSpPr>
          <p:cNvPr id="189" name="Text Placeholder 2">
            <a:extLst>
              <a:ext uri="{FF2B5EF4-FFF2-40B4-BE49-F238E27FC236}">
                <a16:creationId xmlns:a16="http://schemas.microsoft.com/office/drawing/2014/main" id="{066D6D9B-63F3-8E3E-E877-676A6E5E59DD}"/>
              </a:ext>
            </a:extLst>
          </p:cNvPr>
          <p:cNvSpPr>
            <a:spLocks noGrp="1"/>
          </p:cNvSpPr>
          <p:nvPr>
            <p:custDataLst>
              <p:tags r:id="rId8"/>
            </p:custDataLst>
          </p:nvPr>
        </p:nvSpPr>
        <p:spPr bwMode="auto">
          <a:xfrm>
            <a:off x="3117850" y="5953126"/>
            <a:ext cx="292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8E94551-1FA9-44F4-8025-04A1F8219FE7}" type="datetime'''''''''''''''''''''''203''''''0'''''''''''''''''''''''''">
              <a:rPr lang="en-GB" altLang="en-US" sz="1000" smtClean="0">
                <a:cs typeface="Inter" panose="020B0604020202020204" charset="0"/>
              </a:rPr>
              <a:pPr marL="0" indent="0" algn="ctr">
                <a:spcBef>
                  <a:spcPct val="0"/>
                </a:spcBef>
                <a:spcAft>
                  <a:spcPct val="0"/>
                </a:spcAft>
                <a:buNone/>
              </a:pPr>
              <a:t>2030</a:t>
            </a:fld>
            <a:endParaRPr lang="en-GB" sz="1000">
              <a:cs typeface="Inter" panose="020B0604020202020204" charset="0"/>
            </a:endParaRPr>
          </a:p>
        </p:txBody>
      </p:sp>
      <p:sp>
        <p:nvSpPr>
          <p:cNvPr id="19" name="Text Placeholder 2">
            <a:extLst>
              <a:ext uri="{FF2B5EF4-FFF2-40B4-BE49-F238E27FC236}">
                <a16:creationId xmlns:a16="http://schemas.microsoft.com/office/drawing/2014/main" id="{A2672111-4F9D-2148-1EE8-43C5F655E12A}"/>
              </a:ext>
            </a:extLst>
          </p:cNvPr>
          <p:cNvSpPr>
            <a:spLocks noGrp="1"/>
          </p:cNvSpPr>
          <p:nvPr>
            <p:custDataLst>
              <p:tags r:id="rId9"/>
            </p:custDataLst>
          </p:nvPr>
        </p:nvSpPr>
        <p:spPr bwMode="auto">
          <a:xfrm>
            <a:off x="3738563" y="5953126"/>
            <a:ext cx="292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DE3DB65-CBE6-445E-9AB7-94678F237754}" type="datetime'''2''''''''''''''''0''''''''''''''''''''''''''3''''''''5'''">
              <a:rPr lang="en-GB" altLang="en-US" sz="1000" smtClean="0">
                <a:cs typeface="Inter" panose="020B0604020202020204" charset="0"/>
              </a:rPr>
              <a:pPr marL="0" indent="0" algn="ctr">
                <a:spcBef>
                  <a:spcPct val="0"/>
                </a:spcBef>
                <a:spcAft>
                  <a:spcPct val="0"/>
                </a:spcAft>
                <a:buNone/>
              </a:pPr>
              <a:t>2035</a:t>
            </a:fld>
            <a:endParaRPr lang="en-GB" sz="1000">
              <a:cs typeface="Inter" panose="020B0604020202020204" charset="0"/>
            </a:endParaRPr>
          </a:p>
        </p:txBody>
      </p:sp>
      <p:sp>
        <p:nvSpPr>
          <p:cNvPr id="485" name="Text Placeholder 2">
            <a:extLst>
              <a:ext uri="{FF2B5EF4-FFF2-40B4-BE49-F238E27FC236}">
                <a16:creationId xmlns:a16="http://schemas.microsoft.com/office/drawing/2014/main" id="{B926D567-524F-4499-A030-E098F89DCD34}"/>
              </a:ext>
            </a:extLst>
          </p:cNvPr>
          <p:cNvSpPr>
            <a:spLocks noGrp="1"/>
          </p:cNvSpPr>
          <p:nvPr>
            <p:custDataLst>
              <p:tags r:id="rId10"/>
            </p:custDataLst>
          </p:nvPr>
        </p:nvSpPr>
        <p:spPr bwMode="gray">
          <a:xfrm>
            <a:off x="3100388" y="2986089"/>
            <a:ext cx="2444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000">
                <a:effectLst/>
                <a:cs typeface="Inter" panose="020B0604020202020204" charset="0"/>
              </a:rPr>
              <a:t>840</a:t>
            </a:r>
          </a:p>
        </p:txBody>
      </p:sp>
      <p:sp>
        <p:nvSpPr>
          <p:cNvPr id="494" name="Text Placeholder 2">
            <a:extLst>
              <a:ext uri="{FF2B5EF4-FFF2-40B4-BE49-F238E27FC236}">
                <a16:creationId xmlns:a16="http://schemas.microsoft.com/office/drawing/2014/main" id="{B926D567-524F-4499-A030-E098F89DCD34}"/>
              </a:ext>
            </a:extLst>
          </p:cNvPr>
          <p:cNvSpPr>
            <a:spLocks noGrp="1"/>
          </p:cNvSpPr>
          <p:nvPr>
            <p:custDataLst>
              <p:tags r:id="rId11"/>
            </p:custDataLst>
          </p:nvPr>
        </p:nvSpPr>
        <p:spPr bwMode="gray">
          <a:xfrm>
            <a:off x="3762375" y="2528889"/>
            <a:ext cx="2444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000">
                <a:effectLst/>
                <a:cs typeface="Inter" panose="020B0604020202020204" charset="0"/>
              </a:rPr>
              <a:t>980</a:t>
            </a:r>
            <a:endParaRPr lang="en-GB" sz="1000" noProof="0">
              <a:cs typeface="Inter" panose="020B0604020202020204" charset="0"/>
            </a:endParaRPr>
          </a:p>
        </p:txBody>
      </p:sp>
      <p:grpSp>
        <p:nvGrpSpPr>
          <p:cNvPr id="8" name="Group 7">
            <a:extLst>
              <a:ext uri="{FF2B5EF4-FFF2-40B4-BE49-F238E27FC236}">
                <a16:creationId xmlns:a16="http://schemas.microsoft.com/office/drawing/2014/main" id="{C055A065-B97E-7CB0-8689-43C0C5CA0A9A}"/>
              </a:ext>
            </a:extLst>
          </p:cNvPr>
          <p:cNvGrpSpPr>
            <a:grpSpLocks/>
          </p:cNvGrpSpPr>
          <p:nvPr/>
        </p:nvGrpSpPr>
        <p:grpSpPr>
          <a:xfrm>
            <a:off x="366779" y="941688"/>
            <a:ext cx="11446626" cy="403862"/>
            <a:chOff x="185697" y="968570"/>
            <a:chExt cx="12080183" cy="403862"/>
          </a:xfrm>
        </p:grpSpPr>
        <p:cxnSp>
          <p:nvCxnSpPr>
            <p:cNvPr id="9" name="Straight Connector 8">
              <a:extLst>
                <a:ext uri="{FF2B5EF4-FFF2-40B4-BE49-F238E27FC236}">
                  <a16:creationId xmlns:a16="http://schemas.microsoft.com/office/drawing/2014/main" id="{3B17E725-6080-9336-2FAB-211367DCD09D}"/>
                </a:ext>
              </a:extLst>
            </p:cNvPr>
            <p:cNvCxnSpPr>
              <a:cxnSpLocks/>
            </p:cNvCxnSpPr>
            <p:nvPr/>
          </p:nvCxnSpPr>
          <p:spPr>
            <a:xfrm>
              <a:off x="185697" y="1372432"/>
              <a:ext cx="11825328" cy="0"/>
            </a:xfrm>
            <a:prstGeom prst="line">
              <a:avLst/>
            </a:prstGeom>
            <a:ln w="19050" cap="flat" cmpd="sng" algn="ctr">
              <a:solidFill>
                <a:schemeClr val="tx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81EF5FBD-62B9-7532-271C-B57C404611FE}"/>
                </a:ext>
              </a:extLst>
            </p:cNvPr>
            <p:cNvSpPr/>
            <p:nvPr/>
          </p:nvSpPr>
          <p:spPr>
            <a:xfrm>
              <a:off x="204386" y="968570"/>
              <a:ext cx="12061494" cy="384850"/>
            </a:xfrm>
            <a:prstGeom prst="rect">
              <a:avLst/>
            </a:prstGeom>
            <a:noFill/>
          </p:spPr>
          <p:txBody>
            <a:bodyPr wrap="square" lIns="0" tIns="0" rIns="0" bIns="0" rtlCol="0">
              <a:spAutoFit/>
            </a:bodyPr>
            <a:lstStyle/>
            <a:p>
              <a:r>
                <a:rPr lang="en-GB" sz="1401" b="1">
                  <a:solidFill>
                    <a:schemeClr val="tx2"/>
                  </a:solidFill>
                  <a:latin typeface="Century Gothic" panose="020B0502020202020204" pitchFamily="34" charset="0"/>
                </a:rPr>
                <a:t>Annual deployment of clean energy technologies</a:t>
              </a:r>
            </a:p>
            <a:p>
              <a:r>
                <a:rPr lang="en-GB" sz="1100">
                  <a:solidFill>
                    <a:schemeClr val="bg1">
                      <a:lumMod val="50000"/>
                    </a:schemeClr>
                  </a:solidFill>
                  <a:latin typeface="Century Gothic" panose="020B0502020202020204" pitchFamily="34" charset="0"/>
                </a:rPr>
                <a:t>Solar and wind: global annual capacity installations; electric vehicles: global annual sales</a:t>
              </a:r>
              <a:endParaRPr lang="en-GB" sz="1401">
                <a:solidFill>
                  <a:schemeClr val="bg1">
                    <a:lumMod val="50000"/>
                  </a:schemeClr>
                </a:solidFill>
                <a:latin typeface="Century Gothic" panose="020B0502020202020204" pitchFamily="34" charset="0"/>
              </a:endParaRPr>
            </a:p>
          </p:txBody>
        </p:sp>
      </p:grpSp>
      <p:sp>
        <p:nvSpPr>
          <p:cNvPr id="11" name="Rectangle 10">
            <a:extLst>
              <a:ext uri="{FF2B5EF4-FFF2-40B4-BE49-F238E27FC236}">
                <a16:creationId xmlns:a16="http://schemas.microsoft.com/office/drawing/2014/main" id="{3969A1C5-9BCF-715B-65D5-86720F26DCF7}"/>
              </a:ext>
            </a:extLst>
          </p:cNvPr>
          <p:cNvSpPr>
            <a:spLocks/>
          </p:cNvSpPr>
          <p:nvPr/>
        </p:nvSpPr>
        <p:spPr>
          <a:xfrm>
            <a:off x="346142" y="1835744"/>
            <a:ext cx="3600000" cy="288000"/>
          </a:xfrm>
          <a:prstGeom prst="rect">
            <a:avLst/>
          </a:prstGeom>
          <a:solidFill>
            <a:schemeClr val="accent3">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401" b="1">
                <a:solidFill>
                  <a:schemeClr val="bg2"/>
                </a:solidFill>
                <a:latin typeface="Century Gothic" panose="020B0502020202020204" pitchFamily="34" charset="0"/>
              </a:rPr>
              <a:t>Solar PV</a:t>
            </a:r>
          </a:p>
        </p:txBody>
      </p:sp>
      <p:sp>
        <p:nvSpPr>
          <p:cNvPr id="12" name="Rectangle 11">
            <a:extLst>
              <a:ext uri="{FF2B5EF4-FFF2-40B4-BE49-F238E27FC236}">
                <a16:creationId xmlns:a16="http://schemas.microsoft.com/office/drawing/2014/main" id="{9D033BD1-3CE8-516C-CD8F-417D8A4882FB}"/>
              </a:ext>
            </a:extLst>
          </p:cNvPr>
          <p:cNvSpPr>
            <a:spLocks/>
          </p:cNvSpPr>
          <p:nvPr/>
        </p:nvSpPr>
        <p:spPr>
          <a:xfrm>
            <a:off x="4329097" y="1835744"/>
            <a:ext cx="3600000" cy="288000"/>
          </a:xfrm>
          <a:prstGeom prst="rect">
            <a:avLst/>
          </a:prstGeom>
          <a:solidFill>
            <a:schemeClr val="accent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401" b="1">
                <a:solidFill>
                  <a:schemeClr val="bg2"/>
                </a:solidFill>
                <a:latin typeface="Century Gothic" panose="020B0502020202020204" pitchFamily="34" charset="0"/>
              </a:rPr>
              <a:t>Wind</a:t>
            </a:r>
          </a:p>
        </p:txBody>
      </p:sp>
      <p:sp>
        <p:nvSpPr>
          <p:cNvPr id="13" name="Rectangle 12">
            <a:extLst>
              <a:ext uri="{FF2B5EF4-FFF2-40B4-BE49-F238E27FC236}">
                <a16:creationId xmlns:a16="http://schemas.microsoft.com/office/drawing/2014/main" id="{3238039D-0217-4FE9-F681-9ECB6A11DFB0}"/>
              </a:ext>
            </a:extLst>
          </p:cNvPr>
          <p:cNvSpPr>
            <a:spLocks/>
          </p:cNvSpPr>
          <p:nvPr/>
        </p:nvSpPr>
        <p:spPr>
          <a:xfrm>
            <a:off x="8312051" y="1835744"/>
            <a:ext cx="3600000" cy="288000"/>
          </a:xfrm>
          <a:prstGeom prst="rect">
            <a:avLst/>
          </a:prstGeom>
          <a:solidFill>
            <a:schemeClr val="accent5">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401" b="1">
                <a:solidFill>
                  <a:schemeClr val="bg2"/>
                </a:solidFill>
                <a:latin typeface="Century Gothic" panose="020B0502020202020204" pitchFamily="34" charset="0"/>
              </a:rPr>
              <a:t>Electric Vehicles</a:t>
            </a:r>
          </a:p>
        </p:txBody>
      </p:sp>
      <p:sp>
        <p:nvSpPr>
          <p:cNvPr id="225" name="Rectangle 224">
            <a:extLst>
              <a:ext uri="{FF2B5EF4-FFF2-40B4-BE49-F238E27FC236}">
                <a16:creationId xmlns:a16="http://schemas.microsoft.com/office/drawing/2014/main" id="{04FDF4AF-E499-A36C-5C08-A879DDB3D0C5}"/>
              </a:ext>
            </a:extLst>
          </p:cNvPr>
          <p:cNvSpPr/>
          <p:nvPr>
            <p:custDataLst>
              <p:tags r:id="rId12"/>
            </p:custDataLst>
          </p:nvPr>
        </p:nvSpPr>
        <p:spPr bwMode="auto">
          <a:xfrm>
            <a:off x="771525" y="2619375"/>
            <a:ext cx="179388" cy="133350"/>
          </a:xfrm>
          <a:prstGeom prst="rect">
            <a:avLst/>
          </a:prstGeom>
          <a:solidFill>
            <a:schemeClr val="accent3"/>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1">
              <a:solidFill>
                <a:schemeClr val="bg1"/>
              </a:solidFill>
              <a:latin typeface="Century Gothic" panose="020B0502020202020204" pitchFamily="34" charset="0"/>
            </a:endParaRPr>
          </a:p>
        </p:txBody>
      </p:sp>
      <p:sp>
        <p:nvSpPr>
          <p:cNvPr id="27" name="Rectangle 26">
            <a:extLst>
              <a:ext uri="{FF2B5EF4-FFF2-40B4-BE49-F238E27FC236}">
                <a16:creationId xmlns:a16="http://schemas.microsoft.com/office/drawing/2014/main" id="{1D8B3A79-3C65-95FD-CDF5-091C72EADC19}"/>
              </a:ext>
            </a:extLst>
          </p:cNvPr>
          <p:cNvSpPr/>
          <p:nvPr>
            <p:custDataLst>
              <p:tags r:id="rId13"/>
            </p:custDataLst>
          </p:nvPr>
        </p:nvSpPr>
        <p:spPr bwMode="auto">
          <a:xfrm>
            <a:off x="771525" y="2814638"/>
            <a:ext cx="179388" cy="133350"/>
          </a:xfrm>
          <a:prstGeom prst="rect">
            <a:avLst/>
          </a:prstGeom>
          <a:solidFill>
            <a:srgbClr val="FFE5A0"/>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a:ln>
                <a:noFill/>
              </a:ln>
              <a:solidFill>
                <a:schemeClr val="bg1"/>
              </a:solidFill>
              <a:latin typeface="Century Gothic" panose="020B0502020202020204" pitchFamily="34" charset="0"/>
            </a:endParaRPr>
          </a:p>
        </p:txBody>
      </p:sp>
      <p:sp>
        <p:nvSpPr>
          <p:cNvPr id="221" name="Text Placeholder 2">
            <a:extLst>
              <a:ext uri="{FF2B5EF4-FFF2-40B4-BE49-F238E27FC236}">
                <a16:creationId xmlns:a16="http://schemas.microsoft.com/office/drawing/2014/main" id="{77261BFF-65F5-145D-29C2-B35E572A7E4D}"/>
              </a:ext>
            </a:extLst>
          </p:cNvPr>
          <p:cNvSpPr>
            <a:spLocks noGrp="1"/>
          </p:cNvSpPr>
          <p:nvPr>
            <p:custDataLst>
              <p:tags r:id="rId14"/>
            </p:custDataLst>
          </p:nvPr>
        </p:nvSpPr>
        <p:spPr bwMode="auto">
          <a:xfrm>
            <a:off x="1001713" y="2627314"/>
            <a:ext cx="546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BF082B8C-14EE-4999-8431-CCFD2A2A3320}" type="datetime'''H''i''''s''''''''''''''''''''''t''ori''''''''''''''''cal'''">
              <a:rPr lang="en-GB" altLang="en-US" sz="1000">
                <a:cs typeface="Inter" panose="020B0604020202020204" charset="0"/>
              </a:rPr>
              <a:pPr marL="0" indent="0">
                <a:spcBef>
                  <a:spcPct val="0"/>
                </a:spcBef>
                <a:spcAft>
                  <a:spcPct val="0"/>
                </a:spcAft>
                <a:buNone/>
              </a:pPr>
              <a:t>Historical</a:t>
            </a:fld>
            <a:endParaRPr lang="en-GB" sz="1000">
              <a:cs typeface="Inter" panose="020B0604020202020204" charset="0"/>
            </a:endParaRPr>
          </a:p>
        </p:txBody>
      </p:sp>
      <p:sp>
        <p:nvSpPr>
          <p:cNvPr id="23" name="Text Placeholder 2">
            <a:extLst>
              <a:ext uri="{FF2B5EF4-FFF2-40B4-BE49-F238E27FC236}">
                <a16:creationId xmlns:a16="http://schemas.microsoft.com/office/drawing/2014/main" id="{BA5AAB4D-DCD9-BB8A-4697-53C609D9D846}"/>
              </a:ext>
            </a:extLst>
          </p:cNvPr>
          <p:cNvSpPr>
            <a:spLocks noGrp="1"/>
          </p:cNvSpPr>
          <p:nvPr>
            <p:custDataLst>
              <p:tags r:id="rId15"/>
            </p:custDataLst>
          </p:nvPr>
        </p:nvSpPr>
        <p:spPr bwMode="auto">
          <a:xfrm>
            <a:off x="1001713" y="2822576"/>
            <a:ext cx="5270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F1A5D3CB-60D9-4C6E-B83C-9659A790AB83}" type="datetime'''Fo''r''''''''''''''''e''''c''''''''a''''''''''''s''t'">
              <a:rPr lang="en-GB" altLang="en-US" sz="1000" smtClean="0">
                <a:cs typeface="Inter" panose="020B0604020202020204" charset="0"/>
              </a:rPr>
              <a:pPr marL="0" indent="0">
                <a:spcBef>
                  <a:spcPct val="0"/>
                </a:spcBef>
                <a:spcAft>
                  <a:spcPct val="0"/>
                </a:spcAft>
                <a:buNone/>
              </a:pPr>
              <a:t>Forecast</a:t>
            </a:fld>
            <a:endParaRPr lang="en-GB" sz="1000">
              <a:cs typeface="Inter" panose="020B0604020202020204" charset="0"/>
            </a:endParaRPr>
          </a:p>
        </p:txBody>
      </p:sp>
      <p:graphicFrame>
        <p:nvGraphicFramePr>
          <p:cNvPr id="7" name="Chart 6">
            <a:extLst>
              <a:ext uri="{FF2B5EF4-FFF2-40B4-BE49-F238E27FC236}">
                <a16:creationId xmlns:a16="http://schemas.microsoft.com/office/drawing/2014/main" id="{A9FFAF75-23A3-C6C8-6D69-B1A2BFCCAC52}"/>
              </a:ext>
            </a:extLst>
          </p:cNvPr>
          <p:cNvGraphicFramePr/>
          <p:nvPr>
            <p:custDataLst>
              <p:tags r:id="rId16"/>
            </p:custDataLst>
            <p:extLst>
              <p:ext uri="{D42A27DB-BD31-4B8C-83A1-F6EECF244321}">
                <p14:modId xmlns:p14="http://schemas.microsoft.com/office/powerpoint/2010/main" val="342899990"/>
              </p:ext>
            </p:extLst>
          </p:nvPr>
        </p:nvGraphicFramePr>
        <p:xfrm>
          <a:off x="4119563" y="2393950"/>
          <a:ext cx="3892550" cy="3741738"/>
        </p:xfrm>
        <a:graphic>
          <a:graphicData uri="http://schemas.openxmlformats.org/drawingml/2006/chart">
            <c:chart xmlns:c="http://schemas.openxmlformats.org/drawingml/2006/chart" xmlns:r="http://schemas.openxmlformats.org/officeDocument/2006/relationships" r:id="rId46"/>
          </a:graphicData>
        </a:graphic>
      </p:graphicFrame>
      <p:sp>
        <p:nvSpPr>
          <p:cNvPr id="272" name="Text Placeholder 2">
            <a:extLst>
              <a:ext uri="{FF2B5EF4-FFF2-40B4-BE49-F238E27FC236}">
                <a16:creationId xmlns:a16="http://schemas.microsoft.com/office/drawing/2014/main" id="{748FE3AA-497A-4E62-77E6-E2563BCB670F}"/>
              </a:ext>
            </a:extLst>
          </p:cNvPr>
          <p:cNvSpPr>
            <a:spLocks noGrp="1"/>
          </p:cNvSpPr>
          <p:nvPr>
            <p:custDataLst>
              <p:tags r:id="rId17"/>
            </p:custDataLst>
          </p:nvPr>
        </p:nvSpPr>
        <p:spPr bwMode="auto">
          <a:xfrm>
            <a:off x="4549775" y="2376489"/>
            <a:ext cx="2333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GB" altLang="en-US" sz="1000">
                <a:cs typeface="Inter" panose="020B0604020202020204" charset="0"/>
              </a:rPr>
              <a:t>GW</a:t>
            </a:r>
            <a:endParaRPr lang="en-GB" sz="1000">
              <a:cs typeface="Inter" panose="020B0604020202020204" charset="0"/>
            </a:endParaRPr>
          </a:p>
        </p:txBody>
      </p:sp>
      <p:sp>
        <p:nvSpPr>
          <p:cNvPr id="265" name="Text Placeholder 2">
            <a:extLst>
              <a:ext uri="{FF2B5EF4-FFF2-40B4-BE49-F238E27FC236}">
                <a16:creationId xmlns:a16="http://schemas.microsoft.com/office/drawing/2014/main" id="{EE220E4D-21C9-BEA5-A5A4-DCAD32C0254B}"/>
              </a:ext>
            </a:extLst>
          </p:cNvPr>
          <p:cNvSpPr>
            <a:spLocks noGrp="1"/>
          </p:cNvSpPr>
          <p:nvPr>
            <p:custDataLst>
              <p:tags r:id="rId18"/>
            </p:custDataLst>
          </p:nvPr>
        </p:nvSpPr>
        <p:spPr bwMode="auto">
          <a:xfrm>
            <a:off x="4581525" y="5953126"/>
            <a:ext cx="292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B01BFEA-D085-42BC-ACD6-4036F3DF0236}" type="datetime'''''''''''''''2''''''''''''''01''''''''''''0'''''''''">
              <a:rPr lang="en-GB" altLang="en-US" sz="1000" smtClean="0">
                <a:cs typeface="Inter" panose="020B0604020202020204" charset="0"/>
              </a:rPr>
              <a:pPr marL="0" indent="0" algn="ctr">
                <a:spcBef>
                  <a:spcPct val="0"/>
                </a:spcBef>
                <a:spcAft>
                  <a:spcPct val="0"/>
                </a:spcAft>
                <a:buNone/>
              </a:pPr>
              <a:t>2010</a:t>
            </a:fld>
            <a:endParaRPr lang="en-GB" sz="1000">
              <a:cs typeface="Inter" panose="020B0604020202020204" charset="0"/>
            </a:endParaRPr>
          </a:p>
        </p:txBody>
      </p:sp>
      <p:sp>
        <p:nvSpPr>
          <p:cNvPr id="266" name="Text Placeholder 2">
            <a:extLst>
              <a:ext uri="{FF2B5EF4-FFF2-40B4-BE49-F238E27FC236}">
                <a16:creationId xmlns:a16="http://schemas.microsoft.com/office/drawing/2014/main" id="{A8C2BDCE-5AC2-F51A-95A5-E3A746543A43}"/>
              </a:ext>
            </a:extLst>
          </p:cNvPr>
          <p:cNvSpPr>
            <a:spLocks noGrp="1"/>
          </p:cNvSpPr>
          <p:nvPr>
            <p:custDataLst>
              <p:tags r:id="rId19"/>
            </p:custDataLst>
          </p:nvPr>
        </p:nvSpPr>
        <p:spPr bwMode="auto">
          <a:xfrm>
            <a:off x="5208588" y="5953126"/>
            <a:ext cx="292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20FD02E-FDEF-44E8-A3A9-79451D123809}" type="datetime'''''2''''''''''''''''''01''''''''''''''''''''''''''5'''">
              <a:rPr lang="en-GB" altLang="en-US" sz="1000" smtClean="0">
                <a:cs typeface="Inter" panose="020B0604020202020204" charset="0"/>
              </a:rPr>
              <a:pPr marL="0" indent="0" algn="ctr">
                <a:spcBef>
                  <a:spcPct val="0"/>
                </a:spcBef>
                <a:spcAft>
                  <a:spcPct val="0"/>
                </a:spcAft>
                <a:buNone/>
              </a:pPr>
              <a:t>2015</a:t>
            </a:fld>
            <a:endParaRPr lang="en-GB" sz="1000">
              <a:cs typeface="Inter" panose="020B0604020202020204" charset="0"/>
            </a:endParaRPr>
          </a:p>
        </p:txBody>
      </p:sp>
      <p:sp>
        <p:nvSpPr>
          <p:cNvPr id="267" name="Text Placeholder 2">
            <a:extLst>
              <a:ext uri="{FF2B5EF4-FFF2-40B4-BE49-F238E27FC236}">
                <a16:creationId xmlns:a16="http://schemas.microsoft.com/office/drawing/2014/main" id="{5C746E42-6C88-91D6-BFDF-38B8D3294FBE}"/>
              </a:ext>
            </a:extLst>
          </p:cNvPr>
          <p:cNvSpPr>
            <a:spLocks noGrp="1"/>
          </p:cNvSpPr>
          <p:nvPr>
            <p:custDataLst>
              <p:tags r:id="rId20"/>
            </p:custDataLst>
          </p:nvPr>
        </p:nvSpPr>
        <p:spPr bwMode="auto">
          <a:xfrm>
            <a:off x="5837238" y="5953126"/>
            <a:ext cx="292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2017A57-76EC-4E7D-A564-90CA5827BEC1}" type="datetime'''''''2''''0''''''''''''''''''''2''''0'''''''''''''''''''''">
              <a:rPr lang="en-GB" altLang="en-US" sz="1000" smtClean="0">
                <a:cs typeface="Inter" panose="020B0604020202020204" charset="0"/>
              </a:rPr>
              <a:pPr marL="0" indent="0" algn="ctr">
                <a:spcBef>
                  <a:spcPct val="0"/>
                </a:spcBef>
                <a:spcAft>
                  <a:spcPct val="0"/>
                </a:spcAft>
                <a:buNone/>
              </a:pPr>
              <a:t>2020</a:t>
            </a:fld>
            <a:endParaRPr lang="en-GB" sz="1000">
              <a:cs typeface="Inter" panose="020B0604020202020204" charset="0"/>
            </a:endParaRPr>
          </a:p>
        </p:txBody>
      </p:sp>
      <p:sp>
        <p:nvSpPr>
          <p:cNvPr id="269" name="Text Placeholder 2">
            <a:extLst>
              <a:ext uri="{FF2B5EF4-FFF2-40B4-BE49-F238E27FC236}">
                <a16:creationId xmlns:a16="http://schemas.microsoft.com/office/drawing/2014/main" id="{71AF70BB-0CE4-EBD9-3A53-CA07D819467A}"/>
              </a:ext>
            </a:extLst>
          </p:cNvPr>
          <p:cNvSpPr>
            <a:spLocks noGrp="1"/>
          </p:cNvSpPr>
          <p:nvPr>
            <p:custDataLst>
              <p:tags r:id="rId21"/>
            </p:custDataLst>
          </p:nvPr>
        </p:nvSpPr>
        <p:spPr bwMode="auto">
          <a:xfrm>
            <a:off x="6464300" y="5953126"/>
            <a:ext cx="292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947EEB8-B9AD-4DE9-814E-7FB0A475F1EC}" type="datetime'''''''''''''''''''''''''''''2''''0''''''''''''''''25'''">
              <a:rPr lang="en-GB" altLang="en-US" sz="1000" smtClean="0">
                <a:cs typeface="Inter" panose="020B0604020202020204" charset="0"/>
              </a:rPr>
              <a:pPr marL="0" indent="0" algn="ctr">
                <a:spcBef>
                  <a:spcPct val="0"/>
                </a:spcBef>
                <a:spcAft>
                  <a:spcPct val="0"/>
                </a:spcAft>
                <a:buNone/>
              </a:pPr>
              <a:t>2025</a:t>
            </a:fld>
            <a:endParaRPr lang="en-GB" sz="1000">
              <a:cs typeface="Inter" panose="020B0604020202020204" charset="0"/>
            </a:endParaRPr>
          </a:p>
        </p:txBody>
      </p:sp>
      <p:sp>
        <p:nvSpPr>
          <p:cNvPr id="270" name="Text Placeholder 2">
            <a:extLst>
              <a:ext uri="{FF2B5EF4-FFF2-40B4-BE49-F238E27FC236}">
                <a16:creationId xmlns:a16="http://schemas.microsoft.com/office/drawing/2014/main" id="{8E2E2515-8912-E50E-5E9B-6569AF3F471E}"/>
              </a:ext>
            </a:extLst>
          </p:cNvPr>
          <p:cNvSpPr>
            <a:spLocks noGrp="1"/>
          </p:cNvSpPr>
          <p:nvPr>
            <p:custDataLst>
              <p:tags r:id="rId22"/>
            </p:custDataLst>
          </p:nvPr>
        </p:nvSpPr>
        <p:spPr bwMode="auto">
          <a:xfrm>
            <a:off x="7092950" y="5953126"/>
            <a:ext cx="292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3CE1886-70D8-4A60-8A5F-8CD688D75F0A}" type="datetime'''2''0''''''''''''''''''''''''''''3''''''''''''0'''''''''">
              <a:rPr lang="en-GB" altLang="en-US" sz="1000" smtClean="0">
                <a:cs typeface="Inter" panose="020B0604020202020204" charset="0"/>
              </a:rPr>
              <a:pPr marL="0" indent="0" algn="ctr">
                <a:spcBef>
                  <a:spcPct val="0"/>
                </a:spcBef>
                <a:spcAft>
                  <a:spcPct val="0"/>
                </a:spcAft>
                <a:buNone/>
              </a:pPr>
              <a:t>2030</a:t>
            </a:fld>
            <a:endParaRPr lang="en-GB" sz="1000">
              <a:cs typeface="Inter" panose="020B0604020202020204" charset="0"/>
            </a:endParaRPr>
          </a:p>
        </p:txBody>
      </p:sp>
      <p:sp>
        <p:nvSpPr>
          <p:cNvPr id="471" name="Text Placeholder 2">
            <a:extLst>
              <a:ext uri="{FF2B5EF4-FFF2-40B4-BE49-F238E27FC236}">
                <a16:creationId xmlns:a16="http://schemas.microsoft.com/office/drawing/2014/main" id="{C4335306-0097-15C9-F6EA-6AADAACE8AE0}"/>
              </a:ext>
            </a:extLst>
          </p:cNvPr>
          <p:cNvSpPr>
            <a:spLocks noGrp="1"/>
          </p:cNvSpPr>
          <p:nvPr>
            <p:custDataLst>
              <p:tags r:id="rId23"/>
            </p:custDataLst>
          </p:nvPr>
        </p:nvSpPr>
        <p:spPr bwMode="auto">
          <a:xfrm>
            <a:off x="7720013" y="5953126"/>
            <a:ext cx="292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13438C4-ADE0-4640-B8AB-99B7C616C3BE}" type="datetime'''''2''''''''''0''''''''''3''''''''''''5'''''''''''''''">
              <a:rPr lang="en-GB" altLang="en-US" sz="1000" smtClean="0">
                <a:cs typeface="Inter" panose="020B0604020202020204" charset="0"/>
              </a:rPr>
              <a:pPr marL="0" indent="0" algn="ctr">
                <a:spcBef>
                  <a:spcPct val="0"/>
                </a:spcBef>
                <a:spcAft>
                  <a:spcPct val="0"/>
                </a:spcAft>
                <a:buNone/>
              </a:pPr>
              <a:t>2035</a:t>
            </a:fld>
            <a:endParaRPr lang="en-GB" sz="1000">
              <a:cs typeface="Inter" panose="020B0604020202020204" charset="0"/>
            </a:endParaRPr>
          </a:p>
        </p:txBody>
      </p:sp>
      <p:sp>
        <p:nvSpPr>
          <p:cNvPr id="96" name="Text Placeholder 2">
            <a:extLst>
              <a:ext uri="{FF2B5EF4-FFF2-40B4-BE49-F238E27FC236}">
                <a16:creationId xmlns:a16="http://schemas.microsoft.com/office/drawing/2014/main" id="{B926D567-524F-4499-A030-E098F89DCD34}"/>
              </a:ext>
            </a:extLst>
          </p:cNvPr>
          <p:cNvSpPr>
            <a:spLocks noGrp="1"/>
          </p:cNvSpPr>
          <p:nvPr>
            <p:custDataLst>
              <p:tags r:id="rId24"/>
            </p:custDataLst>
          </p:nvPr>
        </p:nvSpPr>
        <p:spPr bwMode="gray">
          <a:xfrm>
            <a:off x="6197600" y="5362576"/>
            <a:ext cx="2444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000">
                <a:effectLst/>
              </a:rPr>
              <a:t>120</a:t>
            </a:r>
            <a:endParaRPr lang="en-GB" sz="1000" noProof="0"/>
          </a:p>
        </p:txBody>
      </p:sp>
      <p:sp>
        <p:nvSpPr>
          <p:cNvPr id="102" name="Text Placeholder 2">
            <a:extLst>
              <a:ext uri="{FF2B5EF4-FFF2-40B4-BE49-F238E27FC236}">
                <a16:creationId xmlns:a16="http://schemas.microsoft.com/office/drawing/2014/main" id="{B926D567-524F-4499-A030-E098F89DCD34}"/>
              </a:ext>
            </a:extLst>
          </p:cNvPr>
          <p:cNvSpPr>
            <a:spLocks noGrp="1"/>
          </p:cNvSpPr>
          <p:nvPr>
            <p:custDataLst>
              <p:tags r:id="rId25"/>
            </p:custDataLst>
          </p:nvPr>
        </p:nvSpPr>
        <p:spPr bwMode="gray">
          <a:xfrm>
            <a:off x="7743825" y="4191001"/>
            <a:ext cx="2444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000">
                <a:effectLst/>
              </a:rPr>
              <a:t>475</a:t>
            </a:r>
            <a:endParaRPr lang="en-GB" sz="1000" noProof="0"/>
          </a:p>
        </p:txBody>
      </p:sp>
      <p:sp>
        <p:nvSpPr>
          <p:cNvPr id="273" name="Rectangle 272">
            <a:extLst>
              <a:ext uri="{FF2B5EF4-FFF2-40B4-BE49-F238E27FC236}">
                <a16:creationId xmlns:a16="http://schemas.microsoft.com/office/drawing/2014/main" id="{52682895-5D9B-7DA9-831A-4960809535A7}"/>
              </a:ext>
            </a:extLst>
          </p:cNvPr>
          <p:cNvSpPr/>
          <p:nvPr>
            <p:custDataLst>
              <p:tags r:id="rId26"/>
            </p:custDataLst>
          </p:nvPr>
        </p:nvSpPr>
        <p:spPr bwMode="auto">
          <a:xfrm>
            <a:off x="4716463" y="2619375"/>
            <a:ext cx="179388" cy="133350"/>
          </a:xfrm>
          <a:prstGeom prst="rect">
            <a:avLst/>
          </a:prstGeom>
          <a:solidFill>
            <a:schemeClr val="accent1"/>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tx2"/>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1">
              <a:solidFill>
                <a:schemeClr val="bg1"/>
              </a:solidFill>
              <a:latin typeface="Century Gothic" panose="020B0502020202020204" pitchFamily="34" charset="0"/>
            </a:endParaRPr>
          </a:p>
        </p:txBody>
      </p:sp>
      <p:sp>
        <p:nvSpPr>
          <p:cNvPr id="274" name="Rectangle 273">
            <a:extLst>
              <a:ext uri="{FF2B5EF4-FFF2-40B4-BE49-F238E27FC236}">
                <a16:creationId xmlns:a16="http://schemas.microsoft.com/office/drawing/2014/main" id="{5CFF4160-06DA-554B-CF67-165A753FA3FD}"/>
              </a:ext>
            </a:extLst>
          </p:cNvPr>
          <p:cNvSpPr/>
          <p:nvPr>
            <p:custDataLst>
              <p:tags r:id="rId27"/>
            </p:custDataLst>
          </p:nvPr>
        </p:nvSpPr>
        <p:spPr bwMode="auto">
          <a:xfrm>
            <a:off x="4716463" y="2814638"/>
            <a:ext cx="179388" cy="133350"/>
          </a:xfrm>
          <a:prstGeom prst="rect">
            <a:avLst/>
          </a:prstGeom>
          <a:solidFill>
            <a:srgbClr val="8BF0FF"/>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1">
              <a:solidFill>
                <a:schemeClr val="bg1"/>
              </a:solidFill>
              <a:latin typeface="Century Gothic" panose="020B0502020202020204" pitchFamily="34" charset="0"/>
            </a:endParaRPr>
          </a:p>
        </p:txBody>
      </p:sp>
      <p:sp>
        <p:nvSpPr>
          <p:cNvPr id="275" name="Text Placeholder 2">
            <a:extLst>
              <a:ext uri="{FF2B5EF4-FFF2-40B4-BE49-F238E27FC236}">
                <a16:creationId xmlns:a16="http://schemas.microsoft.com/office/drawing/2014/main" id="{833D60A2-FFF2-515A-0DFC-70CD6933FE16}"/>
              </a:ext>
            </a:extLst>
          </p:cNvPr>
          <p:cNvSpPr>
            <a:spLocks noGrp="1"/>
          </p:cNvSpPr>
          <p:nvPr>
            <p:custDataLst>
              <p:tags r:id="rId28"/>
            </p:custDataLst>
          </p:nvPr>
        </p:nvSpPr>
        <p:spPr bwMode="auto">
          <a:xfrm>
            <a:off x="4946650" y="2627314"/>
            <a:ext cx="546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D9E35C17-AC64-4C83-B8E6-986813FE345F}" type="datetime'''''''Hi''''st''''o''ri''''''''''''c''''''''a''''''l'''''''''">
              <a:rPr lang="en-GB" altLang="en-US" sz="1000" smtClean="0">
                <a:cs typeface="Inter" panose="020B0604020202020204" charset="0"/>
              </a:rPr>
              <a:pPr marL="0" indent="0">
                <a:spcBef>
                  <a:spcPct val="0"/>
                </a:spcBef>
                <a:spcAft>
                  <a:spcPct val="0"/>
                </a:spcAft>
                <a:buNone/>
              </a:pPr>
              <a:t>Historical</a:t>
            </a:fld>
            <a:endParaRPr lang="en-GB" sz="1000">
              <a:cs typeface="Inter" panose="020B0604020202020204" charset="0"/>
            </a:endParaRPr>
          </a:p>
        </p:txBody>
      </p:sp>
      <p:sp>
        <p:nvSpPr>
          <p:cNvPr id="276" name="Text Placeholder 2">
            <a:extLst>
              <a:ext uri="{FF2B5EF4-FFF2-40B4-BE49-F238E27FC236}">
                <a16:creationId xmlns:a16="http://schemas.microsoft.com/office/drawing/2014/main" id="{0BD729D5-25FA-72F1-B8D8-68D37CD93727}"/>
              </a:ext>
            </a:extLst>
          </p:cNvPr>
          <p:cNvSpPr>
            <a:spLocks noGrp="1"/>
          </p:cNvSpPr>
          <p:nvPr>
            <p:custDataLst>
              <p:tags r:id="rId29"/>
            </p:custDataLst>
          </p:nvPr>
        </p:nvSpPr>
        <p:spPr bwMode="auto">
          <a:xfrm>
            <a:off x="4946650" y="2822576"/>
            <a:ext cx="5270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1789FC8E-508B-4644-A46E-290D58B25DA8}" type="datetime'''''''F''o''''''''''''''r''''''''''e''''c''''''''''''ast'''''">
              <a:rPr lang="en-GB" altLang="en-US" sz="1000" smtClean="0">
                <a:cs typeface="Inter" panose="020B0604020202020204" charset="0"/>
              </a:rPr>
              <a:pPr marL="0" indent="0">
                <a:spcBef>
                  <a:spcPct val="0"/>
                </a:spcBef>
                <a:spcAft>
                  <a:spcPct val="0"/>
                </a:spcAft>
                <a:buNone/>
              </a:pPr>
              <a:t>Forecast</a:t>
            </a:fld>
            <a:endParaRPr lang="en-GB" sz="1000">
              <a:cs typeface="Inter" panose="020B0604020202020204" charset="0"/>
            </a:endParaRPr>
          </a:p>
        </p:txBody>
      </p:sp>
      <p:graphicFrame>
        <p:nvGraphicFramePr>
          <p:cNvPr id="14" name="Chart 13">
            <a:extLst>
              <a:ext uri="{FF2B5EF4-FFF2-40B4-BE49-F238E27FC236}">
                <a16:creationId xmlns:a16="http://schemas.microsoft.com/office/drawing/2014/main" id="{BEDF593E-D0DC-895E-84FA-6E65298EF26A}"/>
              </a:ext>
            </a:extLst>
          </p:cNvPr>
          <p:cNvGraphicFramePr/>
          <p:nvPr>
            <p:custDataLst>
              <p:tags r:id="rId30"/>
            </p:custDataLst>
            <p:extLst>
              <p:ext uri="{D42A27DB-BD31-4B8C-83A1-F6EECF244321}">
                <p14:modId xmlns:p14="http://schemas.microsoft.com/office/powerpoint/2010/main" val="1997636591"/>
              </p:ext>
            </p:extLst>
          </p:nvPr>
        </p:nvGraphicFramePr>
        <p:xfrm>
          <a:off x="8226425" y="2393950"/>
          <a:ext cx="3787775" cy="3741738"/>
        </p:xfrm>
        <a:graphic>
          <a:graphicData uri="http://schemas.openxmlformats.org/drawingml/2006/chart">
            <c:chart xmlns:c="http://schemas.openxmlformats.org/drawingml/2006/chart" xmlns:r="http://schemas.openxmlformats.org/officeDocument/2006/relationships" r:id="rId47"/>
          </a:graphicData>
        </a:graphic>
      </p:graphicFrame>
      <p:sp>
        <p:nvSpPr>
          <p:cNvPr id="379" name="Text Placeholder 2">
            <a:extLst>
              <a:ext uri="{FF2B5EF4-FFF2-40B4-BE49-F238E27FC236}">
                <a16:creationId xmlns:a16="http://schemas.microsoft.com/office/drawing/2014/main" id="{31F14B77-EE38-17B5-2F39-C8BE568BFC2C}"/>
              </a:ext>
            </a:extLst>
          </p:cNvPr>
          <p:cNvSpPr>
            <a:spLocks noGrp="1"/>
          </p:cNvSpPr>
          <p:nvPr>
            <p:custDataLst>
              <p:tags r:id="rId31"/>
            </p:custDataLst>
          </p:nvPr>
        </p:nvSpPr>
        <p:spPr bwMode="auto">
          <a:xfrm>
            <a:off x="8383588" y="2317751"/>
            <a:ext cx="4286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GB" altLang="en-US" sz="1000">
                <a:cs typeface="Inter" panose="020B0604020202020204" charset="0"/>
              </a:rPr>
              <a:t>Millions</a:t>
            </a:r>
            <a:endParaRPr lang="en-GB" sz="1000">
              <a:cs typeface="Inter" panose="020B0604020202020204" charset="0"/>
            </a:endParaRPr>
          </a:p>
        </p:txBody>
      </p:sp>
      <p:sp>
        <p:nvSpPr>
          <p:cNvPr id="380" name="Text Placeholder 2">
            <a:extLst>
              <a:ext uri="{FF2B5EF4-FFF2-40B4-BE49-F238E27FC236}">
                <a16:creationId xmlns:a16="http://schemas.microsoft.com/office/drawing/2014/main" id="{0725A472-8920-4996-660F-9B9027088751}"/>
              </a:ext>
            </a:extLst>
          </p:cNvPr>
          <p:cNvSpPr>
            <a:spLocks noGrp="1"/>
          </p:cNvSpPr>
          <p:nvPr>
            <p:custDataLst>
              <p:tags r:id="rId32"/>
            </p:custDataLst>
          </p:nvPr>
        </p:nvSpPr>
        <p:spPr bwMode="auto">
          <a:xfrm>
            <a:off x="8515350" y="5953126"/>
            <a:ext cx="292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9BF3637-6A44-4A4F-A55E-2E150654F7DA}" type="datetime'''2''''''''''''''''''''''''''''''''''''0''''''''1''0'''">
              <a:rPr lang="en-GB" altLang="en-US" sz="1000" smtClean="0">
                <a:cs typeface="Inter" panose="020B0604020202020204" charset="0"/>
              </a:rPr>
              <a:pPr marL="0" indent="0" algn="ctr">
                <a:spcBef>
                  <a:spcPct val="0"/>
                </a:spcBef>
                <a:spcAft>
                  <a:spcPct val="0"/>
                </a:spcAft>
                <a:buNone/>
              </a:pPr>
              <a:t>2010</a:t>
            </a:fld>
            <a:endParaRPr lang="en-GB" sz="1000">
              <a:cs typeface="Inter" panose="020B0604020202020204" charset="0"/>
            </a:endParaRPr>
          </a:p>
        </p:txBody>
      </p:sp>
      <p:sp>
        <p:nvSpPr>
          <p:cNvPr id="381" name="Text Placeholder 2">
            <a:extLst>
              <a:ext uri="{FF2B5EF4-FFF2-40B4-BE49-F238E27FC236}">
                <a16:creationId xmlns:a16="http://schemas.microsoft.com/office/drawing/2014/main" id="{D2282A4F-2F38-AFDA-1D71-5C7FEE7538DE}"/>
              </a:ext>
            </a:extLst>
          </p:cNvPr>
          <p:cNvSpPr>
            <a:spLocks noGrp="1"/>
          </p:cNvSpPr>
          <p:nvPr>
            <p:custDataLst>
              <p:tags r:id="rId33"/>
            </p:custDataLst>
          </p:nvPr>
        </p:nvSpPr>
        <p:spPr bwMode="auto">
          <a:xfrm>
            <a:off x="9156700" y="5953126"/>
            <a:ext cx="292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4369B94-F953-4031-B73D-698F743A9507}" type="datetime'2''''''''''01''''''''''''''''5'''''''''''''''''''">
              <a:rPr lang="en-GB" altLang="en-US" sz="1000" smtClean="0">
                <a:cs typeface="Inter" panose="020B0604020202020204" charset="0"/>
              </a:rPr>
              <a:pPr marL="0" indent="0" algn="ctr">
                <a:spcBef>
                  <a:spcPct val="0"/>
                </a:spcBef>
                <a:spcAft>
                  <a:spcPct val="0"/>
                </a:spcAft>
                <a:buNone/>
              </a:pPr>
              <a:t>2015</a:t>
            </a:fld>
            <a:endParaRPr lang="en-GB" sz="1000">
              <a:cs typeface="Inter" panose="020B0604020202020204" charset="0"/>
            </a:endParaRPr>
          </a:p>
        </p:txBody>
      </p:sp>
      <p:sp>
        <p:nvSpPr>
          <p:cNvPr id="382" name="Text Placeholder 2">
            <a:extLst>
              <a:ext uri="{FF2B5EF4-FFF2-40B4-BE49-F238E27FC236}">
                <a16:creationId xmlns:a16="http://schemas.microsoft.com/office/drawing/2014/main" id="{57614A0C-7EEC-DB1E-A84C-DD19782C8EC2}"/>
              </a:ext>
            </a:extLst>
          </p:cNvPr>
          <p:cNvSpPr>
            <a:spLocks noGrp="1"/>
          </p:cNvSpPr>
          <p:nvPr>
            <p:custDataLst>
              <p:tags r:id="rId34"/>
            </p:custDataLst>
          </p:nvPr>
        </p:nvSpPr>
        <p:spPr bwMode="auto">
          <a:xfrm>
            <a:off x="9796463" y="5953126"/>
            <a:ext cx="292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7860D75-3B08-4334-AC4A-AC82E66AD06C}" type="datetime'''''''''''2''0''''''''''''''''''2''''''''''''''''''''''''0'''">
              <a:rPr lang="en-GB" altLang="en-US" sz="1000" smtClean="0">
                <a:cs typeface="Inter" panose="020B0604020202020204" charset="0"/>
              </a:rPr>
              <a:pPr marL="0" indent="0" algn="ctr">
                <a:spcBef>
                  <a:spcPct val="0"/>
                </a:spcBef>
                <a:spcAft>
                  <a:spcPct val="0"/>
                </a:spcAft>
                <a:buNone/>
              </a:pPr>
              <a:t>2020</a:t>
            </a:fld>
            <a:endParaRPr lang="en-GB" sz="1000">
              <a:cs typeface="Inter" panose="020B0604020202020204" charset="0"/>
            </a:endParaRPr>
          </a:p>
        </p:txBody>
      </p:sp>
      <p:sp>
        <p:nvSpPr>
          <p:cNvPr id="383" name="Text Placeholder 2">
            <a:extLst>
              <a:ext uri="{FF2B5EF4-FFF2-40B4-BE49-F238E27FC236}">
                <a16:creationId xmlns:a16="http://schemas.microsoft.com/office/drawing/2014/main" id="{FF7725E9-704E-8B3D-2885-815CDBA9D434}"/>
              </a:ext>
            </a:extLst>
          </p:cNvPr>
          <p:cNvSpPr>
            <a:spLocks noGrp="1"/>
          </p:cNvSpPr>
          <p:nvPr>
            <p:custDataLst>
              <p:tags r:id="rId35"/>
            </p:custDataLst>
          </p:nvPr>
        </p:nvSpPr>
        <p:spPr bwMode="auto">
          <a:xfrm>
            <a:off x="10437813" y="5953126"/>
            <a:ext cx="292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316AC19-E9C8-4E9F-A6A5-A59D2D6BF6CB}" type="datetime'''''''2''''''''''0''2''5'''''''''''''''''''''">
              <a:rPr lang="en-GB" altLang="en-US" sz="1000" smtClean="0">
                <a:cs typeface="Inter" panose="020B0604020202020204" charset="0"/>
              </a:rPr>
              <a:pPr marL="0" indent="0" algn="ctr">
                <a:spcBef>
                  <a:spcPct val="0"/>
                </a:spcBef>
                <a:spcAft>
                  <a:spcPct val="0"/>
                </a:spcAft>
                <a:buNone/>
              </a:pPr>
              <a:t>2025</a:t>
            </a:fld>
            <a:endParaRPr lang="en-GB" sz="1000">
              <a:cs typeface="Inter" panose="020B0604020202020204" charset="0"/>
            </a:endParaRPr>
          </a:p>
        </p:txBody>
      </p:sp>
      <p:sp>
        <p:nvSpPr>
          <p:cNvPr id="384" name="Text Placeholder 2">
            <a:extLst>
              <a:ext uri="{FF2B5EF4-FFF2-40B4-BE49-F238E27FC236}">
                <a16:creationId xmlns:a16="http://schemas.microsoft.com/office/drawing/2014/main" id="{A7B346BC-46B7-B515-68A2-81D70F50072B}"/>
              </a:ext>
            </a:extLst>
          </p:cNvPr>
          <p:cNvSpPr>
            <a:spLocks noGrp="1"/>
          </p:cNvSpPr>
          <p:nvPr>
            <p:custDataLst>
              <p:tags r:id="rId36"/>
            </p:custDataLst>
          </p:nvPr>
        </p:nvSpPr>
        <p:spPr bwMode="auto">
          <a:xfrm>
            <a:off x="11079163" y="5953126"/>
            <a:ext cx="292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B2BBAAA-C95B-4C12-83BC-93D0B9F34388}" type="datetime'2''''0''''''''''''''''3''''''''''''0'''''''''''''''''''''''">
              <a:rPr lang="en-GB" altLang="en-US" sz="1000" smtClean="0">
                <a:cs typeface="Inter" panose="020B0604020202020204" charset="0"/>
              </a:rPr>
              <a:pPr marL="0" indent="0" algn="ctr">
                <a:spcBef>
                  <a:spcPct val="0"/>
                </a:spcBef>
                <a:spcAft>
                  <a:spcPct val="0"/>
                </a:spcAft>
                <a:buNone/>
              </a:pPr>
              <a:t>2030</a:t>
            </a:fld>
            <a:endParaRPr lang="en-GB" sz="1000">
              <a:cs typeface="Inter" panose="020B0604020202020204" charset="0"/>
            </a:endParaRPr>
          </a:p>
        </p:txBody>
      </p:sp>
      <p:sp>
        <p:nvSpPr>
          <p:cNvPr id="97" name="Text Placeholder 2">
            <a:extLst>
              <a:ext uri="{FF2B5EF4-FFF2-40B4-BE49-F238E27FC236}">
                <a16:creationId xmlns:a16="http://schemas.microsoft.com/office/drawing/2014/main" id="{300F227C-30AD-960D-93D8-7DD0837714C5}"/>
              </a:ext>
            </a:extLst>
          </p:cNvPr>
          <p:cNvSpPr>
            <a:spLocks noGrp="1"/>
          </p:cNvSpPr>
          <p:nvPr>
            <p:custDataLst>
              <p:tags r:id="rId37"/>
            </p:custDataLst>
          </p:nvPr>
        </p:nvSpPr>
        <p:spPr bwMode="auto">
          <a:xfrm>
            <a:off x="11720513" y="5953126"/>
            <a:ext cx="292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87479FD-7881-4BF4-ADAE-C383DEB41C8D}" type="datetime'''''''2''''''''''''''''''''''0''''''''''''3''5'''">
              <a:rPr lang="en-GB" altLang="en-US" sz="1000" smtClean="0">
                <a:cs typeface="Inter" panose="020B0604020202020204" charset="0"/>
              </a:rPr>
              <a:pPr marL="0" indent="0" algn="ctr">
                <a:spcBef>
                  <a:spcPct val="0"/>
                </a:spcBef>
                <a:spcAft>
                  <a:spcPct val="0"/>
                </a:spcAft>
                <a:buNone/>
              </a:pPr>
              <a:t>2035</a:t>
            </a:fld>
            <a:endParaRPr lang="en-GB" sz="1000">
              <a:cs typeface="Inter" panose="020B0604020202020204" charset="0"/>
            </a:endParaRPr>
          </a:p>
        </p:txBody>
      </p:sp>
      <p:sp>
        <p:nvSpPr>
          <p:cNvPr id="474" name="Rectangle 473">
            <a:extLst>
              <a:ext uri="{FF2B5EF4-FFF2-40B4-BE49-F238E27FC236}">
                <a16:creationId xmlns:a16="http://schemas.microsoft.com/office/drawing/2014/main" id="{2FF8F943-DE49-C257-3401-1714B58A21F7}"/>
              </a:ext>
            </a:extLst>
          </p:cNvPr>
          <p:cNvSpPr/>
          <p:nvPr>
            <p:custDataLst>
              <p:tags r:id="rId38"/>
            </p:custDataLst>
          </p:nvPr>
        </p:nvSpPr>
        <p:spPr bwMode="auto">
          <a:xfrm>
            <a:off x="8648700" y="2619375"/>
            <a:ext cx="179388" cy="133350"/>
          </a:xfrm>
          <a:prstGeom prst="rect">
            <a:avLst/>
          </a:prstGeom>
          <a:solidFill>
            <a:schemeClr val="accent5"/>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1">
              <a:solidFill>
                <a:schemeClr val="bg1"/>
              </a:solidFill>
              <a:latin typeface="Century Gothic" panose="020B0502020202020204" pitchFamily="34" charset="0"/>
            </a:endParaRPr>
          </a:p>
        </p:txBody>
      </p:sp>
      <p:sp>
        <p:nvSpPr>
          <p:cNvPr id="475" name="Rectangle 474">
            <a:extLst>
              <a:ext uri="{FF2B5EF4-FFF2-40B4-BE49-F238E27FC236}">
                <a16:creationId xmlns:a16="http://schemas.microsoft.com/office/drawing/2014/main" id="{9997517E-9B3C-C392-B4F6-4DF6DBB80F8F}"/>
              </a:ext>
            </a:extLst>
          </p:cNvPr>
          <p:cNvSpPr/>
          <p:nvPr>
            <p:custDataLst>
              <p:tags r:id="rId39"/>
            </p:custDataLst>
          </p:nvPr>
        </p:nvSpPr>
        <p:spPr bwMode="auto">
          <a:xfrm>
            <a:off x="8648700" y="2814638"/>
            <a:ext cx="179388" cy="133350"/>
          </a:xfrm>
          <a:prstGeom prst="rect">
            <a:avLst/>
          </a:prstGeom>
          <a:solidFill>
            <a:srgbClr val="EA9FA4"/>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1">
              <a:solidFill>
                <a:schemeClr val="bg1"/>
              </a:solidFill>
              <a:latin typeface="Century Gothic" panose="020B0502020202020204" pitchFamily="34" charset="0"/>
            </a:endParaRPr>
          </a:p>
        </p:txBody>
      </p:sp>
      <p:sp>
        <p:nvSpPr>
          <p:cNvPr id="470" name="Text Placeholder 2">
            <a:extLst>
              <a:ext uri="{FF2B5EF4-FFF2-40B4-BE49-F238E27FC236}">
                <a16:creationId xmlns:a16="http://schemas.microsoft.com/office/drawing/2014/main" id="{8625BF2A-F0A4-5AE6-60D2-B8C89C98BFDC}"/>
              </a:ext>
            </a:extLst>
          </p:cNvPr>
          <p:cNvSpPr>
            <a:spLocks noGrp="1"/>
          </p:cNvSpPr>
          <p:nvPr>
            <p:custDataLst>
              <p:tags r:id="rId40"/>
            </p:custDataLst>
          </p:nvPr>
        </p:nvSpPr>
        <p:spPr bwMode="auto">
          <a:xfrm>
            <a:off x="8878888" y="2627314"/>
            <a:ext cx="546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76608F3D-84D9-49F8-BCEE-D475DE1C08CE}" type="datetime'''''Hist''ori''c''''''''''''''''''''''''''''''''a''''''''l'">
              <a:rPr lang="en-GB" altLang="en-US" sz="1000">
                <a:cs typeface="Inter" panose="020B0604020202020204" charset="0"/>
              </a:rPr>
              <a:pPr marL="0" indent="0">
                <a:spcBef>
                  <a:spcPct val="0"/>
                </a:spcBef>
                <a:spcAft>
                  <a:spcPct val="0"/>
                </a:spcAft>
                <a:buNone/>
              </a:pPr>
              <a:t>Historical</a:t>
            </a:fld>
            <a:endParaRPr lang="en-GB" sz="1000">
              <a:cs typeface="Inter" panose="020B0604020202020204" charset="0"/>
            </a:endParaRPr>
          </a:p>
        </p:txBody>
      </p:sp>
      <p:sp>
        <p:nvSpPr>
          <p:cNvPr id="472" name="Text Placeholder 2">
            <a:extLst>
              <a:ext uri="{FF2B5EF4-FFF2-40B4-BE49-F238E27FC236}">
                <a16:creationId xmlns:a16="http://schemas.microsoft.com/office/drawing/2014/main" id="{144CD912-80A7-F15C-9EF7-CC95AC501A45}"/>
              </a:ext>
            </a:extLst>
          </p:cNvPr>
          <p:cNvSpPr>
            <a:spLocks noGrp="1"/>
          </p:cNvSpPr>
          <p:nvPr>
            <p:custDataLst>
              <p:tags r:id="rId41"/>
            </p:custDataLst>
          </p:nvPr>
        </p:nvSpPr>
        <p:spPr bwMode="auto">
          <a:xfrm>
            <a:off x="8878888" y="2822576"/>
            <a:ext cx="5270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A2C6A89D-14B5-4EDA-850F-D01F4273EF40}" type="datetime'F''''''''''''o''''''''''''r''''eca''''''''''st'">
              <a:rPr lang="en-GB" altLang="en-US" sz="1000">
                <a:cs typeface="Inter" panose="020B0604020202020204" charset="0"/>
              </a:rPr>
              <a:pPr marL="0" indent="0">
                <a:spcBef>
                  <a:spcPct val="0"/>
                </a:spcBef>
                <a:spcAft>
                  <a:spcPct val="0"/>
                </a:spcAft>
                <a:buNone/>
              </a:pPr>
              <a:t>Forecast</a:t>
            </a:fld>
            <a:endParaRPr lang="en-GB" sz="1000">
              <a:cs typeface="Inter" panose="020B0604020202020204" charset="0"/>
            </a:endParaRPr>
          </a:p>
        </p:txBody>
      </p:sp>
      <p:sp>
        <p:nvSpPr>
          <p:cNvPr id="40" name="TextBox 475">
            <a:extLst>
              <a:ext uri="{FF2B5EF4-FFF2-40B4-BE49-F238E27FC236}">
                <a16:creationId xmlns:a16="http://schemas.microsoft.com/office/drawing/2014/main" id="{0E4A3A87-9E95-E136-7C68-F16CE107F14C}"/>
              </a:ext>
            </a:extLst>
          </p:cNvPr>
          <p:cNvSpPr txBox="1">
            <a:spLocks/>
          </p:cNvSpPr>
          <p:nvPr/>
        </p:nvSpPr>
        <p:spPr>
          <a:xfrm>
            <a:off x="685859" y="1409047"/>
            <a:ext cx="4410015" cy="308975"/>
          </a:xfrm>
          <a:prstGeom prst="rect">
            <a:avLst/>
          </a:prstGeom>
        </p:spPr>
        <p:txBody>
          <a:bodyPr vert="horz" lIns="72000" tIns="72000" rIns="72000" bIns="72000" rtlCol="0">
            <a:normAutofit fontScale="92500"/>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a:t>Average deployment for 2030-2035 in IEA Net Zero Scenario</a:t>
            </a:r>
          </a:p>
        </p:txBody>
      </p:sp>
      <p:cxnSp>
        <p:nvCxnSpPr>
          <p:cNvPr id="42" name="Straight Connector 41">
            <a:extLst>
              <a:ext uri="{FF2B5EF4-FFF2-40B4-BE49-F238E27FC236}">
                <a16:creationId xmlns:a16="http://schemas.microsoft.com/office/drawing/2014/main" id="{C84B1766-0A1E-DC0F-9220-EB0C6ED13D1B}"/>
              </a:ext>
            </a:extLst>
          </p:cNvPr>
          <p:cNvCxnSpPr>
            <a:cxnSpLocks/>
          </p:cNvCxnSpPr>
          <p:nvPr/>
        </p:nvCxnSpPr>
        <p:spPr>
          <a:xfrm>
            <a:off x="351631" y="1677206"/>
            <a:ext cx="322263" cy="0"/>
          </a:xfrm>
          <a:prstGeom prst="line">
            <a:avLst/>
          </a:prstGeom>
          <a:ln w="1905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8509FD88-BCAF-C5ED-0B74-D328BE352D87}"/>
              </a:ext>
            </a:extLst>
          </p:cNvPr>
          <p:cNvCxnSpPr>
            <a:cxnSpLocks/>
          </p:cNvCxnSpPr>
          <p:nvPr/>
        </p:nvCxnSpPr>
        <p:spPr>
          <a:xfrm>
            <a:off x="3314965" y="3066263"/>
            <a:ext cx="629973" cy="0"/>
          </a:xfrm>
          <a:prstGeom prst="line">
            <a:avLst/>
          </a:prstGeom>
          <a:ln w="190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450" name="TextBox 476">
            <a:extLst>
              <a:ext uri="{FF2B5EF4-FFF2-40B4-BE49-F238E27FC236}">
                <a16:creationId xmlns:a16="http://schemas.microsoft.com/office/drawing/2014/main" id="{D4C6265D-836A-2F19-B844-797520A0143E}"/>
              </a:ext>
            </a:extLst>
          </p:cNvPr>
          <p:cNvSpPr txBox="1">
            <a:spLocks/>
          </p:cNvSpPr>
          <p:nvPr/>
        </p:nvSpPr>
        <p:spPr>
          <a:xfrm>
            <a:off x="11363159" y="2566278"/>
            <a:ext cx="417513" cy="234756"/>
          </a:xfrm>
          <a:prstGeom prst="rect">
            <a:avLst/>
          </a:prstGeom>
        </p:spPr>
        <p:txBody>
          <a:bodyPr vert="horz" lIns="72000" tIns="72000" rIns="72000" bIns="7200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200" b="1" i="1"/>
              <a:t>85</a:t>
            </a:r>
          </a:p>
        </p:txBody>
      </p:sp>
      <p:sp>
        <p:nvSpPr>
          <p:cNvPr id="5" name="Rectangle 4">
            <a:extLst>
              <a:ext uri="{FF2B5EF4-FFF2-40B4-BE49-F238E27FC236}">
                <a16:creationId xmlns:a16="http://schemas.microsoft.com/office/drawing/2014/main" id="{69FA8B19-9D43-CAC4-035A-B8722B9CF516}"/>
              </a:ext>
            </a:extLst>
          </p:cNvPr>
          <p:cNvSpPr/>
          <p:nvPr/>
        </p:nvSpPr>
        <p:spPr>
          <a:xfrm>
            <a:off x="203200" y="6248400"/>
            <a:ext cx="1259840" cy="589385"/>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US" sz="1400">
              <a:ln>
                <a:noFill/>
              </a:ln>
              <a:solidFill>
                <a:schemeClr val="bg1"/>
              </a:solidFill>
              <a:latin typeface="Century Gothic" panose="020B0502020202020204" pitchFamily="34" charset="0"/>
            </a:endParaRPr>
          </a:p>
        </p:txBody>
      </p:sp>
      <p:sp>
        <p:nvSpPr>
          <p:cNvPr id="4" name="Title 3">
            <a:extLst>
              <a:ext uri="{FF2B5EF4-FFF2-40B4-BE49-F238E27FC236}">
                <a16:creationId xmlns:a16="http://schemas.microsoft.com/office/drawing/2014/main" id="{CB54FB0B-12A0-9E9D-D60F-08CC91B8C5FA}"/>
              </a:ext>
            </a:extLst>
          </p:cNvPr>
          <p:cNvSpPr>
            <a:spLocks noGrp="1"/>
          </p:cNvSpPr>
          <p:nvPr>
            <p:ph type="title"/>
          </p:nvPr>
        </p:nvSpPr>
        <p:spPr>
          <a:xfrm>
            <a:off x="366779" y="179388"/>
            <a:ext cx="11446626" cy="708715"/>
          </a:xfrm>
        </p:spPr>
        <p:txBody>
          <a:bodyPr vert="horz"/>
          <a:lstStyle/>
          <a:p>
            <a:r>
              <a:rPr lang="en-GB" sz="1800"/>
              <a:t>… resulting in their rapid deployment - these technologies have now likely reached tipping points in most parts of the world, making their accelerated deployment inevitable</a:t>
            </a:r>
          </a:p>
        </p:txBody>
      </p:sp>
      <p:sp>
        <p:nvSpPr>
          <p:cNvPr id="315" name="Footer Placeholder 3">
            <a:extLst>
              <a:ext uri="{FF2B5EF4-FFF2-40B4-BE49-F238E27FC236}">
                <a16:creationId xmlns:a16="http://schemas.microsoft.com/office/drawing/2014/main" id="{8EC44FFE-9AA0-979B-7E92-4558B04923E5}"/>
              </a:ext>
            </a:extLst>
          </p:cNvPr>
          <p:cNvSpPr txBox="1">
            <a:spLocks/>
          </p:cNvSpPr>
          <p:nvPr/>
        </p:nvSpPr>
        <p:spPr>
          <a:xfrm>
            <a:off x="346142" y="6184549"/>
            <a:ext cx="11446626" cy="424375"/>
          </a:xfrm>
          <a:prstGeom prst="rect">
            <a:avLst/>
          </a:prstGeom>
        </p:spPr>
        <p:txBody>
          <a:bodyPr/>
          <a:lstStyle>
            <a:defPPr>
              <a:defRPr lang="de-DE"/>
            </a:defPPr>
            <a:lvl1pPr marL="0" algn="l" defTabSz="914400" rtl="0" eaLnBrk="1" latinLnBrk="0" hangingPunct="1">
              <a:defRPr sz="900" kern="1200">
                <a:solidFill>
                  <a:schemeClr val="tx1"/>
                </a:solidFill>
                <a:latin typeface="Century Gothic" panose="020B0502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Note: Data for electric vehicles includes both battery electric and plug-in hybrid passenger vehicles. Values are rounded.</a:t>
            </a:r>
          </a:p>
          <a:p>
            <a:r>
              <a:rPr lang="en-US"/>
              <a:t>Source: BNEF (2024), </a:t>
            </a:r>
            <a:r>
              <a:rPr lang="en-US" i="1"/>
              <a:t>2Q Global PV Market Outlook.</a:t>
            </a:r>
            <a:r>
              <a:rPr lang="en-US"/>
              <a:t> BNEF (2024), </a:t>
            </a:r>
            <a:r>
              <a:rPr lang="en-US" i="1"/>
              <a:t>1H Global Wind Market Outlook.</a:t>
            </a:r>
            <a:r>
              <a:rPr lang="en-US"/>
              <a:t> BNEF (2023), </a:t>
            </a:r>
            <a:r>
              <a:rPr lang="en-US" i="1"/>
              <a:t>Long-Term Electric Vehicle Outlook. </a:t>
            </a:r>
            <a:r>
              <a:rPr lang="en-US"/>
              <a:t>IEA (2023), </a:t>
            </a:r>
            <a:r>
              <a:rPr lang="en-US" i="1"/>
              <a:t>World Energy Outlook</a:t>
            </a:r>
            <a:r>
              <a:rPr lang="en-US"/>
              <a:t>. IEA (2024), </a:t>
            </a:r>
            <a:r>
              <a:rPr lang="en-US" i="1"/>
              <a:t>Global EV Outlook</a:t>
            </a:r>
            <a:r>
              <a:rPr lang="en-US"/>
              <a:t>.</a:t>
            </a:r>
            <a:endParaRPr lang="en-US" i="1"/>
          </a:p>
        </p:txBody>
      </p:sp>
      <p:cxnSp>
        <p:nvCxnSpPr>
          <p:cNvPr id="80" name="Straight Connector 79">
            <a:extLst>
              <a:ext uri="{FF2B5EF4-FFF2-40B4-BE49-F238E27FC236}">
                <a16:creationId xmlns:a16="http://schemas.microsoft.com/office/drawing/2014/main" id="{736F1012-FFDB-69C4-81BD-0B284F36B18B}"/>
              </a:ext>
            </a:extLst>
          </p:cNvPr>
          <p:cNvCxnSpPr>
            <a:cxnSpLocks/>
          </p:cNvCxnSpPr>
          <p:nvPr/>
        </p:nvCxnSpPr>
        <p:spPr>
          <a:xfrm>
            <a:off x="7289599" y="4872838"/>
            <a:ext cx="629973" cy="0"/>
          </a:xfrm>
          <a:prstGeom prst="line">
            <a:avLst/>
          </a:prstGeom>
          <a:ln w="1905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E7BC4764-90FD-B832-DFCE-30B210C397A8}"/>
              </a:ext>
            </a:extLst>
          </p:cNvPr>
          <p:cNvCxnSpPr>
            <a:cxnSpLocks/>
          </p:cNvCxnSpPr>
          <p:nvPr/>
        </p:nvCxnSpPr>
        <p:spPr>
          <a:xfrm>
            <a:off x="11256929" y="2807403"/>
            <a:ext cx="629973" cy="0"/>
          </a:xfrm>
          <a:prstGeom prst="line">
            <a:avLst/>
          </a:prstGeom>
          <a:ln w="190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23" name="TextBox 476">
            <a:extLst>
              <a:ext uri="{FF2B5EF4-FFF2-40B4-BE49-F238E27FC236}">
                <a16:creationId xmlns:a16="http://schemas.microsoft.com/office/drawing/2014/main" id="{6F735148-E804-5428-B94D-287BCD9E9C63}"/>
              </a:ext>
            </a:extLst>
          </p:cNvPr>
          <p:cNvSpPr txBox="1">
            <a:spLocks/>
          </p:cNvSpPr>
          <p:nvPr/>
        </p:nvSpPr>
        <p:spPr>
          <a:xfrm>
            <a:off x="6885919" y="4755460"/>
            <a:ext cx="417513" cy="234756"/>
          </a:xfrm>
          <a:prstGeom prst="rect">
            <a:avLst/>
          </a:prstGeom>
        </p:spPr>
        <p:txBody>
          <a:bodyPr vert="horz" lIns="72000" tIns="72000" rIns="72000" bIns="7200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200" b="1" i="1"/>
              <a:t>315</a:t>
            </a:r>
          </a:p>
        </p:txBody>
      </p:sp>
      <p:sp>
        <p:nvSpPr>
          <p:cNvPr id="124" name="TextBox 476">
            <a:extLst>
              <a:ext uri="{FF2B5EF4-FFF2-40B4-BE49-F238E27FC236}">
                <a16:creationId xmlns:a16="http://schemas.microsoft.com/office/drawing/2014/main" id="{C4A0E6F4-670B-413B-DA75-1DC7DF0BEACA}"/>
              </a:ext>
            </a:extLst>
          </p:cNvPr>
          <p:cNvSpPr txBox="1">
            <a:spLocks/>
          </p:cNvSpPr>
          <p:nvPr/>
        </p:nvSpPr>
        <p:spPr>
          <a:xfrm>
            <a:off x="3931443" y="2944655"/>
            <a:ext cx="417513" cy="234756"/>
          </a:xfrm>
          <a:prstGeom prst="rect">
            <a:avLst/>
          </a:prstGeom>
        </p:spPr>
        <p:txBody>
          <a:bodyPr vert="horz" lIns="72000" tIns="72000" rIns="72000" bIns="7200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200" b="1" i="1"/>
              <a:t>865</a:t>
            </a:r>
          </a:p>
        </p:txBody>
      </p:sp>
      <p:sp>
        <p:nvSpPr>
          <p:cNvPr id="132" name="TextBox 476">
            <a:extLst>
              <a:ext uri="{FF2B5EF4-FFF2-40B4-BE49-F238E27FC236}">
                <a16:creationId xmlns:a16="http://schemas.microsoft.com/office/drawing/2014/main" id="{BF138C2E-AA15-2756-38D0-D7D20C892043}"/>
              </a:ext>
            </a:extLst>
          </p:cNvPr>
          <p:cNvSpPr txBox="1">
            <a:spLocks/>
          </p:cNvSpPr>
          <p:nvPr/>
        </p:nvSpPr>
        <p:spPr>
          <a:xfrm>
            <a:off x="304006" y="1447030"/>
            <a:ext cx="417513" cy="234756"/>
          </a:xfrm>
          <a:prstGeom prst="rect">
            <a:avLst/>
          </a:prstGeom>
        </p:spPr>
        <p:txBody>
          <a:bodyPr vert="horz" lIns="72000" tIns="72000" rIns="72000" bIns="7200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200" b="1" i="1"/>
              <a:t>X</a:t>
            </a:r>
          </a:p>
        </p:txBody>
      </p:sp>
      <p:grpSp>
        <p:nvGrpSpPr>
          <p:cNvPr id="18" name="Group 17">
            <a:extLst>
              <a:ext uri="{FF2B5EF4-FFF2-40B4-BE49-F238E27FC236}">
                <a16:creationId xmlns:a16="http://schemas.microsoft.com/office/drawing/2014/main" id="{09ACB30C-B4FD-F3C8-74D7-3141ADDCFE9B}"/>
              </a:ext>
            </a:extLst>
          </p:cNvPr>
          <p:cNvGrpSpPr/>
          <p:nvPr/>
        </p:nvGrpSpPr>
        <p:grpSpPr>
          <a:xfrm>
            <a:off x="11556134" y="279119"/>
            <a:ext cx="506963" cy="506963"/>
            <a:chOff x="2106774" y="4511186"/>
            <a:chExt cx="976789" cy="976789"/>
          </a:xfrm>
        </p:grpSpPr>
        <p:sp>
          <p:nvSpPr>
            <p:cNvPr id="20" name="Oval 19">
              <a:extLst>
                <a:ext uri="{FF2B5EF4-FFF2-40B4-BE49-F238E27FC236}">
                  <a16:creationId xmlns:a16="http://schemas.microsoft.com/office/drawing/2014/main" id="{518A0BA1-8D14-829C-8A5D-0D011F2922E4}"/>
                </a:ext>
              </a:extLst>
            </p:cNvPr>
            <p:cNvSpPr/>
            <p:nvPr/>
          </p:nvSpPr>
          <p:spPr>
            <a:xfrm>
              <a:off x="2106774" y="4511186"/>
              <a:ext cx="976789" cy="976789"/>
            </a:xfrm>
            <a:prstGeom prst="ellipse">
              <a:avLst/>
            </a:prstGeom>
            <a:solidFill>
              <a:schemeClr val="bg1">
                <a:lumMod val="95000"/>
              </a:schemeClr>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a:ln>
                  <a:noFill/>
                </a:ln>
                <a:solidFill>
                  <a:schemeClr val="bg1"/>
                </a:solidFill>
                <a:latin typeface="Century Gothic" panose="020B0502020202020204" pitchFamily="34" charset="0"/>
              </a:endParaRPr>
            </a:p>
          </p:txBody>
        </p:sp>
        <p:grpSp>
          <p:nvGrpSpPr>
            <p:cNvPr id="21" name="Group 20">
              <a:extLst>
                <a:ext uri="{FF2B5EF4-FFF2-40B4-BE49-F238E27FC236}">
                  <a16:creationId xmlns:a16="http://schemas.microsoft.com/office/drawing/2014/main" id="{84197EA4-782A-3677-8ED4-566A3D703BBA}"/>
                </a:ext>
              </a:extLst>
            </p:cNvPr>
            <p:cNvGrpSpPr/>
            <p:nvPr/>
          </p:nvGrpSpPr>
          <p:grpSpPr>
            <a:xfrm>
              <a:off x="2320848" y="4725260"/>
              <a:ext cx="548640" cy="548640"/>
              <a:chOff x="566978" y="542842"/>
              <a:chExt cx="904113" cy="914891"/>
            </a:xfrm>
          </p:grpSpPr>
          <p:grpSp>
            <p:nvGrpSpPr>
              <p:cNvPr id="22" name="object 60">
                <a:extLst>
                  <a:ext uri="{FF2B5EF4-FFF2-40B4-BE49-F238E27FC236}">
                    <a16:creationId xmlns:a16="http://schemas.microsoft.com/office/drawing/2014/main" id="{EF6CC9B8-96FB-959C-5A67-4B3FECFD91DE}"/>
                  </a:ext>
                </a:extLst>
              </p:cNvPr>
              <p:cNvGrpSpPr/>
              <p:nvPr/>
            </p:nvGrpSpPr>
            <p:grpSpPr>
              <a:xfrm>
                <a:off x="854377" y="1000533"/>
                <a:ext cx="569595" cy="457200"/>
                <a:chOff x="854377" y="1000533"/>
                <a:chExt cx="569595" cy="457200"/>
              </a:xfrm>
            </p:grpSpPr>
            <p:pic>
              <p:nvPicPr>
                <p:cNvPr id="49" name="object 61">
                  <a:extLst>
                    <a:ext uri="{FF2B5EF4-FFF2-40B4-BE49-F238E27FC236}">
                      <a16:creationId xmlns:a16="http://schemas.microsoft.com/office/drawing/2014/main" id="{CE6AF46B-9864-D7E2-7BD3-C670BB3585A3}"/>
                    </a:ext>
                  </a:extLst>
                </p:cNvPr>
                <p:cNvPicPr/>
                <p:nvPr/>
              </p:nvPicPr>
              <p:blipFill>
                <a:blip r:embed="rId48" cstate="print"/>
                <a:stretch>
                  <a:fillRect/>
                </a:stretch>
              </p:blipFill>
              <p:spPr>
                <a:xfrm>
                  <a:off x="862939" y="1007123"/>
                  <a:ext cx="554774" cy="441959"/>
                </a:xfrm>
                <a:prstGeom prst="rect">
                  <a:avLst/>
                </a:prstGeom>
              </p:spPr>
            </p:pic>
            <p:sp>
              <p:nvSpPr>
                <p:cNvPr id="50" name="object 62">
                  <a:extLst>
                    <a:ext uri="{FF2B5EF4-FFF2-40B4-BE49-F238E27FC236}">
                      <a16:creationId xmlns:a16="http://schemas.microsoft.com/office/drawing/2014/main" id="{A98A9046-7A02-047F-CC87-9270DDC915D3}"/>
                    </a:ext>
                  </a:extLst>
                </p:cNvPr>
                <p:cNvSpPr/>
                <p:nvPr/>
              </p:nvSpPr>
              <p:spPr>
                <a:xfrm>
                  <a:off x="854377" y="1000533"/>
                  <a:ext cx="569595" cy="457200"/>
                </a:xfrm>
                <a:custGeom>
                  <a:avLst/>
                  <a:gdLst/>
                  <a:ahLst/>
                  <a:cxnLst/>
                  <a:rect l="l" t="t" r="r" b="b"/>
                  <a:pathLst>
                    <a:path w="569594" h="457200">
                      <a:moveTo>
                        <a:pt x="282549" y="358140"/>
                      </a:moveTo>
                      <a:lnTo>
                        <a:pt x="251840" y="358140"/>
                      </a:lnTo>
                      <a:lnTo>
                        <a:pt x="251790" y="363220"/>
                      </a:lnTo>
                      <a:lnTo>
                        <a:pt x="165468" y="378460"/>
                      </a:lnTo>
                      <a:lnTo>
                        <a:pt x="139192" y="383540"/>
                      </a:lnTo>
                      <a:lnTo>
                        <a:pt x="128092" y="386080"/>
                      </a:lnTo>
                      <a:lnTo>
                        <a:pt x="126314" y="393700"/>
                      </a:lnTo>
                      <a:lnTo>
                        <a:pt x="126085" y="397510"/>
                      </a:lnTo>
                      <a:lnTo>
                        <a:pt x="125463" y="405130"/>
                      </a:lnTo>
                      <a:lnTo>
                        <a:pt x="129793" y="411480"/>
                      </a:lnTo>
                      <a:lnTo>
                        <a:pt x="137706" y="412750"/>
                      </a:lnTo>
                      <a:lnTo>
                        <a:pt x="144775" y="415290"/>
                      </a:lnTo>
                      <a:lnTo>
                        <a:pt x="158960" y="419100"/>
                      </a:lnTo>
                      <a:lnTo>
                        <a:pt x="214667" y="435610"/>
                      </a:lnTo>
                      <a:lnTo>
                        <a:pt x="240744" y="441960"/>
                      </a:lnTo>
                      <a:lnTo>
                        <a:pt x="266826" y="449580"/>
                      </a:lnTo>
                      <a:lnTo>
                        <a:pt x="295402" y="457200"/>
                      </a:lnTo>
                      <a:lnTo>
                        <a:pt x="305015" y="457200"/>
                      </a:lnTo>
                      <a:lnTo>
                        <a:pt x="403618" y="427990"/>
                      </a:lnTo>
                      <a:lnTo>
                        <a:pt x="299605" y="427990"/>
                      </a:lnTo>
                      <a:lnTo>
                        <a:pt x="277368" y="421640"/>
                      </a:lnTo>
                      <a:lnTo>
                        <a:pt x="283540" y="419100"/>
                      </a:lnTo>
                      <a:lnTo>
                        <a:pt x="294096" y="414020"/>
                      </a:lnTo>
                      <a:lnTo>
                        <a:pt x="251040" y="414020"/>
                      </a:lnTo>
                      <a:lnTo>
                        <a:pt x="208064" y="401320"/>
                      </a:lnTo>
                      <a:lnTo>
                        <a:pt x="250786" y="393700"/>
                      </a:lnTo>
                      <a:lnTo>
                        <a:pt x="442100" y="393700"/>
                      </a:lnTo>
                      <a:lnTo>
                        <a:pt x="441998" y="392430"/>
                      </a:lnTo>
                      <a:lnTo>
                        <a:pt x="410777" y="386080"/>
                      </a:lnTo>
                      <a:lnTo>
                        <a:pt x="281571" y="386080"/>
                      </a:lnTo>
                      <a:lnTo>
                        <a:pt x="282549" y="358140"/>
                      </a:lnTo>
                      <a:close/>
                    </a:path>
                    <a:path w="569594" h="457200">
                      <a:moveTo>
                        <a:pt x="442407" y="397510"/>
                      </a:moveTo>
                      <a:lnTo>
                        <a:pt x="317601" y="397510"/>
                      </a:lnTo>
                      <a:lnTo>
                        <a:pt x="366585" y="407670"/>
                      </a:lnTo>
                      <a:lnTo>
                        <a:pt x="317390" y="422910"/>
                      </a:lnTo>
                      <a:lnTo>
                        <a:pt x="300990" y="426720"/>
                      </a:lnTo>
                      <a:lnTo>
                        <a:pt x="300761" y="427990"/>
                      </a:lnTo>
                      <a:lnTo>
                        <a:pt x="403618" y="427990"/>
                      </a:lnTo>
                      <a:lnTo>
                        <a:pt x="429856" y="420370"/>
                      </a:lnTo>
                      <a:lnTo>
                        <a:pt x="439153" y="416560"/>
                      </a:lnTo>
                      <a:lnTo>
                        <a:pt x="443534" y="411480"/>
                      </a:lnTo>
                      <a:lnTo>
                        <a:pt x="442407" y="397510"/>
                      </a:lnTo>
                      <a:close/>
                    </a:path>
                    <a:path w="569594" h="457200">
                      <a:moveTo>
                        <a:pt x="442100" y="393700"/>
                      </a:moveTo>
                      <a:lnTo>
                        <a:pt x="250786" y="393700"/>
                      </a:lnTo>
                      <a:lnTo>
                        <a:pt x="250363" y="405130"/>
                      </a:lnTo>
                      <a:lnTo>
                        <a:pt x="250240" y="408940"/>
                      </a:lnTo>
                      <a:lnTo>
                        <a:pt x="250469" y="411480"/>
                      </a:lnTo>
                      <a:lnTo>
                        <a:pt x="251040" y="414020"/>
                      </a:lnTo>
                      <a:lnTo>
                        <a:pt x="294096" y="414020"/>
                      </a:lnTo>
                      <a:lnTo>
                        <a:pt x="296735" y="412750"/>
                      </a:lnTo>
                      <a:lnTo>
                        <a:pt x="310908" y="407670"/>
                      </a:lnTo>
                      <a:lnTo>
                        <a:pt x="315645" y="403860"/>
                      </a:lnTo>
                      <a:lnTo>
                        <a:pt x="317601" y="397510"/>
                      </a:lnTo>
                      <a:lnTo>
                        <a:pt x="442407" y="397510"/>
                      </a:lnTo>
                      <a:lnTo>
                        <a:pt x="442100" y="393700"/>
                      </a:lnTo>
                      <a:close/>
                    </a:path>
                    <a:path w="569594" h="457200">
                      <a:moveTo>
                        <a:pt x="318663" y="351790"/>
                      </a:moveTo>
                      <a:lnTo>
                        <a:pt x="287985" y="351790"/>
                      </a:lnTo>
                      <a:lnTo>
                        <a:pt x="287921" y="383540"/>
                      </a:lnTo>
                      <a:lnTo>
                        <a:pt x="285838" y="384810"/>
                      </a:lnTo>
                      <a:lnTo>
                        <a:pt x="281571" y="386080"/>
                      </a:lnTo>
                      <a:lnTo>
                        <a:pt x="410777" y="386080"/>
                      </a:lnTo>
                      <a:lnTo>
                        <a:pt x="318668" y="367030"/>
                      </a:lnTo>
                      <a:lnTo>
                        <a:pt x="318663" y="351790"/>
                      </a:lnTo>
                      <a:close/>
                    </a:path>
                    <a:path w="569594" h="457200">
                      <a:moveTo>
                        <a:pt x="22059" y="0"/>
                      </a:moveTo>
                      <a:lnTo>
                        <a:pt x="15633" y="0"/>
                      </a:lnTo>
                      <a:lnTo>
                        <a:pt x="13766" y="1270"/>
                      </a:lnTo>
                      <a:lnTo>
                        <a:pt x="5359" y="2540"/>
                      </a:lnTo>
                      <a:lnTo>
                        <a:pt x="2870" y="7620"/>
                      </a:lnTo>
                      <a:lnTo>
                        <a:pt x="0" y="12700"/>
                      </a:lnTo>
                      <a:lnTo>
                        <a:pt x="1193" y="20320"/>
                      </a:lnTo>
                      <a:lnTo>
                        <a:pt x="4038" y="24130"/>
                      </a:lnTo>
                      <a:lnTo>
                        <a:pt x="9375" y="33020"/>
                      </a:lnTo>
                      <a:lnTo>
                        <a:pt x="14795" y="40640"/>
                      </a:lnTo>
                      <a:lnTo>
                        <a:pt x="25781" y="55880"/>
                      </a:lnTo>
                      <a:lnTo>
                        <a:pt x="201154" y="302260"/>
                      </a:lnTo>
                      <a:lnTo>
                        <a:pt x="234772" y="350520"/>
                      </a:lnTo>
                      <a:lnTo>
                        <a:pt x="241376" y="359410"/>
                      </a:lnTo>
                      <a:lnTo>
                        <a:pt x="251840" y="358140"/>
                      </a:lnTo>
                      <a:lnTo>
                        <a:pt x="282549" y="358140"/>
                      </a:lnTo>
                      <a:lnTo>
                        <a:pt x="282727" y="353060"/>
                      </a:lnTo>
                      <a:lnTo>
                        <a:pt x="287985" y="351790"/>
                      </a:lnTo>
                      <a:lnTo>
                        <a:pt x="318663" y="351790"/>
                      </a:lnTo>
                      <a:lnTo>
                        <a:pt x="318744" y="346710"/>
                      </a:lnTo>
                      <a:lnTo>
                        <a:pt x="440188" y="326390"/>
                      </a:lnTo>
                      <a:lnTo>
                        <a:pt x="255460" y="326390"/>
                      </a:lnTo>
                      <a:lnTo>
                        <a:pt x="248557" y="317500"/>
                      </a:lnTo>
                      <a:lnTo>
                        <a:pt x="241687" y="307340"/>
                      </a:lnTo>
                      <a:lnTo>
                        <a:pt x="227596" y="287020"/>
                      </a:lnTo>
                      <a:lnTo>
                        <a:pt x="294313" y="279400"/>
                      </a:lnTo>
                      <a:lnTo>
                        <a:pt x="315912" y="275590"/>
                      </a:lnTo>
                      <a:lnTo>
                        <a:pt x="355092" y="275590"/>
                      </a:lnTo>
                      <a:lnTo>
                        <a:pt x="351967" y="271780"/>
                      </a:lnTo>
                      <a:lnTo>
                        <a:pt x="420370" y="264160"/>
                      </a:lnTo>
                      <a:lnTo>
                        <a:pt x="463261" y="264160"/>
                      </a:lnTo>
                      <a:lnTo>
                        <a:pt x="459401" y="260350"/>
                      </a:lnTo>
                      <a:lnTo>
                        <a:pt x="207797" y="260350"/>
                      </a:lnTo>
                      <a:lnTo>
                        <a:pt x="202255" y="251460"/>
                      </a:lnTo>
                      <a:lnTo>
                        <a:pt x="191095" y="236220"/>
                      </a:lnTo>
                      <a:lnTo>
                        <a:pt x="169138" y="204470"/>
                      </a:lnTo>
                      <a:lnTo>
                        <a:pt x="174561" y="204470"/>
                      </a:lnTo>
                      <a:lnTo>
                        <a:pt x="214275" y="201930"/>
                      </a:lnTo>
                      <a:lnTo>
                        <a:pt x="234245" y="201930"/>
                      </a:lnTo>
                      <a:lnTo>
                        <a:pt x="254342" y="200660"/>
                      </a:lnTo>
                      <a:lnTo>
                        <a:pt x="293114" y="200660"/>
                      </a:lnTo>
                      <a:lnTo>
                        <a:pt x="291007" y="198120"/>
                      </a:lnTo>
                      <a:lnTo>
                        <a:pt x="323654" y="195580"/>
                      </a:lnTo>
                      <a:lnTo>
                        <a:pt x="339162" y="195580"/>
                      </a:lnTo>
                      <a:lnTo>
                        <a:pt x="354711" y="194310"/>
                      </a:lnTo>
                      <a:lnTo>
                        <a:pt x="396064" y="194310"/>
                      </a:lnTo>
                      <a:lnTo>
                        <a:pt x="393649" y="191770"/>
                      </a:lnTo>
                      <a:lnTo>
                        <a:pt x="400418" y="191770"/>
                      </a:lnTo>
                      <a:lnTo>
                        <a:pt x="407390" y="190500"/>
                      </a:lnTo>
                      <a:lnTo>
                        <a:pt x="423875" y="187960"/>
                      </a:lnTo>
                      <a:lnTo>
                        <a:pt x="467627" y="187960"/>
                      </a:lnTo>
                      <a:lnTo>
                        <a:pt x="455735" y="176530"/>
                      </a:lnTo>
                      <a:lnTo>
                        <a:pt x="148551" y="176530"/>
                      </a:lnTo>
                      <a:lnTo>
                        <a:pt x="140137" y="163830"/>
                      </a:lnTo>
                      <a:lnTo>
                        <a:pt x="131732" y="152400"/>
                      </a:lnTo>
                      <a:lnTo>
                        <a:pt x="114807" y="128270"/>
                      </a:lnTo>
                      <a:lnTo>
                        <a:pt x="405631" y="128270"/>
                      </a:lnTo>
                      <a:lnTo>
                        <a:pt x="376668" y="100330"/>
                      </a:lnTo>
                      <a:lnTo>
                        <a:pt x="306463" y="100330"/>
                      </a:lnTo>
                      <a:lnTo>
                        <a:pt x="306095" y="99060"/>
                      </a:lnTo>
                      <a:lnTo>
                        <a:pt x="210489" y="99060"/>
                      </a:lnTo>
                      <a:lnTo>
                        <a:pt x="209413" y="97790"/>
                      </a:lnTo>
                      <a:lnTo>
                        <a:pt x="92506" y="97790"/>
                      </a:lnTo>
                      <a:lnTo>
                        <a:pt x="83223" y="83820"/>
                      </a:lnTo>
                      <a:lnTo>
                        <a:pt x="64590" y="58420"/>
                      </a:lnTo>
                      <a:lnTo>
                        <a:pt x="49021" y="35560"/>
                      </a:lnTo>
                      <a:lnTo>
                        <a:pt x="227866" y="35560"/>
                      </a:lnTo>
                      <a:lnTo>
                        <a:pt x="22059" y="0"/>
                      </a:lnTo>
                      <a:close/>
                    </a:path>
                    <a:path w="569594" h="457200">
                      <a:moveTo>
                        <a:pt x="355092" y="275590"/>
                      </a:moveTo>
                      <a:lnTo>
                        <a:pt x="315912" y="275590"/>
                      </a:lnTo>
                      <a:lnTo>
                        <a:pt x="319023" y="279400"/>
                      </a:lnTo>
                      <a:lnTo>
                        <a:pt x="324840" y="287020"/>
                      </a:lnTo>
                      <a:lnTo>
                        <a:pt x="345046" y="311150"/>
                      </a:lnTo>
                      <a:lnTo>
                        <a:pt x="282378" y="322580"/>
                      </a:lnTo>
                      <a:lnTo>
                        <a:pt x="268889" y="323850"/>
                      </a:lnTo>
                      <a:lnTo>
                        <a:pt x="255460" y="326390"/>
                      </a:lnTo>
                      <a:lnTo>
                        <a:pt x="440188" y="326390"/>
                      </a:lnTo>
                      <a:lnTo>
                        <a:pt x="552272" y="307340"/>
                      </a:lnTo>
                      <a:lnTo>
                        <a:pt x="554393" y="306070"/>
                      </a:lnTo>
                      <a:lnTo>
                        <a:pt x="562190" y="304800"/>
                      </a:lnTo>
                      <a:lnTo>
                        <a:pt x="379564" y="304800"/>
                      </a:lnTo>
                      <a:lnTo>
                        <a:pt x="374697" y="299720"/>
                      </a:lnTo>
                      <a:lnTo>
                        <a:pt x="369874" y="293370"/>
                      </a:lnTo>
                      <a:lnTo>
                        <a:pt x="360298" y="281940"/>
                      </a:lnTo>
                      <a:lnTo>
                        <a:pt x="355092" y="275590"/>
                      </a:lnTo>
                      <a:close/>
                    </a:path>
                    <a:path w="569594" h="457200">
                      <a:moveTo>
                        <a:pt x="463261" y="264160"/>
                      </a:moveTo>
                      <a:lnTo>
                        <a:pt x="420370" y="264160"/>
                      </a:lnTo>
                      <a:lnTo>
                        <a:pt x="449275" y="293370"/>
                      </a:lnTo>
                      <a:lnTo>
                        <a:pt x="414158" y="299720"/>
                      </a:lnTo>
                      <a:lnTo>
                        <a:pt x="379564" y="304800"/>
                      </a:lnTo>
                      <a:lnTo>
                        <a:pt x="562190" y="304800"/>
                      </a:lnTo>
                      <a:lnTo>
                        <a:pt x="566458" y="300990"/>
                      </a:lnTo>
                      <a:lnTo>
                        <a:pt x="569417" y="290830"/>
                      </a:lnTo>
                      <a:lnTo>
                        <a:pt x="568853" y="288290"/>
                      </a:lnTo>
                      <a:lnTo>
                        <a:pt x="487426" y="288290"/>
                      </a:lnTo>
                      <a:lnTo>
                        <a:pt x="483400" y="287020"/>
                      </a:lnTo>
                      <a:lnTo>
                        <a:pt x="477761" y="279400"/>
                      </a:lnTo>
                      <a:lnTo>
                        <a:pt x="473093" y="274320"/>
                      </a:lnTo>
                      <a:lnTo>
                        <a:pt x="468256" y="269240"/>
                      </a:lnTo>
                      <a:lnTo>
                        <a:pt x="463261" y="264160"/>
                      </a:lnTo>
                      <a:close/>
                    </a:path>
                    <a:path w="569594" h="457200">
                      <a:moveTo>
                        <a:pt x="536338" y="254000"/>
                      </a:moveTo>
                      <a:lnTo>
                        <a:pt x="493267" y="254000"/>
                      </a:lnTo>
                      <a:lnTo>
                        <a:pt x="521106" y="281940"/>
                      </a:lnTo>
                      <a:lnTo>
                        <a:pt x="514635" y="281940"/>
                      </a:lnTo>
                      <a:lnTo>
                        <a:pt x="495147" y="285750"/>
                      </a:lnTo>
                      <a:lnTo>
                        <a:pt x="487426" y="288290"/>
                      </a:lnTo>
                      <a:lnTo>
                        <a:pt x="568853" y="288290"/>
                      </a:lnTo>
                      <a:lnTo>
                        <a:pt x="568007" y="284480"/>
                      </a:lnTo>
                      <a:lnTo>
                        <a:pt x="561174" y="278130"/>
                      </a:lnTo>
                      <a:lnTo>
                        <a:pt x="554837" y="271780"/>
                      </a:lnTo>
                      <a:lnTo>
                        <a:pt x="536338" y="254000"/>
                      </a:lnTo>
                      <a:close/>
                    </a:path>
                    <a:path w="569594" h="457200">
                      <a:moveTo>
                        <a:pt x="293114" y="200660"/>
                      </a:moveTo>
                      <a:lnTo>
                        <a:pt x="254342" y="200660"/>
                      </a:lnTo>
                      <a:lnTo>
                        <a:pt x="260829" y="208280"/>
                      </a:lnTo>
                      <a:lnTo>
                        <a:pt x="267268" y="217170"/>
                      </a:lnTo>
                      <a:lnTo>
                        <a:pt x="293700" y="248920"/>
                      </a:lnTo>
                      <a:lnTo>
                        <a:pt x="256451" y="254000"/>
                      </a:lnTo>
                      <a:lnTo>
                        <a:pt x="240225" y="255270"/>
                      </a:lnTo>
                      <a:lnTo>
                        <a:pt x="207797" y="260350"/>
                      </a:lnTo>
                      <a:lnTo>
                        <a:pt x="459401" y="260350"/>
                      </a:lnTo>
                      <a:lnTo>
                        <a:pt x="458114" y="259080"/>
                      </a:lnTo>
                      <a:lnTo>
                        <a:pt x="493267" y="254000"/>
                      </a:lnTo>
                      <a:lnTo>
                        <a:pt x="536338" y="254000"/>
                      </a:lnTo>
                      <a:lnTo>
                        <a:pt x="525767" y="243840"/>
                      </a:lnTo>
                      <a:lnTo>
                        <a:pt x="329387" y="243840"/>
                      </a:lnTo>
                      <a:lnTo>
                        <a:pt x="326288" y="241300"/>
                      </a:lnTo>
                      <a:lnTo>
                        <a:pt x="320497" y="233680"/>
                      </a:lnTo>
                      <a:lnTo>
                        <a:pt x="293114" y="200660"/>
                      </a:lnTo>
                      <a:close/>
                    </a:path>
                    <a:path w="569594" h="457200">
                      <a:moveTo>
                        <a:pt x="396064" y="194310"/>
                      </a:moveTo>
                      <a:lnTo>
                        <a:pt x="354711" y="194310"/>
                      </a:lnTo>
                      <a:lnTo>
                        <a:pt x="363766" y="204470"/>
                      </a:lnTo>
                      <a:lnTo>
                        <a:pt x="372787" y="213360"/>
                      </a:lnTo>
                      <a:lnTo>
                        <a:pt x="394589" y="236220"/>
                      </a:lnTo>
                      <a:lnTo>
                        <a:pt x="361556" y="240030"/>
                      </a:lnTo>
                      <a:lnTo>
                        <a:pt x="345322" y="242570"/>
                      </a:lnTo>
                      <a:lnTo>
                        <a:pt x="329387" y="243840"/>
                      </a:lnTo>
                      <a:lnTo>
                        <a:pt x="525767" y="243840"/>
                      </a:lnTo>
                      <a:lnTo>
                        <a:pt x="512554" y="231140"/>
                      </a:lnTo>
                      <a:lnTo>
                        <a:pt x="431228" y="231140"/>
                      </a:lnTo>
                      <a:lnTo>
                        <a:pt x="420216" y="219710"/>
                      </a:lnTo>
                      <a:lnTo>
                        <a:pt x="396064" y="194310"/>
                      </a:lnTo>
                      <a:close/>
                    </a:path>
                    <a:path w="569594" h="457200">
                      <a:moveTo>
                        <a:pt x="467627" y="187960"/>
                      </a:moveTo>
                      <a:lnTo>
                        <a:pt x="423875" y="187960"/>
                      </a:lnTo>
                      <a:lnTo>
                        <a:pt x="429298" y="190500"/>
                      </a:lnTo>
                      <a:lnTo>
                        <a:pt x="433616" y="196850"/>
                      </a:lnTo>
                      <a:lnTo>
                        <a:pt x="465416" y="227330"/>
                      </a:lnTo>
                      <a:lnTo>
                        <a:pt x="448395" y="229870"/>
                      </a:lnTo>
                      <a:lnTo>
                        <a:pt x="440498" y="231140"/>
                      </a:lnTo>
                      <a:lnTo>
                        <a:pt x="512554" y="231140"/>
                      </a:lnTo>
                      <a:lnTo>
                        <a:pt x="467627" y="187960"/>
                      </a:lnTo>
                      <a:close/>
                    </a:path>
                    <a:path w="569594" h="457200">
                      <a:moveTo>
                        <a:pt x="235254" y="129540"/>
                      </a:moveTo>
                      <a:lnTo>
                        <a:pt x="195961" y="129540"/>
                      </a:lnTo>
                      <a:lnTo>
                        <a:pt x="202566" y="138430"/>
                      </a:lnTo>
                      <a:lnTo>
                        <a:pt x="222199" y="161290"/>
                      </a:lnTo>
                      <a:lnTo>
                        <a:pt x="229958" y="171450"/>
                      </a:lnTo>
                      <a:lnTo>
                        <a:pt x="218897" y="171450"/>
                      </a:lnTo>
                      <a:lnTo>
                        <a:pt x="148551" y="176530"/>
                      </a:lnTo>
                      <a:lnTo>
                        <a:pt x="455735" y="176530"/>
                      </a:lnTo>
                      <a:lnTo>
                        <a:pt x="447807" y="168910"/>
                      </a:lnTo>
                      <a:lnTo>
                        <a:pt x="267398" y="168910"/>
                      </a:lnTo>
                      <a:lnTo>
                        <a:pt x="261630" y="161290"/>
                      </a:lnTo>
                      <a:lnTo>
                        <a:pt x="255914" y="154940"/>
                      </a:lnTo>
                      <a:lnTo>
                        <a:pt x="235254" y="129540"/>
                      </a:lnTo>
                      <a:close/>
                    </a:path>
                    <a:path w="569594" h="457200">
                      <a:moveTo>
                        <a:pt x="335927" y="130810"/>
                      </a:moveTo>
                      <a:lnTo>
                        <a:pt x="293827" y="130810"/>
                      </a:lnTo>
                      <a:lnTo>
                        <a:pt x="298399" y="135890"/>
                      </a:lnTo>
                      <a:lnTo>
                        <a:pt x="326796" y="165100"/>
                      </a:lnTo>
                      <a:lnTo>
                        <a:pt x="296521" y="167640"/>
                      </a:lnTo>
                      <a:lnTo>
                        <a:pt x="281810" y="167640"/>
                      </a:lnTo>
                      <a:lnTo>
                        <a:pt x="267398" y="168910"/>
                      </a:lnTo>
                      <a:lnTo>
                        <a:pt x="447807" y="168910"/>
                      </a:lnTo>
                      <a:lnTo>
                        <a:pt x="441200" y="162560"/>
                      </a:lnTo>
                      <a:lnTo>
                        <a:pt x="365925" y="162560"/>
                      </a:lnTo>
                      <a:lnTo>
                        <a:pt x="365620" y="161290"/>
                      </a:lnTo>
                      <a:lnTo>
                        <a:pt x="345967" y="142240"/>
                      </a:lnTo>
                      <a:lnTo>
                        <a:pt x="335927" y="130810"/>
                      </a:lnTo>
                      <a:close/>
                    </a:path>
                    <a:path w="569594" h="457200">
                      <a:moveTo>
                        <a:pt x="405631" y="128270"/>
                      </a:moveTo>
                      <a:lnTo>
                        <a:pt x="135176" y="128270"/>
                      </a:lnTo>
                      <a:lnTo>
                        <a:pt x="155513" y="129540"/>
                      </a:lnTo>
                      <a:lnTo>
                        <a:pt x="362381" y="129540"/>
                      </a:lnTo>
                      <a:lnTo>
                        <a:pt x="369176" y="132080"/>
                      </a:lnTo>
                      <a:lnTo>
                        <a:pt x="374472" y="139700"/>
                      </a:lnTo>
                      <a:lnTo>
                        <a:pt x="375602" y="140970"/>
                      </a:lnTo>
                      <a:lnTo>
                        <a:pt x="378688" y="143510"/>
                      </a:lnTo>
                      <a:lnTo>
                        <a:pt x="379018" y="143510"/>
                      </a:lnTo>
                      <a:lnTo>
                        <a:pt x="394538" y="161290"/>
                      </a:lnTo>
                      <a:lnTo>
                        <a:pt x="387758" y="161290"/>
                      </a:lnTo>
                      <a:lnTo>
                        <a:pt x="380982" y="162560"/>
                      </a:lnTo>
                      <a:lnTo>
                        <a:pt x="441200" y="162560"/>
                      </a:lnTo>
                      <a:lnTo>
                        <a:pt x="405631" y="128270"/>
                      </a:lnTo>
                      <a:close/>
                    </a:path>
                    <a:path w="569594" h="457200">
                      <a:moveTo>
                        <a:pt x="362381" y="129540"/>
                      </a:moveTo>
                      <a:lnTo>
                        <a:pt x="265023" y="129540"/>
                      </a:lnTo>
                      <a:lnTo>
                        <a:pt x="279438" y="130810"/>
                      </a:lnTo>
                      <a:lnTo>
                        <a:pt x="346532" y="130810"/>
                      </a:lnTo>
                      <a:lnTo>
                        <a:pt x="362381" y="129540"/>
                      </a:lnTo>
                      <a:close/>
                    </a:path>
                    <a:path w="569594" h="457200">
                      <a:moveTo>
                        <a:pt x="351645" y="76200"/>
                      </a:moveTo>
                      <a:lnTo>
                        <a:pt x="283222" y="76200"/>
                      </a:lnTo>
                      <a:lnTo>
                        <a:pt x="313588" y="81280"/>
                      </a:lnTo>
                      <a:lnTo>
                        <a:pt x="323454" y="90170"/>
                      </a:lnTo>
                      <a:lnTo>
                        <a:pt x="333349" y="100330"/>
                      </a:lnTo>
                      <a:lnTo>
                        <a:pt x="376668" y="100330"/>
                      </a:lnTo>
                      <a:lnTo>
                        <a:pt x="351645" y="76200"/>
                      </a:lnTo>
                      <a:close/>
                    </a:path>
                    <a:path w="569594" h="457200">
                      <a:moveTo>
                        <a:pt x="331168" y="57150"/>
                      </a:moveTo>
                      <a:lnTo>
                        <a:pt x="176009" y="57150"/>
                      </a:lnTo>
                      <a:lnTo>
                        <a:pt x="232575" y="67310"/>
                      </a:lnTo>
                      <a:lnTo>
                        <a:pt x="233210" y="67310"/>
                      </a:lnTo>
                      <a:lnTo>
                        <a:pt x="233946" y="68580"/>
                      </a:lnTo>
                      <a:lnTo>
                        <a:pt x="263829" y="99060"/>
                      </a:lnTo>
                      <a:lnTo>
                        <a:pt x="306095" y="99060"/>
                      </a:lnTo>
                      <a:lnTo>
                        <a:pt x="283222" y="76200"/>
                      </a:lnTo>
                      <a:lnTo>
                        <a:pt x="351645" y="76200"/>
                      </a:lnTo>
                      <a:lnTo>
                        <a:pt x="346341" y="71120"/>
                      </a:lnTo>
                      <a:lnTo>
                        <a:pt x="343204" y="68580"/>
                      </a:lnTo>
                      <a:lnTo>
                        <a:pt x="340525" y="64770"/>
                      </a:lnTo>
                      <a:lnTo>
                        <a:pt x="333642" y="58420"/>
                      </a:lnTo>
                      <a:lnTo>
                        <a:pt x="331168" y="57150"/>
                      </a:lnTo>
                      <a:close/>
                    </a:path>
                    <a:path w="569594" h="457200">
                      <a:moveTo>
                        <a:pt x="227866" y="35560"/>
                      </a:moveTo>
                      <a:lnTo>
                        <a:pt x="49021" y="35560"/>
                      </a:lnTo>
                      <a:lnTo>
                        <a:pt x="89312" y="43180"/>
                      </a:lnTo>
                      <a:lnTo>
                        <a:pt x="109436" y="45720"/>
                      </a:lnTo>
                      <a:lnTo>
                        <a:pt x="129527" y="49530"/>
                      </a:lnTo>
                      <a:lnTo>
                        <a:pt x="129844" y="49530"/>
                      </a:lnTo>
                      <a:lnTo>
                        <a:pt x="130670" y="50800"/>
                      </a:lnTo>
                      <a:lnTo>
                        <a:pt x="136371" y="57150"/>
                      </a:lnTo>
                      <a:lnTo>
                        <a:pt x="141408" y="63500"/>
                      </a:lnTo>
                      <a:lnTo>
                        <a:pt x="151409" y="74930"/>
                      </a:lnTo>
                      <a:lnTo>
                        <a:pt x="170014" y="97790"/>
                      </a:lnTo>
                      <a:lnTo>
                        <a:pt x="209413" y="97790"/>
                      </a:lnTo>
                      <a:lnTo>
                        <a:pt x="206184" y="93980"/>
                      </a:lnTo>
                      <a:lnTo>
                        <a:pt x="194602" y="80010"/>
                      </a:lnTo>
                      <a:lnTo>
                        <a:pt x="176009" y="57150"/>
                      </a:lnTo>
                      <a:lnTo>
                        <a:pt x="331168" y="57150"/>
                      </a:lnTo>
                      <a:lnTo>
                        <a:pt x="326221" y="54610"/>
                      </a:lnTo>
                      <a:lnTo>
                        <a:pt x="318615" y="50800"/>
                      </a:lnTo>
                      <a:lnTo>
                        <a:pt x="311175" y="49530"/>
                      </a:lnTo>
                      <a:lnTo>
                        <a:pt x="276868" y="44450"/>
                      </a:lnTo>
                      <a:lnTo>
                        <a:pt x="242566" y="38100"/>
                      </a:lnTo>
                      <a:lnTo>
                        <a:pt x="227866" y="35560"/>
                      </a:lnTo>
                      <a:close/>
                    </a:path>
                  </a:pathLst>
                </a:custGeom>
                <a:solidFill>
                  <a:srgbClr val="004876"/>
                </a:solidFill>
              </p:spPr>
              <p:txBody>
                <a:bodyPr wrap="square" lIns="0" tIns="0" rIns="0" bIns="0" rtlCol="0"/>
                <a:lstStyle/>
                <a:p>
                  <a:endParaRPr/>
                </a:p>
              </p:txBody>
            </p:sp>
          </p:grpSp>
          <p:grpSp>
            <p:nvGrpSpPr>
              <p:cNvPr id="25" name="object 63">
                <a:extLst>
                  <a:ext uri="{FF2B5EF4-FFF2-40B4-BE49-F238E27FC236}">
                    <a16:creationId xmlns:a16="http://schemas.microsoft.com/office/drawing/2014/main" id="{B77022D6-39E1-10F7-486E-A2A129A54A86}"/>
                  </a:ext>
                </a:extLst>
              </p:cNvPr>
              <p:cNvGrpSpPr/>
              <p:nvPr/>
            </p:nvGrpSpPr>
            <p:grpSpPr>
              <a:xfrm>
                <a:off x="887526" y="709024"/>
                <a:ext cx="583565" cy="725170"/>
                <a:chOff x="887526" y="709024"/>
                <a:chExt cx="583565" cy="725170"/>
              </a:xfrm>
            </p:grpSpPr>
            <p:pic>
              <p:nvPicPr>
                <p:cNvPr id="41" name="object 64">
                  <a:extLst>
                    <a:ext uri="{FF2B5EF4-FFF2-40B4-BE49-F238E27FC236}">
                      <a16:creationId xmlns:a16="http://schemas.microsoft.com/office/drawing/2014/main" id="{020E6FC1-7314-6E0B-E4AD-294E654866A7}"/>
                    </a:ext>
                  </a:extLst>
                </p:cNvPr>
                <p:cNvPicPr/>
                <p:nvPr/>
              </p:nvPicPr>
              <p:blipFill>
                <a:blip r:embed="rId49" cstate="print"/>
                <a:stretch>
                  <a:fillRect/>
                </a:stretch>
              </p:blipFill>
              <p:spPr>
                <a:xfrm>
                  <a:off x="1237615" y="797382"/>
                  <a:ext cx="144894" cy="142494"/>
                </a:xfrm>
                <a:prstGeom prst="rect">
                  <a:avLst/>
                </a:prstGeom>
              </p:spPr>
            </p:pic>
            <p:pic>
              <p:nvPicPr>
                <p:cNvPr id="43" name="object 65">
                  <a:extLst>
                    <a:ext uri="{FF2B5EF4-FFF2-40B4-BE49-F238E27FC236}">
                      <a16:creationId xmlns:a16="http://schemas.microsoft.com/office/drawing/2014/main" id="{6F42BE0B-1C81-F704-AD79-AC752AAAD9E9}"/>
                    </a:ext>
                  </a:extLst>
                </p:cNvPr>
                <p:cNvPicPr/>
                <p:nvPr/>
              </p:nvPicPr>
              <p:blipFill>
                <a:blip r:embed="rId50" cstate="print"/>
                <a:stretch>
                  <a:fillRect/>
                </a:stretch>
              </p:blipFill>
              <p:spPr>
                <a:xfrm>
                  <a:off x="1149350" y="709024"/>
                  <a:ext cx="321428" cy="317442"/>
                </a:xfrm>
                <a:prstGeom prst="rect">
                  <a:avLst/>
                </a:prstGeom>
              </p:spPr>
            </p:pic>
            <p:pic>
              <p:nvPicPr>
                <p:cNvPr id="44" name="object 66">
                  <a:extLst>
                    <a:ext uri="{FF2B5EF4-FFF2-40B4-BE49-F238E27FC236}">
                      <a16:creationId xmlns:a16="http://schemas.microsoft.com/office/drawing/2014/main" id="{70499DCD-4C93-E453-D9DF-7F4E168878E2}"/>
                    </a:ext>
                  </a:extLst>
                </p:cNvPr>
                <p:cNvPicPr/>
                <p:nvPr/>
              </p:nvPicPr>
              <p:blipFill>
                <a:blip r:embed="rId51" cstate="print"/>
                <a:stretch>
                  <a:fillRect/>
                </a:stretch>
              </p:blipFill>
              <p:spPr>
                <a:xfrm>
                  <a:off x="1259484" y="819277"/>
                  <a:ext cx="100444" cy="98602"/>
                </a:xfrm>
                <a:prstGeom prst="rect">
                  <a:avLst/>
                </a:prstGeom>
              </p:spPr>
            </p:pic>
            <p:pic>
              <p:nvPicPr>
                <p:cNvPr id="45" name="object 67">
                  <a:extLst>
                    <a:ext uri="{FF2B5EF4-FFF2-40B4-BE49-F238E27FC236}">
                      <a16:creationId xmlns:a16="http://schemas.microsoft.com/office/drawing/2014/main" id="{10863178-75BE-FAFE-AC22-AE7AF4421C3D}"/>
                    </a:ext>
                  </a:extLst>
                </p:cNvPr>
                <p:cNvPicPr/>
                <p:nvPr/>
              </p:nvPicPr>
              <p:blipFill>
                <a:blip r:embed="rId52" cstate="print"/>
                <a:stretch>
                  <a:fillRect/>
                </a:stretch>
              </p:blipFill>
              <p:spPr>
                <a:xfrm>
                  <a:off x="887526" y="1024433"/>
                  <a:ext cx="248272" cy="81087"/>
                </a:xfrm>
                <a:prstGeom prst="rect">
                  <a:avLst/>
                </a:prstGeom>
              </p:spPr>
            </p:pic>
            <p:pic>
              <p:nvPicPr>
                <p:cNvPr id="46" name="object 68">
                  <a:extLst>
                    <a:ext uri="{FF2B5EF4-FFF2-40B4-BE49-F238E27FC236}">
                      <a16:creationId xmlns:a16="http://schemas.microsoft.com/office/drawing/2014/main" id="{3EA35EFD-06E3-BC3A-B75D-1D5B2C1C4703}"/>
                    </a:ext>
                  </a:extLst>
                </p:cNvPr>
                <p:cNvPicPr/>
                <p:nvPr/>
              </p:nvPicPr>
              <p:blipFill>
                <a:blip r:embed="rId53" cstate="print"/>
                <a:stretch>
                  <a:fillRect/>
                </a:stretch>
              </p:blipFill>
              <p:spPr>
                <a:xfrm>
                  <a:off x="954951" y="1119416"/>
                  <a:ext cx="436156" cy="213601"/>
                </a:xfrm>
                <a:prstGeom prst="rect">
                  <a:avLst/>
                </a:prstGeom>
              </p:spPr>
            </p:pic>
            <p:pic>
              <p:nvPicPr>
                <p:cNvPr id="47" name="object 69">
                  <a:extLst>
                    <a:ext uri="{FF2B5EF4-FFF2-40B4-BE49-F238E27FC236}">
                      <a16:creationId xmlns:a16="http://schemas.microsoft.com/office/drawing/2014/main" id="{B9CC369E-6591-A643-A106-2200CA62E6B7}"/>
                    </a:ext>
                  </a:extLst>
                </p:cNvPr>
                <p:cNvPicPr/>
                <p:nvPr/>
              </p:nvPicPr>
              <p:blipFill>
                <a:blip r:embed="rId54" cstate="print"/>
                <a:stretch>
                  <a:fillRect/>
                </a:stretch>
              </p:blipFill>
              <p:spPr>
                <a:xfrm>
                  <a:off x="1031176" y="1341856"/>
                  <a:ext cx="219748" cy="91911"/>
                </a:xfrm>
                <a:prstGeom prst="rect">
                  <a:avLst/>
                </a:prstGeom>
              </p:spPr>
            </p:pic>
            <p:pic>
              <p:nvPicPr>
                <p:cNvPr id="48" name="object 70">
                  <a:extLst>
                    <a:ext uri="{FF2B5EF4-FFF2-40B4-BE49-F238E27FC236}">
                      <a16:creationId xmlns:a16="http://schemas.microsoft.com/office/drawing/2014/main" id="{A9703100-ED75-E6B7-6842-020D77B10268}"/>
                    </a:ext>
                  </a:extLst>
                </p:cNvPr>
                <p:cNvPicPr/>
                <p:nvPr/>
              </p:nvPicPr>
              <p:blipFill>
                <a:blip r:embed="rId55" cstate="print"/>
                <a:stretch>
                  <a:fillRect/>
                </a:stretch>
              </p:blipFill>
              <p:spPr>
                <a:xfrm>
                  <a:off x="1117142" y="1063079"/>
                  <a:ext cx="150495" cy="105599"/>
                </a:xfrm>
                <a:prstGeom prst="rect">
                  <a:avLst/>
                </a:prstGeom>
              </p:spPr>
            </p:pic>
          </p:grpSp>
          <p:grpSp>
            <p:nvGrpSpPr>
              <p:cNvPr id="26" name="object 71">
                <a:extLst>
                  <a:ext uri="{FF2B5EF4-FFF2-40B4-BE49-F238E27FC236}">
                    <a16:creationId xmlns:a16="http://schemas.microsoft.com/office/drawing/2014/main" id="{462B1528-2961-C1BE-5547-E7FEC12401FB}"/>
                  </a:ext>
                </a:extLst>
              </p:cNvPr>
              <p:cNvGrpSpPr/>
              <p:nvPr/>
            </p:nvGrpSpPr>
            <p:grpSpPr>
              <a:xfrm>
                <a:off x="566978" y="542842"/>
                <a:ext cx="516890" cy="744220"/>
                <a:chOff x="566978" y="542842"/>
                <a:chExt cx="516890" cy="744220"/>
              </a:xfrm>
            </p:grpSpPr>
            <p:pic>
              <p:nvPicPr>
                <p:cNvPr id="29" name="object 72">
                  <a:extLst>
                    <a:ext uri="{FF2B5EF4-FFF2-40B4-BE49-F238E27FC236}">
                      <a16:creationId xmlns:a16="http://schemas.microsoft.com/office/drawing/2014/main" id="{21280D97-CA13-7FE2-A9D0-74E3546201A6}"/>
                    </a:ext>
                  </a:extLst>
                </p:cNvPr>
                <p:cNvPicPr/>
                <p:nvPr/>
              </p:nvPicPr>
              <p:blipFill>
                <a:blip r:embed="rId56" cstate="print"/>
                <a:stretch>
                  <a:fillRect/>
                </a:stretch>
              </p:blipFill>
              <p:spPr>
                <a:xfrm>
                  <a:off x="730669" y="929704"/>
                  <a:ext cx="88887" cy="349745"/>
                </a:xfrm>
                <a:prstGeom prst="rect">
                  <a:avLst/>
                </a:prstGeom>
              </p:spPr>
            </p:pic>
            <p:sp>
              <p:nvSpPr>
                <p:cNvPr id="30" name="object 73">
                  <a:extLst>
                    <a:ext uri="{FF2B5EF4-FFF2-40B4-BE49-F238E27FC236}">
                      <a16:creationId xmlns:a16="http://schemas.microsoft.com/office/drawing/2014/main" id="{88E515B3-40BA-E6AB-D836-2E99B56E5F8F}"/>
                    </a:ext>
                  </a:extLst>
                </p:cNvPr>
                <p:cNvSpPr/>
                <p:nvPr/>
              </p:nvSpPr>
              <p:spPr>
                <a:xfrm>
                  <a:off x="722500" y="908581"/>
                  <a:ext cx="105410" cy="378460"/>
                </a:xfrm>
                <a:custGeom>
                  <a:avLst/>
                  <a:gdLst/>
                  <a:ahLst/>
                  <a:cxnLst/>
                  <a:rect l="l" t="t" r="r" b="b"/>
                  <a:pathLst>
                    <a:path w="105409" h="378459">
                      <a:moveTo>
                        <a:pt x="74714" y="0"/>
                      </a:moveTo>
                      <a:lnTo>
                        <a:pt x="60706" y="19405"/>
                      </a:lnTo>
                      <a:lnTo>
                        <a:pt x="57264" y="24803"/>
                      </a:lnTo>
                      <a:lnTo>
                        <a:pt x="51219" y="34213"/>
                      </a:lnTo>
                      <a:lnTo>
                        <a:pt x="24286" y="74643"/>
                      </a:lnTo>
                      <a:lnTo>
                        <a:pt x="21277" y="111975"/>
                      </a:lnTo>
                      <a:lnTo>
                        <a:pt x="19730" y="134480"/>
                      </a:lnTo>
                      <a:lnTo>
                        <a:pt x="17971" y="156062"/>
                      </a:lnTo>
                      <a:lnTo>
                        <a:pt x="14578" y="194703"/>
                      </a:lnTo>
                      <a:lnTo>
                        <a:pt x="13220" y="210781"/>
                      </a:lnTo>
                      <a:lnTo>
                        <a:pt x="4706" y="316166"/>
                      </a:lnTo>
                      <a:lnTo>
                        <a:pt x="3365" y="333438"/>
                      </a:lnTo>
                      <a:lnTo>
                        <a:pt x="0" y="378434"/>
                      </a:lnTo>
                      <a:lnTo>
                        <a:pt x="105270" y="378434"/>
                      </a:lnTo>
                      <a:lnTo>
                        <a:pt x="104046" y="363283"/>
                      </a:lnTo>
                      <a:lnTo>
                        <a:pt x="16332" y="363283"/>
                      </a:lnTo>
                      <a:lnTo>
                        <a:pt x="19998" y="314960"/>
                      </a:lnTo>
                      <a:lnTo>
                        <a:pt x="29044" y="203352"/>
                      </a:lnTo>
                      <a:lnTo>
                        <a:pt x="29893" y="193425"/>
                      </a:lnTo>
                      <a:lnTo>
                        <a:pt x="33279" y="154871"/>
                      </a:lnTo>
                      <a:lnTo>
                        <a:pt x="34937" y="134480"/>
                      </a:lnTo>
                      <a:lnTo>
                        <a:pt x="36416" y="112783"/>
                      </a:lnTo>
                      <a:lnTo>
                        <a:pt x="37465" y="91097"/>
                      </a:lnTo>
                      <a:lnTo>
                        <a:pt x="39004" y="78358"/>
                      </a:lnTo>
                      <a:lnTo>
                        <a:pt x="42740" y="67322"/>
                      </a:lnTo>
                      <a:lnTo>
                        <a:pt x="48864" y="57582"/>
                      </a:lnTo>
                      <a:lnTo>
                        <a:pt x="57569" y="48729"/>
                      </a:lnTo>
                      <a:lnTo>
                        <a:pt x="59563" y="47028"/>
                      </a:lnTo>
                      <a:lnTo>
                        <a:pt x="61353" y="45123"/>
                      </a:lnTo>
                      <a:lnTo>
                        <a:pt x="62979" y="43103"/>
                      </a:lnTo>
                      <a:lnTo>
                        <a:pt x="78194" y="43103"/>
                      </a:lnTo>
                      <a:lnTo>
                        <a:pt x="74714" y="0"/>
                      </a:lnTo>
                      <a:close/>
                    </a:path>
                    <a:path w="105409" h="378459">
                      <a:moveTo>
                        <a:pt x="78194" y="43103"/>
                      </a:moveTo>
                      <a:lnTo>
                        <a:pt x="62979" y="43103"/>
                      </a:lnTo>
                      <a:lnTo>
                        <a:pt x="88836" y="363283"/>
                      </a:lnTo>
                      <a:lnTo>
                        <a:pt x="104046" y="363283"/>
                      </a:lnTo>
                      <a:lnTo>
                        <a:pt x="78194" y="43103"/>
                      </a:lnTo>
                      <a:close/>
                    </a:path>
                  </a:pathLst>
                </a:custGeom>
                <a:solidFill>
                  <a:srgbClr val="004876"/>
                </a:solidFill>
              </p:spPr>
              <p:txBody>
                <a:bodyPr wrap="square" lIns="0" tIns="0" rIns="0" bIns="0" rtlCol="0"/>
                <a:lstStyle/>
                <a:p>
                  <a:endParaRPr/>
                </a:p>
              </p:txBody>
            </p:sp>
            <p:pic>
              <p:nvPicPr>
                <p:cNvPr id="31" name="object 74">
                  <a:extLst>
                    <a:ext uri="{FF2B5EF4-FFF2-40B4-BE49-F238E27FC236}">
                      <a16:creationId xmlns:a16="http://schemas.microsoft.com/office/drawing/2014/main" id="{7B54FD0F-3380-3C3A-5F3E-2C2F2F9A7A26}"/>
                    </a:ext>
                  </a:extLst>
                </p:cNvPr>
                <p:cNvPicPr/>
                <p:nvPr/>
              </p:nvPicPr>
              <p:blipFill>
                <a:blip r:embed="rId57" cstate="print"/>
                <a:stretch>
                  <a:fillRect/>
                </a:stretch>
              </p:blipFill>
              <p:spPr>
                <a:xfrm>
                  <a:off x="576198" y="845565"/>
                  <a:ext cx="203085" cy="229552"/>
                </a:xfrm>
                <a:prstGeom prst="rect">
                  <a:avLst/>
                </a:prstGeom>
              </p:spPr>
            </p:pic>
            <p:pic>
              <p:nvPicPr>
                <p:cNvPr id="32" name="object 75">
                  <a:extLst>
                    <a:ext uri="{FF2B5EF4-FFF2-40B4-BE49-F238E27FC236}">
                      <a16:creationId xmlns:a16="http://schemas.microsoft.com/office/drawing/2014/main" id="{16641429-48C5-E867-0D13-1A8661B55866}"/>
                    </a:ext>
                  </a:extLst>
                </p:cNvPr>
                <p:cNvPicPr/>
                <p:nvPr/>
              </p:nvPicPr>
              <p:blipFill>
                <a:blip r:embed="rId58" cstate="print"/>
                <a:stretch>
                  <a:fillRect/>
                </a:stretch>
              </p:blipFill>
              <p:spPr>
                <a:xfrm>
                  <a:off x="566978" y="834692"/>
                  <a:ext cx="222110" cy="251460"/>
                </a:xfrm>
                <a:prstGeom prst="rect">
                  <a:avLst/>
                </a:prstGeom>
              </p:spPr>
            </p:pic>
            <p:pic>
              <p:nvPicPr>
                <p:cNvPr id="34" name="object 76">
                  <a:extLst>
                    <a:ext uri="{FF2B5EF4-FFF2-40B4-BE49-F238E27FC236}">
                      <a16:creationId xmlns:a16="http://schemas.microsoft.com/office/drawing/2014/main" id="{7204B160-9A58-CB88-0DD6-8F0D0A229E6F}"/>
                    </a:ext>
                  </a:extLst>
                </p:cNvPr>
                <p:cNvPicPr/>
                <p:nvPr/>
              </p:nvPicPr>
              <p:blipFill>
                <a:blip r:embed="rId59" cstate="print"/>
                <a:stretch>
                  <a:fillRect/>
                </a:stretch>
              </p:blipFill>
              <p:spPr>
                <a:xfrm>
                  <a:off x="811326" y="799172"/>
                  <a:ext cx="252539" cy="108661"/>
                </a:xfrm>
                <a:prstGeom prst="rect">
                  <a:avLst/>
                </a:prstGeom>
              </p:spPr>
            </p:pic>
            <p:sp>
              <p:nvSpPr>
                <p:cNvPr id="35" name="object 77">
                  <a:extLst>
                    <a:ext uri="{FF2B5EF4-FFF2-40B4-BE49-F238E27FC236}">
                      <a16:creationId xmlns:a16="http://schemas.microsoft.com/office/drawing/2014/main" id="{3BB4EE2E-7AF5-B29C-CBD6-266B0679166B}"/>
                    </a:ext>
                  </a:extLst>
                </p:cNvPr>
                <p:cNvSpPr/>
                <p:nvPr/>
              </p:nvSpPr>
              <p:spPr>
                <a:xfrm>
                  <a:off x="799136" y="791736"/>
                  <a:ext cx="285115" cy="124460"/>
                </a:xfrm>
                <a:custGeom>
                  <a:avLst/>
                  <a:gdLst/>
                  <a:ahLst/>
                  <a:cxnLst/>
                  <a:rect l="l" t="t" r="r" b="b"/>
                  <a:pathLst>
                    <a:path w="285115" h="124459">
                      <a:moveTo>
                        <a:pt x="49930" y="0"/>
                      </a:moveTo>
                      <a:lnTo>
                        <a:pt x="39435" y="1463"/>
                      </a:lnTo>
                      <a:lnTo>
                        <a:pt x="28397" y="4519"/>
                      </a:lnTo>
                      <a:lnTo>
                        <a:pt x="20345" y="7275"/>
                      </a:lnTo>
                      <a:lnTo>
                        <a:pt x="24015" y="14971"/>
                      </a:lnTo>
                      <a:lnTo>
                        <a:pt x="31249" y="36861"/>
                      </a:lnTo>
                      <a:lnTo>
                        <a:pt x="30919" y="56807"/>
                      </a:lnTo>
                      <a:lnTo>
                        <a:pt x="22953" y="75145"/>
                      </a:lnTo>
                      <a:lnTo>
                        <a:pt x="7277" y="92213"/>
                      </a:lnTo>
                      <a:lnTo>
                        <a:pt x="0" y="98372"/>
                      </a:lnTo>
                      <a:lnTo>
                        <a:pt x="7645" y="104074"/>
                      </a:lnTo>
                      <a:lnTo>
                        <a:pt x="47409" y="121809"/>
                      </a:lnTo>
                      <a:lnTo>
                        <a:pt x="74104" y="124115"/>
                      </a:lnTo>
                      <a:lnTo>
                        <a:pt x="80175" y="124115"/>
                      </a:lnTo>
                      <a:lnTo>
                        <a:pt x="124897" y="122058"/>
                      </a:lnTo>
                      <a:lnTo>
                        <a:pt x="166798" y="117476"/>
                      </a:lnTo>
                      <a:lnTo>
                        <a:pt x="212598" y="110285"/>
                      </a:lnTo>
                      <a:lnTo>
                        <a:pt x="219022" y="108532"/>
                      </a:lnTo>
                      <a:lnTo>
                        <a:pt x="63284" y="108532"/>
                      </a:lnTo>
                      <a:lnTo>
                        <a:pt x="52758" y="107372"/>
                      </a:lnTo>
                      <a:lnTo>
                        <a:pt x="42795" y="105082"/>
                      </a:lnTo>
                      <a:lnTo>
                        <a:pt x="33351" y="101647"/>
                      </a:lnTo>
                      <a:lnTo>
                        <a:pt x="24384" y="97051"/>
                      </a:lnTo>
                      <a:lnTo>
                        <a:pt x="38336" y="79017"/>
                      </a:lnTo>
                      <a:lnTo>
                        <a:pt x="45800" y="59561"/>
                      </a:lnTo>
                      <a:lnTo>
                        <a:pt x="46767" y="38733"/>
                      </a:lnTo>
                      <a:lnTo>
                        <a:pt x="41224" y="16584"/>
                      </a:lnTo>
                      <a:lnTo>
                        <a:pt x="50088" y="14552"/>
                      </a:lnTo>
                      <a:lnTo>
                        <a:pt x="109928" y="14514"/>
                      </a:lnTo>
                      <a:lnTo>
                        <a:pt x="69138" y="1890"/>
                      </a:lnTo>
                      <a:lnTo>
                        <a:pt x="59843" y="138"/>
                      </a:lnTo>
                      <a:lnTo>
                        <a:pt x="49930" y="0"/>
                      </a:lnTo>
                      <a:close/>
                    </a:path>
                    <a:path w="285115" h="124459">
                      <a:moveTo>
                        <a:pt x="109928" y="14514"/>
                      </a:moveTo>
                      <a:lnTo>
                        <a:pt x="58077" y="14514"/>
                      </a:lnTo>
                      <a:lnTo>
                        <a:pt x="64998" y="16470"/>
                      </a:lnTo>
                      <a:lnTo>
                        <a:pt x="114939" y="31795"/>
                      </a:lnTo>
                      <a:lnTo>
                        <a:pt x="161339" y="48406"/>
                      </a:lnTo>
                      <a:lnTo>
                        <a:pt x="204449" y="66399"/>
                      </a:lnTo>
                      <a:lnTo>
                        <a:pt x="244525" y="85875"/>
                      </a:lnTo>
                      <a:lnTo>
                        <a:pt x="209207" y="95527"/>
                      </a:lnTo>
                      <a:lnTo>
                        <a:pt x="194320" y="98074"/>
                      </a:lnTo>
                      <a:lnTo>
                        <a:pt x="157986" y="103277"/>
                      </a:lnTo>
                      <a:lnTo>
                        <a:pt x="110782" y="107857"/>
                      </a:lnTo>
                      <a:lnTo>
                        <a:pt x="63284" y="108532"/>
                      </a:lnTo>
                      <a:lnTo>
                        <a:pt x="219022" y="108532"/>
                      </a:lnTo>
                      <a:lnTo>
                        <a:pt x="284619" y="90638"/>
                      </a:lnTo>
                      <a:lnTo>
                        <a:pt x="268439" y="81595"/>
                      </a:lnTo>
                      <a:lnTo>
                        <a:pt x="224431" y="58931"/>
                      </a:lnTo>
                      <a:lnTo>
                        <a:pt x="176776" y="38185"/>
                      </a:lnTo>
                      <a:lnTo>
                        <a:pt x="125127" y="19218"/>
                      </a:lnTo>
                      <a:lnTo>
                        <a:pt x="109928" y="14514"/>
                      </a:lnTo>
                      <a:close/>
                    </a:path>
                  </a:pathLst>
                </a:custGeom>
                <a:solidFill>
                  <a:srgbClr val="004876"/>
                </a:solidFill>
              </p:spPr>
              <p:txBody>
                <a:bodyPr wrap="square" lIns="0" tIns="0" rIns="0" bIns="0" rtlCol="0"/>
                <a:lstStyle/>
                <a:p>
                  <a:endParaRPr/>
                </a:p>
              </p:txBody>
            </p:sp>
            <p:pic>
              <p:nvPicPr>
                <p:cNvPr id="36" name="object 78">
                  <a:extLst>
                    <a:ext uri="{FF2B5EF4-FFF2-40B4-BE49-F238E27FC236}">
                      <a16:creationId xmlns:a16="http://schemas.microsoft.com/office/drawing/2014/main" id="{9AD4BA4A-ED8F-CE22-A988-2654E0A9C658}"/>
                    </a:ext>
                  </a:extLst>
                </p:cNvPr>
                <p:cNvPicPr/>
                <p:nvPr/>
              </p:nvPicPr>
              <p:blipFill>
                <a:blip r:embed="rId60" cstate="print"/>
                <a:stretch>
                  <a:fillRect/>
                </a:stretch>
              </p:blipFill>
              <p:spPr>
                <a:xfrm>
                  <a:off x="664354" y="551752"/>
                  <a:ext cx="136371" cy="259283"/>
                </a:xfrm>
                <a:prstGeom prst="rect">
                  <a:avLst/>
                </a:prstGeom>
              </p:spPr>
            </p:pic>
            <p:sp>
              <p:nvSpPr>
                <p:cNvPr id="37" name="object 79">
                  <a:extLst>
                    <a:ext uri="{FF2B5EF4-FFF2-40B4-BE49-F238E27FC236}">
                      <a16:creationId xmlns:a16="http://schemas.microsoft.com/office/drawing/2014/main" id="{A92DD7ED-31AE-8AC8-8D5A-70A3B00A9D46}"/>
                    </a:ext>
                  </a:extLst>
                </p:cNvPr>
                <p:cNvSpPr/>
                <p:nvPr/>
              </p:nvSpPr>
              <p:spPr>
                <a:xfrm>
                  <a:off x="656781" y="542842"/>
                  <a:ext cx="151765" cy="281940"/>
                </a:xfrm>
                <a:custGeom>
                  <a:avLst/>
                  <a:gdLst/>
                  <a:ahLst/>
                  <a:cxnLst/>
                  <a:rect l="l" t="t" r="r" b="b"/>
                  <a:pathLst>
                    <a:path w="151765" h="281940">
                      <a:moveTo>
                        <a:pt x="9576" y="0"/>
                      </a:moveTo>
                      <a:lnTo>
                        <a:pt x="6604" y="5105"/>
                      </a:lnTo>
                      <a:lnTo>
                        <a:pt x="2777" y="13250"/>
                      </a:lnTo>
                      <a:lnTo>
                        <a:pt x="639" y="22009"/>
                      </a:lnTo>
                      <a:lnTo>
                        <a:pt x="0" y="32546"/>
                      </a:lnTo>
                      <a:lnTo>
                        <a:pt x="787" y="45542"/>
                      </a:lnTo>
                      <a:lnTo>
                        <a:pt x="6050" y="98771"/>
                      </a:lnTo>
                      <a:lnTo>
                        <a:pt x="14650" y="156111"/>
                      </a:lnTo>
                      <a:lnTo>
                        <a:pt x="23988" y="202678"/>
                      </a:lnTo>
                      <a:lnTo>
                        <a:pt x="34587" y="246216"/>
                      </a:lnTo>
                      <a:lnTo>
                        <a:pt x="62014" y="281368"/>
                      </a:lnTo>
                      <a:lnTo>
                        <a:pt x="66865" y="271551"/>
                      </a:lnTo>
                      <a:lnTo>
                        <a:pt x="72831" y="261475"/>
                      </a:lnTo>
                      <a:lnTo>
                        <a:pt x="78108" y="255346"/>
                      </a:lnTo>
                      <a:lnTo>
                        <a:pt x="58674" y="255346"/>
                      </a:lnTo>
                      <a:lnTo>
                        <a:pt x="54321" y="249872"/>
                      </a:lnTo>
                      <a:lnTo>
                        <a:pt x="38843" y="199633"/>
                      </a:lnTo>
                      <a:lnTo>
                        <a:pt x="29574" y="153436"/>
                      </a:lnTo>
                      <a:lnTo>
                        <a:pt x="23116" y="113675"/>
                      </a:lnTo>
                      <a:lnTo>
                        <a:pt x="15862" y="44043"/>
                      </a:lnTo>
                      <a:lnTo>
                        <a:pt x="15213" y="28681"/>
                      </a:lnTo>
                      <a:lnTo>
                        <a:pt x="15771" y="23271"/>
                      </a:lnTo>
                      <a:lnTo>
                        <a:pt x="16878" y="18834"/>
                      </a:lnTo>
                      <a:lnTo>
                        <a:pt x="38032" y="18834"/>
                      </a:lnTo>
                      <a:lnTo>
                        <a:pt x="36961" y="17384"/>
                      </a:lnTo>
                      <a:lnTo>
                        <a:pt x="31288" y="11061"/>
                      </a:lnTo>
                      <a:lnTo>
                        <a:pt x="24198" y="5548"/>
                      </a:lnTo>
                      <a:lnTo>
                        <a:pt x="15253" y="1625"/>
                      </a:lnTo>
                      <a:lnTo>
                        <a:pt x="9576" y="0"/>
                      </a:lnTo>
                      <a:close/>
                    </a:path>
                    <a:path w="151765" h="281940">
                      <a:moveTo>
                        <a:pt x="113867" y="222732"/>
                      </a:moveTo>
                      <a:lnTo>
                        <a:pt x="73376" y="238810"/>
                      </a:lnTo>
                      <a:lnTo>
                        <a:pt x="58674" y="255346"/>
                      </a:lnTo>
                      <a:lnTo>
                        <a:pt x="78108" y="255346"/>
                      </a:lnTo>
                      <a:lnTo>
                        <a:pt x="79923" y="253237"/>
                      </a:lnTo>
                      <a:lnTo>
                        <a:pt x="88273" y="246705"/>
                      </a:lnTo>
                      <a:lnTo>
                        <a:pt x="98018" y="241744"/>
                      </a:lnTo>
                      <a:lnTo>
                        <a:pt x="108182" y="238736"/>
                      </a:lnTo>
                      <a:lnTo>
                        <a:pt x="118643" y="237804"/>
                      </a:lnTo>
                      <a:lnTo>
                        <a:pt x="150712" y="237804"/>
                      </a:lnTo>
                      <a:lnTo>
                        <a:pt x="150914" y="235788"/>
                      </a:lnTo>
                      <a:lnTo>
                        <a:pt x="151438" y="224942"/>
                      </a:lnTo>
                      <a:lnTo>
                        <a:pt x="136360" y="224942"/>
                      </a:lnTo>
                      <a:lnTo>
                        <a:pt x="124960" y="222942"/>
                      </a:lnTo>
                      <a:lnTo>
                        <a:pt x="113867" y="222732"/>
                      </a:lnTo>
                      <a:close/>
                    </a:path>
                    <a:path w="151765" h="281940">
                      <a:moveTo>
                        <a:pt x="150712" y="237804"/>
                      </a:moveTo>
                      <a:lnTo>
                        <a:pt x="118643" y="237804"/>
                      </a:lnTo>
                      <a:lnTo>
                        <a:pt x="129476" y="238944"/>
                      </a:lnTo>
                      <a:lnTo>
                        <a:pt x="140754" y="242150"/>
                      </a:lnTo>
                      <a:lnTo>
                        <a:pt x="149936" y="245529"/>
                      </a:lnTo>
                      <a:lnTo>
                        <a:pt x="150712" y="237804"/>
                      </a:lnTo>
                      <a:close/>
                    </a:path>
                    <a:path w="151765" h="281940">
                      <a:moveTo>
                        <a:pt x="38032" y="18834"/>
                      </a:moveTo>
                      <a:lnTo>
                        <a:pt x="16878" y="18834"/>
                      </a:lnTo>
                      <a:lnTo>
                        <a:pt x="21806" y="22009"/>
                      </a:lnTo>
                      <a:lnTo>
                        <a:pt x="31737" y="35890"/>
                      </a:lnTo>
                      <a:lnTo>
                        <a:pt x="60405" y="76571"/>
                      </a:lnTo>
                      <a:lnTo>
                        <a:pt x="86403" y="117120"/>
                      </a:lnTo>
                      <a:lnTo>
                        <a:pt x="109902" y="157825"/>
                      </a:lnTo>
                      <a:lnTo>
                        <a:pt x="131077" y="198970"/>
                      </a:lnTo>
                      <a:lnTo>
                        <a:pt x="136360" y="224942"/>
                      </a:lnTo>
                      <a:lnTo>
                        <a:pt x="151438" y="224942"/>
                      </a:lnTo>
                      <a:lnTo>
                        <a:pt x="123223" y="150603"/>
                      </a:lnTo>
                      <a:lnTo>
                        <a:pt x="99374" y="109300"/>
                      </a:lnTo>
                      <a:lnTo>
                        <a:pt x="73006" y="68167"/>
                      </a:lnTo>
                      <a:lnTo>
                        <a:pt x="43942" y="26911"/>
                      </a:lnTo>
                      <a:lnTo>
                        <a:pt x="41656" y="23736"/>
                      </a:lnTo>
                      <a:lnTo>
                        <a:pt x="38032" y="18834"/>
                      </a:lnTo>
                      <a:close/>
                    </a:path>
                  </a:pathLst>
                </a:custGeom>
                <a:solidFill>
                  <a:srgbClr val="004876"/>
                </a:solidFill>
              </p:spPr>
              <p:txBody>
                <a:bodyPr wrap="square" lIns="0" tIns="0" rIns="0" bIns="0" rtlCol="0"/>
                <a:lstStyle/>
                <a:p>
                  <a:endParaRPr/>
                </a:p>
              </p:txBody>
            </p:sp>
            <p:pic>
              <p:nvPicPr>
                <p:cNvPr id="38" name="object 80">
                  <a:extLst>
                    <a:ext uri="{FF2B5EF4-FFF2-40B4-BE49-F238E27FC236}">
                      <a16:creationId xmlns:a16="http://schemas.microsoft.com/office/drawing/2014/main" id="{E62B6EA0-8A8B-203F-48E6-2C2F75ABF8AA}"/>
                    </a:ext>
                  </a:extLst>
                </p:cNvPr>
                <p:cNvPicPr/>
                <p:nvPr/>
              </p:nvPicPr>
              <p:blipFill>
                <a:blip r:embed="rId61" cstate="print"/>
                <a:stretch>
                  <a:fillRect/>
                </a:stretch>
              </p:blipFill>
              <p:spPr>
                <a:xfrm>
                  <a:off x="731405" y="792861"/>
                  <a:ext cx="87160" cy="87680"/>
                </a:xfrm>
                <a:prstGeom prst="rect">
                  <a:avLst/>
                </a:prstGeom>
              </p:spPr>
            </p:pic>
            <p:pic>
              <p:nvPicPr>
                <p:cNvPr id="39" name="object 81">
                  <a:extLst>
                    <a:ext uri="{FF2B5EF4-FFF2-40B4-BE49-F238E27FC236}">
                      <a16:creationId xmlns:a16="http://schemas.microsoft.com/office/drawing/2014/main" id="{FB4B711D-CC25-FDD9-CB02-5A6E088ABB87}"/>
                    </a:ext>
                  </a:extLst>
                </p:cNvPr>
                <p:cNvPicPr/>
                <p:nvPr/>
              </p:nvPicPr>
              <p:blipFill>
                <a:blip r:embed="rId62" cstate="print"/>
                <a:stretch>
                  <a:fillRect/>
                </a:stretch>
              </p:blipFill>
              <p:spPr>
                <a:xfrm>
                  <a:off x="723835" y="785375"/>
                  <a:ext cx="102311" cy="102793"/>
                </a:xfrm>
                <a:prstGeom prst="rect">
                  <a:avLst/>
                </a:prstGeom>
              </p:spPr>
            </p:pic>
          </p:grpSp>
        </p:grpSp>
      </p:grpSp>
    </p:spTree>
    <p:extLst>
      <p:ext uri="{BB962C8B-B14F-4D97-AF65-F5344CB8AC3E}">
        <p14:creationId xmlns:p14="http://schemas.microsoft.com/office/powerpoint/2010/main" val="216180311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752AFE5F-5C43-722D-577E-10E0EEED5012}"/>
              </a:ext>
            </a:extLst>
          </p:cNvPr>
          <p:cNvGraphicFramePr>
            <a:graphicFrameLocks noChangeAspect="1"/>
          </p:cNvGraphicFramePr>
          <p:nvPr>
            <p:custDataLst>
              <p:tags r:id="rId1"/>
            </p:custDataLst>
            <p:extLst>
              <p:ext uri="{D42A27DB-BD31-4B8C-83A1-F6EECF244321}">
                <p14:modId xmlns:p14="http://schemas.microsoft.com/office/powerpoint/2010/main" val="8472018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6" name="think-cell data - do not delete" hidden="1">
                        <a:extLst>
                          <a:ext uri="{FF2B5EF4-FFF2-40B4-BE49-F238E27FC236}">
                            <a16:creationId xmlns:a16="http://schemas.microsoft.com/office/drawing/2014/main" id="{752AFE5F-5C43-722D-577E-10E0EEED501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1" name="Rectangle 20">
            <a:extLst>
              <a:ext uri="{FF2B5EF4-FFF2-40B4-BE49-F238E27FC236}">
                <a16:creationId xmlns:a16="http://schemas.microsoft.com/office/drawing/2014/main" id="{8AF97775-41BE-F859-4C36-08DAB497C6C2}"/>
              </a:ext>
            </a:extLst>
          </p:cNvPr>
          <p:cNvSpPr/>
          <p:nvPr/>
        </p:nvSpPr>
        <p:spPr>
          <a:xfrm>
            <a:off x="203200" y="6248400"/>
            <a:ext cx="1259840" cy="589385"/>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US" sz="1400">
              <a:ln>
                <a:noFill/>
              </a:ln>
              <a:solidFill>
                <a:schemeClr val="bg1"/>
              </a:solidFill>
              <a:latin typeface="Century Gothic" panose="020B0502020202020204" pitchFamily="34" charset="0"/>
            </a:endParaRPr>
          </a:p>
        </p:txBody>
      </p:sp>
      <p:sp>
        <p:nvSpPr>
          <p:cNvPr id="2" name="Title 1">
            <a:extLst>
              <a:ext uri="{FF2B5EF4-FFF2-40B4-BE49-F238E27FC236}">
                <a16:creationId xmlns:a16="http://schemas.microsoft.com/office/drawing/2014/main" id="{187822AD-8F73-BF4F-8BB6-579DAFEB4789}"/>
              </a:ext>
            </a:extLst>
          </p:cNvPr>
          <p:cNvSpPr>
            <a:spLocks noGrp="1"/>
          </p:cNvSpPr>
          <p:nvPr>
            <p:ph type="title"/>
          </p:nvPr>
        </p:nvSpPr>
        <p:spPr>
          <a:xfrm>
            <a:off x="382385" y="179388"/>
            <a:ext cx="10438016" cy="708715"/>
          </a:xfrm>
        </p:spPr>
        <p:txBody>
          <a:bodyPr vert="horz"/>
          <a:lstStyle/>
          <a:p>
            <a:r>
              <a:rPr lang="en-GB" sz="2000"/>
              <a:t>The technologies to decarbonise all sectors are reaching commercial maturity; with policy, this is pushing industry to make ambitious commitments to decarbonisation</a:t>
            </a:r>
          </a:p>
        </p:txBody>
      </p:sp>
      <p:sp>
        <p:nvSpPr>
          <p:cNvPr id="7" name="Footer Placeholder 3">
            <a:extLst>
              <a:ext uri="{FF2B5EF4-FFF2-40B4-BE49-F238E27FC236}">
                <a16:creationId xmlns:a16="http://schemas.microsoft.com/office/drawing/2014/main" id="{2F3305E5-F49E-0537-BD67-BEFA4025D6B6}"/>
              </a:ext>
            </a:extLst>
          </p:cNvPr>
          <p:cNvSpPr txBox="1">
            <a:spLocks/>
          </p:cNvSpPr>
          <p:nvPr/>
        </p:nvSpPr>
        <p:spPr>
          <a:xfrm>
            <a:off x="382384" y="6277863"/>
            <a:ext cx="11438313" cy="396000"/>
          </a:xfrm>
          <a:prstGeom prst="rect">
            <a:avLst/>
          </a:prstGeom>
          <a:solidFill>
            <a:schemeClr val="bg1"/>
          </a:solidFill>
        </p:spPr>
        <p:txBody>
          <a:bodyPr lIns="0" tIns="0" rIns="0" bIns="0" anchor="ctr"/>
          <a:lstStyle>
            <a:defPPr>
              <a:defRPr lang="de-DE"/>
            </a:defPPr>
            <a:lvl1pPr marL="0" algn="l" defTabSz="914400" rtl="0" eaLnBrk="1" latinLnBrk="0" hangingPunct="1">
              <a:defRPr sz="900" kern="1200">
                <a:solidFill>
                  <a:schemeClr val="tx1"/>
                </a:solidFill>
                <a:latin typeface="Century Gothic" panose="020B0502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900" i="0">
                <a:effectLst/>
                <a:latin typeface="Century Gothic" panose="020B0502020202020204" pitchFamily="34" charset="0"/>
              </a:rPr>
              <a:t>Note: SMR = Steam Methane Reformation; ATR = Autothermal Reformation; CCS = Carbon Capture and Storage; SAF = Sustainable Aviation Fuel; HEFA = </a:t>
            </a:r>
            <a:r>
              <a:rPr lang="en-US" sz="900" i="0" err="1">
                <a:effectLst/>
                <a:latin typeface="Century Gothic" panose="020B0502020202020204" pitchFamily="34" charset="0"/>
              </a:rPr>
              <a:t>Hydroprocessed</a:t>
            </a:r>
            <a:r>
              <a:rPr lang="en-US" sz="900" i="0">
                <a:effectLst/>
                <a:latin typeface="Century Gothic" panose="020B0502020202020204" pitchFamily="34" charset="0"/>
              </a:rPr>
              <a:t> Esters and Fatty Acids; DRI-EAF = Direct Reduced Iron-Electric Arc Furnace; BF-BOF = Blast </a:t>
            </a:r>
            <a:r>
              <a:rPr lang="en-US" sz="900">
                <a:latin typeface="Century Gothic" panose="020B0502020202020204" pitchFamily="34" charset="0"/>
              </a:rPr>
              <a:t>F</a:t>
            </a:r>
            <a:r>
              <a:rPr lang="en-US" sz="900" i="0">
                <a:effectLst/>
                <a:latin typeface="Century Gothic" panose="020B0502020202020204" pitchFamily="34" charset="0"/>
              </a:rPr>
              <a:t>urnace-Basic Oxygen Furnace; MVR = Mechanical </a:t>
            </a:r>
            <a:r>
              <a:rPr lang="en-US" sz="900" i="0" err="1">
                <a:effectLst/>
                <a:latin typeface="Century Gothic" panose="020B0502020202020204" pitchFamily="34" charset="0"/>
              </a:rPr>
              <a:t>Vapour</a:t>
            </a:r>
            <a:r>
              <a:rPr lang="en-US" sz="900" i="0">
                <a:effectLst/>
                <a:latin typeface="Century Gothic" panose="020B0502020202020204" pitchFamily="34" charset="0"/>
              </a:rPr>
              <a:t> Recompression. EAF = Electric Arc Furnace.</a:t>
            </a:r>
          </a:p>
          <a:p>
            <a:r>
              <a:rPr lang="en-US" sz="900" i="0">
                <a:effectLst/>
                <a:latin typeface="Century Gothic" panose="020B0502020202020204" pitchFamily="34" charset="0"/>
              </a:rPr>
              <a:t>Source: Mission Possible Partnership (2022), </a:t>
            </a:r>
            <a:r>
              <a:rPr lang="en-US" sz="900" i="1">
                <a:effectLst/>
                <a:latin typeface="Century Gothic" panose="020B0502020202020204" pitchFamily="34" charset="0"/>
              </a:rPr>
              <a:t>Sector Transition Strategies (multiple). </a:t>
            </a:r>
            <a:r>
              <a:rPr lang="en-US" sz="900">
                <a:effectLst/>
                <a:latin typeface="Century Gothic" panose="020B0502020202020204" pitchFamily="34" charset="0"/>
              </a:rPr>
              <a:t>World Green Building Council (2019), </a:t>
            </a:r>
            <a:r>
              <a:rPr lang="en-US" sz="900" i="1">
                <a:effectLst/>
                <a:latin typeface="Century Gothic" panose="020B0502020202020204" pitchFamily="34" charset="0"/>
              </a:rPr>
              <a:t>Bringing Embodied Carbon Upfront</a:t>
            </a:r>
            <a:r>
              <a:rPr lang="en-US" sz="900">
                <a:effectLst/>
                <a:latin typeface="Century Gothic" panose="020B0502020202020204" pitchFamily="34" charset="0"/>
              </a:rPr>
              <a:t>. Our World in Data (2020), </a:t>
            </a:r>
            <a:r>
              <a:rPr lang="en-US" sz="900" i="1">
                <a:effectLst/>
                <a:latin typeface="Century Gothic" panose="020B0502020202020204" pitchFamily="34" charset="0"/>
              </a:rPr>
              <a:t>GHG Emissions by Sector</a:t>
            </a:r>
            <a:r>
              <a:rPr lang="en-US" sz="900">
                <a:effectLst/>
                <a:latin typeface="Century Gothic" panose="020B0502020202020204" pitchFamily="34" charset="0"/>
              </a:rPr>
              <a:t>.</a:t>
            </a:r>
            <a:endParaRPr lang="en-US" sz="900" i="1">
              <a:latin typeface="Century Gothic" panose="020B0502020202020204" pitchFamily="34" charset="0"/>
            </a:endParaRPr>
          </a:p>
        </p:txBody>
      </p:sp>
      <p:sp>
        <p:nvSpPr>
          <p:cNvPr id="5" name="Rectangle 4">
            <a:extLst>
              <a:ext uri="{FF2B5EF4-FFF2-40B4-BE49-F238E27FC236}">
                <a16:creationId xmlns:a16="http://schemas.microsoft.com/office/drawing/2014/main" id="{EFFACCC5-1193-FB11-B2AA-9AA49E3A45CA}"/>
              </a:ext>
            </a:extLst>
          </p:cNvPr>
          <p:cNvSpPr>
            <a:spLocks/>
          </p:cNvSpPr>
          <p:nvPr/>
        </p:nvSpPr>
        <p:spPr>
          <a:xfrm>
            <a:off x="3364457" y="1390726"/>
            <a:ext cx="2812026" cy="47865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400" b="1">
                <a:solidFill>
                  <a:schemeClr val="tx1"/>
                </a:solidFill>
                <a:latin typeface="Century Gothic" panose="020B0502020202020204" pitchFamily="34" charset="0"/>
                <a:ea typeface="Calibri" panose="020F0502020204030204" pitchFamily="34" charset="0"/>
              </a:rPr>
              <a:t>Pilot (TRL 5)</a:t>
            </a:r>
            <a:br>
              <a:rPr lang="en-US" sz="1400" b="1">
                <a:solidFill>
                  <a:schemeClr val="tx1"/>
                </a:solidFill>
                <a:latin typeface="Century Gothic" panose="020B0502020202020204" pitchFamily="34" charset="0"/>
                <a:ea typeface="Calibri" panose="020F0502020204030204" pitchFamily="34" charset="0"/>
              </a:rPr>
            </a:br>
            <a:endParaRPr lang="en-US" sz="1400" b="1" i="1">
              <a:solidFill>
                <a:schemeClr val="tx1"/>
              </a:solidFill>
              <a:latin typeface="Century Gothic" panose="020B0502020202020204" pitchFamily="34" charset="0"/>
              <a:ea typeface="Calibri" panose="020F0502020204030204" pitchFamily="34" charset="0"/>
            </a:endParaRPr>
          </a:p>
        </p:txBody>
      </p:sp>
      <p:sp>
        <p:nvSpPr>
          <p:cNvPr id="10" name="Rectangle 9">
            <a:extLst>
              <a:ext uri="{FF2B5EF4-FFF2-40B4-BE49-F238E27FC236}">
                <a16:creationId xmlns:a16="http://schemas.microsoft.com/office/drawing/2014/main" id="{4A88DD9D-DFD3-9973-DF9A-C6FC0779E098}"/>
              </a:ext>
            </a:extLst>
          </p:cNvPr>
          <p:cNvSpPr>
            <a:spLocks/>
          </p:cNvSpPr>
          <p:nvPr/>
        </p:nvSpPr>
        <p:spPr>
          <a:xfrm>
            <a:off x="9147618" y="1390727"/>
            <a:ext cx="2812026" cy="47865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400" b="1">
                <a:solidFill>
                  <a:schemeClr val="tx1"/>
                </a:solidFill>
                <a:latin typeface="Century Gothic" panose="020B0502020202020204" pitchFamily="34" charset="0"/>
                <a:ea typeface="Calibri" panose="020F0502020204030204" pitchFamily="34" charset="0"/>
              </a:rPr>
              <a:t>Full-Scale Commercial (TRL 9)</a:t>
            </a:r>
            <a:endParaRPr lang="en-US" sz="1400">
              <a:solidFill>
                <a:schemeClr val="tx1"/>
              </a:solidFill>
              <a:latin typeface="Century Gothic" panose="020B0502020202020204" pitchFamily="34" charset="0"/>
            </a:endParaRPr>
          </a:p>
        </p:txBody>
      </p:sp>
      <p:sp>
        <p:nvSpPr>
          <p:cNvPr id="9" name="Rectangle 8">
            <a:extLst>
              <a:ext uri="{FF2B5EF4-FFF2-40B4-BE49-F238E27FC236}">
                <a16:creationId xmlns:a16="http://schemas.microsoft.com/office/drawing/2014/main" id="{8E0BA630-D15D-E0F6-D011-1828957C04A5}"/>
              </a:ext>
            </a:extLst>
          </p:cNvPr>
          <p:cNvSpPr>
            <a:spLocks/>
          </p:cNvSpPr>
          <p:nvPr/>
        </p:nvSpPr>
        <p:spPr>
          <a:xfrm>
            <a:off x="6260071" y="1390727"/>
            <a:ext cx="2812026" cy="47865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400" b="1">
                <a:solidFill>
                  <a:schemeClr val="tx1"/>
                </a:solidFill>
                <a:latin typeface="Century Gothic" panose="020B0502020202020204" pitchFamily="34" charset="0"/>
                <a:ea typeface="Calibri" panose="020F0502020204030204" pitchFamily="34" charset="0"/>
              </a:rPr>
              <a:t>Demonstrator (TRL 7)</a:t>
            </a:r>
            <a:br>
              <a:rPr lang="en-US" sz="1400" b="1">
                <a:solidFill>
                  <a:schemeClr val="tx1"/>
                </a:solidFill>
                <a:latin typeface="Century Gothic" panose="020B0502020202020204" pitchFamily="34" charset="0"/>
                <a:ea typeface="Calibri" panose="020F0502020204030204" pitchFamily="34" charset="0"/>
              </a:rPr>
            </a:br>
            <a:endParaRPr lang="en-US" sz="1400" b="1">
              <a:solidFill>
                <a:schemeClr val="tx1"/>
              </a:solidFill>
              <a:latin typeface="Century Gothic" panose="020B0502020202020204" pitchFamily="34" charset="0"/>
            </a:endParaRPr>
          </a:p>
        </p:txBody>
      </p:sp>
      <p:cxnSp>
        <p:nvCxnSpPr>
          <p:cNvPr id="12" name="Straight Arrow Connector 11">
            <a:extLst>
              <a:ext uri="{FF2B5EF4-FFF2-40B4-BE49-F238E27FC236}">
                <a16:creationId xmlns:a16="http://schemas.microsoft.com/office/drawing/2014/main" id="{0B1422CF-0DF0-6DEB-ED7C-88F2CF196DE8}"/>
              </a:ext>
            </a:extLst>
          </p:cNvPr>
          <p:cNvCxnSpPr>
            <a:cxnSpLocks/>
          </p:cNvCxnSpPr>
          <p:nvPr/>
        </p:nvCxnSpPr>
        <p:spPr>
          <a:xfrm>
            <a:off x="3364457" y="1313530"/>
            <a:ext cx="8568750" cy="2992"/>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4A552F59-F374-BB57-7F5D-023FF2D8C9DC}"/>
              </a:ext>
            </a:extLst>
          </p:cNvPr>
          <p:cNvSpPr txBox="1">
            <a:spLocks/>
          </p:cNvSpPr>
          <p:nvPr/>
        </p:nvSpPr>
        <p:spPr>
          <a:xfrm>
            <a:off x="3273507" y="1012894"/>
            <a:ext cx="4796074" cy="307777"/>
          </a:xfrm>
          <a:prstGeom prst="rect">
            <a:avLst/>
          </a:prstGeom>
          <a:noFill/>
        </p:spPr>
        <p:txBody>
          <a:bodyPr wrap="square" rtlCol="0">
            <a:spAutoFit/>
          </a:bodyPr>
          <a:lstStyle/>
          <a:p>
            <a:r>
              <a:rPr lang="en-US" sz="1400" b="1">
                <a:latin typeface="Century Gothic" panose="020B0502020202020204" pitchFamily="34" charset="0"/>
              </a:rPr>
              <a:t>Technological readiness of decarbonisation solutions</a:t>
            </a:r>
          </a:p>
        </p:txBody>
      </p:sp>
      <p:sp>
        <p:nvSpPr>
          <p:cNvPr id="14" name="Rectangle 13">
            <a:extLst>
              <a:ext uri="{FF2B5EF4-FFF2-40B4-BE49-F238E27FC236}">
                <a16:creationId xmlns:a16="http://schemas.microsoft.com/office/drawing/2014/main" id="{B2473B0A-A116-B508-B7F6-1602EC028991}"/>
              </a:ext>
            </a:extLst>
          </p:cNvPr>
          <p:cNvSpPr>
            <a:spLocks/>
          </p:cNvSpPr>
          <p:nvPr/>
        </p:nvSpPr>
        <p:spPr>
          <a:xfrm>
            <a:off x="605913" y="3045462"/>
            <a:ext cx="1121726" cy="39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200" b="1">
                <a:solidFill>
                  <a:schemeClr val="tx2"/>
                </a:solidFill>
                <a:latin typeface="Century Gothic" panose="020B0502020202020204" pitchFamily="34" charset="0"/>
              </a:rPr>
              <a:t>Aviation</a:t>
            </a:r>
          </a:p>
        </p:txBody>
      </p:sp>
      <p:sp>
        <p:nvSpPr>
          <p:cNvPr id="15" name="Rectangle: Rounded Corners 14">
            <a:extLst>
              <a:ext uri="{FF2B5EF4-FFF2-40B4-BE49-F238E27FC236}">
                <a16:creationId xmlns:a16="http://schemas.microsoft.com/office/drawing/2014/main" id="{3C948C2B-B2C1-6726-5F99-D753F259C3E3}"/>
              </a:ext>
            </a:extLst>
          </p:cNvPr>
          <p:cNvSpPr>
            <a:spLocks/>
          </p:cNvSpPr>
          <p:nvPr/>
        </p:nvSpPr>
        <p:spPr>
          <a:xfrm>
            <a:off x="3438470" y="3031505"/>
            <a:ext cx="2664000" cy="439747"/>
          </a:xfrm>
          <a:prstGeom prst="roundRect">
            <a:avLst/>
          </a:prstGeom>
          <a:solidFill>
            <a:schemeClr val="accent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200">
                <a:solidFill>
                  <a:schemeClr val="bg1"/>
                </a:solidFill>
                <a:latin typeface="Century Gothic" panose="020B0502020202020204" pitchFamily="34" charset="0"/>
              </a:rPr>
              <a:t>Hydrogen, Battery Aircraft</a:t>
            </a:r>
          </a:p>
          <a:p>
            <a:pPr algn="ctr"/>
            <a:r>
              <a:rPr lang="en-US" sz="1200">
                <a:solidFill>
                  <a:schemeClr val="bg1"/>
                </a:solidFill>
                <a:latin typeface="Century Gothic" panose="020B0502020202020204" pitchFamily="34" charset="0"/>
              </a:rPr>
              <a:t>Power-to-Liquid SAF</a:t>
            </a:r>
          </a:p>
        </p:txBody>
      </p:sp>
      <p:sp>
        <p:nvSpPr>
          <p:cNvPr id="16" name="Rectangle: Rounded Corners 15">
            <a:extLst>
              <a:ext uri="{FF2B5EF4-FFF2-40B4-BE49-F238E27FC236}">
                <a16:creationId xmlns:a16="http://schemas.microsoft.com/office/drawing/2014/main" id="{A2CCA9CD-222C-A077-3F87-0C6C13F04056}"/>
              </a:ext>
            </a:extLst>
          </p:cNvPr>
          <p:cNvSpPr>
            <a:spLocks/>
          </p:cNvSpPr>
          <p:nvPr/>
        </p:nvSpPr>
        <p:spPr>
          <a:xfrm>
            <a:off x="3438470" y="5365276"/>
            <a:ext cx="2664000" cy="255159"/>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Century Gothic" panose="020B0502020202020204" pitchFamily="34" charset="0"/>
              </a:rPr>
              <a:t>Alternative chemistries</a:t>
            </a:r>
          </a:p>
        </p:txBody>
      </p:sp>
      <p:sp>
        <p:nvSpPr>
          <p:cNvPr id="22" name="Rectangle 21">
            <a:extLst>
              <a:ext uri="{FF2B5EF4-FFF2-40B4-BE49-F238E27FC236}">
                <a16:creationId xmlns:a16="http://schemas.microsoft.com/office/drawing/2014/main" id="{89410CB5-7E8A-79C3-9E93-F19A5F01619A}"/>
              </a:ext>
            </a:extLst>
          </p:cNvPr>
          <p:cNvSpPr>
            <a:spLocks/>
          </p:cNvSpPr>
          <p:nvPr/>
        </p:nvSpPr>
        <p:spPr>
          <a:xfrm>
            <a:off x="605913" y="5294857"/>
            <a:ext cx="1121726" cy="39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200" b="1">
                <a:solidFill>
                  <a:schemeClr val="tx2"/>
                </a:solidFill>
                <a:latin typeface="Century Gothic" panose="020B0502020202020204" pitchFamily="34" charset="0"/>
              </a:rPr>
              <a:t>Cement / Concrete</a:t>
            </a:r>
          </a:p>
        </p:txBody>
      </p:sp>
      <p:sp>
        <p:nvSpPr>
          <p:cNvPr id="24" name="Rectangle 23">
            <a:extLst>
              <a:ext uri="{FF2B5EF4-FFF2-40B4-BE49-F238E27FC236}">
                <a16:creationId xmlns:a16="http://schemas.microsoft.com/office/drawing/2014/main" id="{725CCF50-D406-43FB-818E-1C2D4EE3839B}"/>
              </a:ext>
            </a:extLst>
          </p:cNvPr>
          <p:cNvSpPr>
            <a:spLocks/>
          </p:cNvSpPr>
          <p:nvPr/>
        </p:nvSpPr>
        <p:spPr>
          <a:xfrm>
            <a:off x="605913" y="5744737"/>
            <a:ext cx="1121726" cy="39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200" b="1">
                <a:solidFill>
                  <a:schemeClr val="tx2"/>
                </a:solidFill>
                <a:latin typeface="Century Gothic" panose="020B0502020202020204" pitchFamily="34" charset="0"/>
              </a:rPr>
              <a:t>Shipping</a:t>
            </a:r>
          </a:p>
        </p:txBody>
      </p:sp>
      <p:sp>
        <p:nvSpPr>
          <p:cNvPr id="25" name="Rectangle 24">
            <a:extLst>
              <a:ext uri="{FF2B5EF4-FFF2-40B4-BE49-F238E27FC236}">
                <a16:creationId xmlns:a16="http://schemas.microsoft.com/office/drawing/2014/main" id="{72C33766-40BB-D349-22C7-8BDDB482FEE3}"/>
              </a:ext>
            </a:extLst>
          </p:cNvPr>
          <p:cNvSpPr>
            <a:spLocks/>
          </p:cNvSpPr>
          <p:nvPr/>
        </p:nvSpPr>
        <p:spPr>
          <a:xfrm>
            <a:off x="605913" y="4395099"/>
            <a:ext cx="1121726" cy="39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200" b="1">
                <a:solidFill>
                  <a:schemeClr val="tx2"/>
                </a:solidFill>
                <a:latin typeface="Century Gothic" panose="020B0502020202020204" pitchFamily="34" charset="0"/>
              </a:rPr>
              <a:t>Aluminium</a:t>
            </a:r>
          </a:p>
        </p:txBody>
      </p:sp>
      <p:sp>
        <p:nvSpPr>
          <p:cNvPr id="26" name="Rectangle 25">
            <a:extLst>
              <a:ext uri="{FF2B5EF4-FFF2-40B4-BE49-F238E27FC236}">
                <a16:creationId xmlns:a16="http://schemas.microsoft.com/office/drawing/2014/main" id="{0A69A4BF-FE82-8823-4733-79D0E7E71454}"/>
              </a:ext>
            </a:extLst>
          </p:cNvPr>
          <p:cNvSpPr>
            <a:spLocks/>
          </p:cNvSpPr>
          <p:nvPr/>
        </p:nvSpPr>
        <p:spPr>
          <a:xfrm>
            <a:off x="605913" y="4844978"/>
            <a:ext cx="1121726" cy="39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200" b="1">
                <a:solidFill>
                  <a:schemeClr val="tx2"/>
                </a:solidFill>
                <a:latin typeface="Century Gothic" panose="020B0502020202020204" pitchFamily="34" charset="0"/>
              </a:rPr>
              <a:t>Ammonia</a:t>
            </a:r>
          </a:p>
        </p:txBody>
      </p:sp>
      <p:grpSp>
        <p:nvGrpSpPr>
          <p:cNvPr id="27" name="Group 26">
            <a:extLst>
              <a:ext uri="{FF2B5EF4-FFF2-40B4-BE49-F238E27FC236}">
                <a16:creationId xmlns:a16="http://schemas.microsoft.com/office/drawing/2014/main" id="{6CC3C639-8009-1DB4-9E85-B72A37430E03}"/>
              </a:ext>
            </a:extLst>
          </p:cNvPr>
          <p:cNvGrpSpPr>
            <a:grpSpLocks/>
          </p:cNvGrpSpPr>
          <p:nvPr/>
        </p:nvGrpSpPr>
        <p:grpSpPr>
          <a:xfrm>
            <a:off x="382384" y="5316155"/>
            <a:ext cx="353404" cy="353404"/>
            <a:chOff x="7162980" y="1525584"/>
            <a:chExt cx="1157337" cy="1183352"/>
          </a:xfrm>
        </p:grpSpPr>
        <p:sp>
          <p:nvSpPr>
            <p:cNvPr id="28" name="Oval 27">
              <a:extLst>
                <a:ext uri="{FF2B5EF4-FFF2-40B4-BE49-F238E27FC236}">
                  <a16:creationId xmlns:a16="http://schemas.microsoft.com/office/drawing/2014/main" id="{75FE5B06-4870-9464-907D-064B4CA44469}"/>
                </a:ext>
              </a:extLst>
            </p:cNvPr>
            <p:cNvSpPr/>
            <p:nvPr/>
          </p:nvSpPr>
          <p:spPr>
            <a:xfrm>
              <a:off x="7162980" y="1525584"/>
              <a:ext cx="1157337" cy="1183352"/>
            </a:xfrm>
            <a:prstGeom prst="ellipse">
              <a:avLst/>
            </a:prstGeom>
            <a:solidFill>
              <a:srgbClr val="9AAA6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Century Gothic" panose="020B0502020202020204" pitchFamily="34" charset="0"/>
              </a:endParaRPr>
            </a:p>
          </p:txBody>
        </p:sp>
        <p:pic>
          <p:nvPicPr>
            <p:cNvPr id="29" name="Picture 28">
              <a:extLst>
                <a:ext uri="{FF2B5EF4-FFF2-40B4-BE49-F238E27FC236}">
                  <a16:creationId xmlns:a16="http://schemas.microsoft.com/office/drawing/2014/main" id="{7A4C3FD8-ABCC-66A7-931B-57BDBA2CF68E}"/>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7385545" y="1869668"/>
              <a:ext cx="712204" cy="495185"/>
            </a:xfrm>
            <a:prstGeom prst="rect">
              <a:avLst/>
            </a:prstGeom>
          </p:spPr>
        </p:pic>
      </p:grpSp>
      <p:grpSp>
        <p:nvGrpSpPr>
          <p:cNvPr id="30" name="Group 29">
            <a:extLst>
              <a:ext uri="{FF2B5EF4-FFF2-40B4-BE49-F238E27FC236}">
                <a16:creationId xmlns:a16="http://schemas.microsoft.com/office/drawing/2014/main" id="{7FAE95D6-50CA-87A1-0A30-55C4AAEEE1EA}"/>
              </a:ext>
            </a:extLst>
          </p:cNvPr>
          <p:cNvGrpSpPr>
            <a:grpSpLocks/>
          </p:cNvGrpSpPr>
          <p:nvPr/>
        </p:nvGrpSpPr>
        <p:grpSpPr>
          <a:xfrm>
            <a:off x="382384" y="5766035"/>
            <a:ext cx="353404" cy="353404"/>
            <a:chOff x="549142" y="1525581"/>
            <a:chExt cx="1157336" cy="1179577"/>
          </a:xfrm>
        </p:grpSpPr>
        <p:sp>
          <p:nvSpPr>
            <p:cNvPr id="31" name="Oval 30">
              <a:extLst>
                <a:ext uri="{FF2B5EF4-FFF2-40B4-BE49-F238E27FC236}">
                  <a16:creationId xmlns:a16="http://schemas.microsoft.com/office/drawing/2014/main" id="{10A3A941-CBC7-3F87-0DAC-84F06582E723}"/>
                </a:ext>
              </a:extLst>
            </p:cNvPr>
            <p:cNvSpPr/>
            <p:nvPr/>
          </p:nvSpPr>
          <p:spPr>
            <a:xfrm>
              <a:off x="549142" y="1525581"/>
              <a:ext cx="1157336" cy="1179577"/>
            </a:xfrm>
            <a:prstGeom prst="ellipse">
              <a:avLst/>
            </a:prstGeom>
            <a:solidFill>
              <a:srgbClr val="1780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Century Gothic" panose="020B0502020202020204" pitchFamily="34" charset="0"/>
              </a:endParaRPr>
            </a:p>
          </p:txBody>
        </p:sp>
        <p:pic>
          <p:nvPicPr>
            <p:cNvPr id="32" name="Picture 31">
              <a:extLst>
                <a:ext uri="{FF2B5EF4-FFF2-40B4-BE49-F238E27FC236}">
                  <a16:creationId xmlns:a16="http://schemas.microsoft.com/office/drawing/2014/main" id="{ED4083EC-8973-32B1-2F8A-430F974676E9}"/>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780652" y="1931812"/>
              <a:ext cx="694313" cy="367116"/>
            </a:xfrm>
            <a:prstGeom prst="rect">
              <a:avLst/>
            </a:prstGeom>
          </p:spPr>
        </p:pic>
      </p:grpSp>
      <p:grpSp>
        <p:nvGrpSpPr>
          <p:cNvPr id="33" name="Group 32">
            <a:extLst>
              <a:ext uri="{FF2B5EF4-FFF2-40B4-BE49-F238E27FC236}">
                <a16:creationId xmlns:a16="http://schemas.microsoft.com/office/drawing/2014/main" id="{506516F7-3A2C-4BE4-FE33-FC625416FCEA}"/>
              </a:ext>
            </a:extLst>
          </p:cNvPr>
          <p:cNvGrpSpPr>
            <a:grpSpLocks/>
          </p:cNvGrpSpPr>
          <p:nvPr/>
        </p:nvGrpSpPr>
        <p:grpSpPr>
          <a:xfrm>
            <a:off x="382385" y="3066761"/>
            <a:ext cx="353403" cy="353403"/>
            <a:chOff x="2222185" y="1525580"/>
            <a:chExt cx="1157336" cy="1183350"/>
          </a:xfrm>
        </p:grpSpPr>
        <p:sp>
          <p:nvSpPr>
            <p:cNvPr id="34" name="Oval 33">
              <a:extLst>
                <a:ext uri="{FF2B5EF4-FFF2-40B4-BE49-F238E27FC236}">
                  <a16:creationId xmlns:a16="http://schemas.microsoft.com/office/drawing/2014/main" id="{57894E74-548F-00CF-30C3-D2CFA4253F93}"/>
                </a:ext>
              </a:extLst>
            </p:cNvPr>
            <p:cNvSpPr/>
            <p:nvPr/>
          </p:nvSpPr>
          <p:spPr>
            <a:xfrm>
              <a:off x="2222185" y="1525580"/>
              <a:ext cx="1157336" cy="1183350"/>
            </a:xfrm>
            <a:prstGeom prst="ellipse">
              <a:avLst/>
            </a:prstGeom>
            <a:solidFill>
              <a:srgbClr val="346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Century Gothic" panose="020B0502020202020204" pitchFamily="34" charset="0"/>
              </a:endParaRPr>
            </a:p>
          </p:txBody>
        </p:sp>
        <p:pic>
          <p:nvPicPr>
            <p:cNvPr id="35" name="Picture 34">
              <a:extLst>
                <a:ext uri="{FF2B5EF4-FFF2-40B4-BE49-F238E27FC236}">
                  <a16:creationId xmlns:a16="http://schemas.microsoft.com/office/drawing/2014/main" id="{08941BE9-4D09-BBA5-1F58-58AC412392BE}"/>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2525182" y="1835387"/>
              <a:ext cx="551340" cy="563735"/>
            </a:xfrm>
            <a:prstGeom prst="rect">
              <a:avLst/>
            </a:prstGeom>
          </p:spPr>
        </p:pic>
      </p:grpSp>
      <p:grpSp>
        <p:nvGrpSpPr>
          <p:cNvPr id="36" name="Group 35">
            <a:extLst>
              <a:ext uri="{FF2B5EF4-FFF2-40B4-BE49-F238E27FC236}">
                <a16:creationId xmlns:a16="http://schemas.microsoft.com/office/drawing/2014/main" id="{BB2A8AD0-7F80-16AD-0CA3-A73DE99D7545}"/>
              </a:ext>
            </a:extLst>
          </p:cNvPr>
          <p:cNvGrpSpPr>
            <a:grpSpLocks/>
          </p:cNvGrpSpPr>
          <p:nvPr/>
        </p:nvGrpSpPr>
        <p:grpSpPr>
          <a:xfrm>
            <a:off x="382385" y="4416397"/>
            <a:ext cx="353403" cy="353403"/>
            <a:chOff x="5517330" y="1525582"/>
            <a:chExt cx="1157336" cy="1183351"/>
          </a:xfrm>
        </p:grpSpPr>
        <p:sp>
          <p:nvSpPr>
            <p:cNvPr id="37" name="Oval 36">
              <a:extLst>
                <a:ext uri="{FF2B5EF4-FFF2-40B4-BE49-F238E27FC236}">
                  <a16:creationId xmlns:a16="http://schemas.microsoft.com/office/drawing/2014/main" id="{A7A95790-564D-64DA-5431-B873CC499E0F}"/>
                </a:ext>
              </a:extLst>
            </p:cNvPr>
            <p:cNvSpPr/>
            <p:nvPr/>
          </p:nvSpPr>
          <p:spPr>
            <a:xfrm>
              <a:off x="5517330" y="1525582"/>
              <a:ext cx="1157336" cy="1183351"/>
            </a:xfrm>
            <a:prstGeom prst="ellipse">
              <a:avLst/>
            </a:prstGeom>
            <a:solidFill>
              <a:srgbClr val="2B365F">
                <a:lumMod val="60000"/>
                <a:lumOff val="40000"/>
              </a:srgbClr>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prstClr val="white"/>
                </a:solidFill>
                <a:effectLst/>
                <a:uLnTx/>
                <a:uFillTx/>
                <a:latin typeface="Century Gothic" panose="020B0502020202020204" pitchFamily="34" charset="0"/>
              </a:endParaRPr>
            </a:p>
          </p:txBody>
        </p:sp>
        <p:pic>
          <p:nvPicPr>
            <p:cNvPr id="40" name="Picture 39">
              <a:extLst>
                <a:ext uri="{FF2B5EF4-FFF2-40B4-BE49-F238E27FC236}">
                  <a16:creationId xmlns:a16="http://schemas.microsoft.com/office/drawing/2014/main" id="{D0416C6E-A713-48F7-795A-96224F3DB7E4}"/>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5746123" y="1917980"/>
              <a:ext cx="699750" cy="398555"/>
            </a:xfrm>
            <a:prstGeom prst="rect">
              <a:avLst/>
            </a:prstGeom>
          </p:spPr>
        </p:pic>
      </p:grpSp>
      <p:grpSp>
        <p:nvGrpSpPr>
          <p:cNvPr id="41" name="Group 40">
            <a:extLst>
              <a:ext uri="{FF2B5EF4-FFF2-40B4-BE49-F238E27FC236}">
                <a16:creationId xmlns:a16="http://schemas.microsoft.com/office/drawing/2014/main" id="{7CA4ADBF-3EE5-0ED5-C470-CDAFA67EE0F1}"/>
              </a:ext>
            </a:extLst>
          </p:cNvPr>
          <p:cNvGrpSpPr>
            <a:grpSpLocks/>
          </p:cNvGrpSpPr>
          <p:nvPr/>
        </p:nvGrpSpPr>
        <p:grpSpPr>
          <a:xfrm>
            <a:off x="382385" y="4866276"/>
            <a:ext cx="353403" cy="353403"/>
            <a:chOff x="8811088" y="1525580"/>
            <a:chExt cx="1157336" cy="1183350"/>
          </a:xfrm>
        </p:grpSpPr>
        <p:sp>
          <p:nvSpPr>
            <p:cNvPr id="42" name="Oval 41">
              <a:extLst>
                <a:ext uri="{FF2B5EF4-FFF2-40B4-BE49-F238E27FC236}">
                  <a16:creationId xmlns:a16="http://schemas.microsoft.com/office/drawing/2014/main" id="{3488EB07-8E74-5D73-A809-4C30FFD1399B}"/>
                </a:ext>
              </a:extLst>
            </p:cNvPr>
            <p:cNvSpPr/>
            <p:nvPr/>
          </p:nvSpPr>
          <p:spPr>
            <a:xfrm>
              <a:off x="8811088" y="1525580"/>
              <a:ext cx="1157336" cy="1183350"/>
            </a:xfrm>
            <a:prstGeom prst="ellipse">
              <a:avLst/>
            </a:prstGeom>
            <a:solidFill>
              <a:srgbClr val="A696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Century Gothic" panose="020B0502020202020204" pitchFamily="34" charset="0"/>
              </a:endParaRPr>
            </a:p>
          </p:txBody>
        </p:sp>
        <p:pic>
          <p:nvPicPr>
            <p:cNvPr id="53" name="Picture 52">
              <a:extLst>
                <a:ext uri="{FF2B5EF4-FFF2-40B4-BE49-F238E27FC236}">
                  <a16:creationId xmlns:a16="http://schemas.microsoft.com/office/drawing/2014/main" id="{40401EDC-024B-083A-E443-7EE7080AF8A4}"/>
                </a:ext>
              </a:extLst>
            </p:cNvPr>
            <p:cNvPicPr>
              <a:picLocks noChangeAspect="1"/>
            </p:cNvPicPr>
            <p:nvPr/>
          </p:nvPicPr>
          <p:blipFill>
            <a:blip r:embed="rId10"/>
            <a:stretch>
              <a:fillRect/>
            </a:stretch>
          </p:blipFill>
          <p:spPr>
            <a:xfrm>
              <a:off x="9097845" y="1819000"/>
              <a:ext cx="583819" cy="596513"/>
            </a:xfrm>
            <a:prstGeom prst="rect">
              <a:avLst/>
            </a:prstGeom>
          </p:spPr>
        </p:pic>
      </p:grpSp>
      <p:sp>
        <p:nvSpPr>
          <p:cNvPr id="54" name="Rectangle: Rounded Corners 53">
            <a:extLst>
              <a:ext uri="{FF2B5EF4-FFF2-40B4-BE49-F238E27FC236}">
                <a16:creationId xmlns:a16="http://schemas.microsoft.com/office/drawing/2014/main" id="{DCE34776-B6DE-A310-814B-88F3218EF4B7}"/>
              </a:ext>
            </a:extLst>
          </p:cNvPr>
          <p:cNvSpPr>
            <a:spLocks/>
          </p:cNvSpPr>
          <p:nvPr/>
        </p:nvSpPr>
        <p:spPr>
          <a:xfrm>
            <a:off x="3438470" y="5762185"/>
            <a:ext cx="2664000" cy="353987"/>
          </a:xfrm>
          <a:prstGeom prst="roundRect">
            <a:avLst/>
          </a:prstGeom>
          <a:solidFill>
            <a:schemeClr val="accent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200">
                <a:solidFill>
                  <a:schemeClr val="bg1"/>
                </a:solidFill>
                <a:latin typeface="Century Gothic" panose="020B0502020202020204" pitchFamily="34" charset="0"/>
              </a:rPr>
              <a:t>Ammonia- and Methanol-native Vessels</a:t>
            </a:r>
          </a:p>
        </p:txBody>
      </p:sp>
      <p:sp>
        <p:nvSpPr>
          <p:cNvPr id="55" name="Rectangle: Rounded Corners 54">
            <a:extLst>
              <a:ext uri="{FF2B5EF4-FFF2-40B4-BE49-F238E27FC236}">
                <a16:creationId xmlns:a16="http://schemas.microsoft.com/office/drawing/2014/main" id="{A3EC4D37-658A-C507-1557-62DB3C6F7101}"/>
              </a:ext>
            </a:extLst>
          </p:cNvPr>
          <p:cNvSpPr>
            <a:spLocks/>
          </p:cNvSpPr>
          <p:nvPr/>
        </p:nvSpPr>
        <p:spPr>
          <a:xfrm>
            <a:off x="6334084" y="4864901"/>
            <a:ext cx="2664000" cy="353987"/>
          </a:xfrm>
          <a:prstGeom prst="roundRect">
            <a:avLst/>
          </a:prstGeom>
          <a:solidFill>
            <a:schemeClr val="accent2">
              <a:lumMod val="75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200">
                <a:solidFill>
                  <a:schemeClr val="bg1"/>
                </a:solidFill>
                <a:latin typeface="Century Gothic" panose="020B0502020202020204" pitchFamily="34" charset="0"/>
              </a:rPr>
              <a:t>Methane Pyrolysis</a:t>
            </a:r>
          </a:p>
        </p:txBody>
      </p:sp>
      <p:sp>
        <p:nvSpPr>
          <p:cNvPr id="103" name="Rectangle: Rounded Corners 102">
            <a:extLst>
              <a:ext uri="{FF2B5EF4-FFF2-40B4-BE49-F238E27FC236}">
                <a16:creationId xmlns:a16="http://schemas.microsoft.com/office/drawing/2014/main" id="{C2049FBF-1A78-2B70-27FC-6934EC0E953D}"/>
              </a:ext>
            </a:extLst>
          </p:cNvPr>
          <p:cNvSpPr>
            <a:spLocks/>
          </p:cNvSpPr>
          <p:nvPr/>
        </p:nvSpPr>
        <p:spPr>
          <a:xfrm>
            <a:off x="6334084" y="4465519"/>
            <a:ext cx="2664000" cy="255159"/>
          </a:xfrm>
          <a:prstGeom prst="roundRect">
            <a:avLst/>
          </a:prstGeom>
          <a:solidFill>
            <a:schemeClr val="accent2">
              <a:lumMod val="75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200">
                <a:solidFill>
                  <a:schemeClr val="bg1"/>
                </a:solidFill>
                <a:latin typeface="Century Gothic" panose="020B0502020202020204" pitchFamily="34" charset="0"/>
              </a:rPr>
              <a:t>Inert Anodes, MVR</a:t>
            </a:r>
          </a:p>
        </p:txBody>
      </p:sp>
      <p:sp>
        <p:nvSpPr>
          <p:cNvPr id="105" name="Rectangle: Rounded Corners 104">
            <a:extLst>
              <a:ext uri="{FF2B5EF4-FFF2-40B4-BE49-F238E27FC236}">
                <a16:creationId xmlns:a16="http://schemas.microsoft.com/office/drawing/2014/main" id="{016B2BCF-331F-87C7-6121-5441DE958E99}"/>
              </a:ext>
            </a:extLst>
          </p:cNvPr>
          <p:cNvSpPr>
            <a:spLocks/>
          </p:cNvSpPr>
          <p:nvPr/>
        </p:nvSpPr>
        <p:spPr>
          <a:xfrm>
            <a:off x="6334084" y="5365276"/>
            <a:ext cx="2664000" cy="255159"/>
          </a:xfrm>
          <a:prstGeom prst="roundRect">
            <a:avLst/>
          </a:prstGeom>
          <a:solidFill>
            <a:schemeClr val="accent2">
              <a:lumMod val="75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200">
                <a:solidFill>
                  <a:schemeClr val="bg1"/>
                </a:solidFill>
                <a:latin typeface="Century Gothic" panose="020B0502020202020204" pitchFamily="34" charset="0"/>
              </a:rPr>
              <a:t>Carbon </a:t>
            </a:r>
            <a:r>
              <a:rPr lang="en-US" sz="1200" err="1">
                <a:solidFill>
                  <a:schemeClr val="bg1"/>
                </a:solidFill>
                <a:latin typeface="Century Gothic" panose="020B0502020202020204" pitchFamily="34" charset="0"/>
              </a:rPr>
              <a:t>Mineralisation</a:t>
            </a:r>
            <a:endParaRPr lang="en-US" sz="1200">
              <a:solidFill>
                <a:schemeClr val="bg1"/>
              </a:solidFill>
              <a:latin typeface="Century Gothic" panose="020B0502020202020204" pitchFamily="34" charset="0"/>
            </a:endParaRPr>
          </a:p>
        </p:txBody>
      </p:sp>
      <p:sp>
        <p:nvSpPr>
          <p:cNvPr id="106" name="Rectangle: Rounded Corners 105">
            <a:extLst>
              <a:ext uri="{FF2B5EF4-FFF2-40B4-BE49-F238E27FC236}">
                <a16:creationId xmlns:a16="http://schemas.microsoft.com/office/drawing/2014/main" id="{A5B5A48A-B5C9-DEC7-1E96-FBDCF702C0D2}"/>
              </a:ext>
            </a:extLst>
          </p:cNvPr>
          <p:cNvSpPr>
            <a:spLocks/>
          </p:cNvSpPr>
          <p:nvPr/>
        </p:nvSpPr>
        <p:spPr>
          <a:xfrm>
            <a:off x="6334084" y="3123799"/>
            <a:ext cx="2664000" cy="255159"/>
          </a:xfrm>
          <a:prstGeom prst="roundRect">
            <a:avLst/>
          </a:prstGeom>
          <a:solidFill>
            <a:schemeClr val="accent2">
              <a:lumMod val="75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200">
                <a:solidFill>
                  <a:schemeClr val="bg1"/>
                </a:solidFill>
                <a:latin typeface="Century Gothic" panose="020B0502020202020204" pitchFamily="34" charset="0"/>
              </a:rPr>
              <a:t>Non-HEFA Biofuels</a:t>
            </a:r>
          </a:p>
        </p:txBody>
      </p:sp>
      <p:sp>
        <p:nvSpPr>
          <p:cNvPr id="107" name="Rectangle: Rounded Corners 106">
            <a:extLst>
              <a:ext uri="{FF2B5EF4-FFF2-40B4-BE49-F238E27FC236}">
                <a16:creationId xmlns:a16="http://schemas.microsoft.com/office/drawing/2014/main" id="{47BF76AB-91E5-E048-74CA-ECA9EBAEA904}"/>
              </a:ext>
            </a:extLst>
          </p:cNvPr>
          <p:cNvSpPr>
            <a:spLocks/>
          </p:cNvSpPr>
          <p:nvPr/>
        </p:nvSpPr>
        <p:spPr>
          <a:xfrm>
            <a:off x="9221632" y="3123799"/>
            <a:ext cx="2664000" cy="255159"/>
          </a:xfrm>
          <a:prstGeom prst="roundRect">
            <a:avLst/>
          </a:prstGeom>
          <a:solidFill>
            <a:schemeClr val="accent2">
              <a:lumMod val="50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200">
                <a:solidFill>
                  <a:schemeClr val="bg1"/>
                </a:solidFill>
                <a:latin typeface="Century Gothic" panose="020B0502020202020204" pitchFamily="34" charset="0"/>
              </a:rPr>
              <a:t>HEFA Biofuels</a:t>
            </a:r>
          </a:p>
        </p:txBody>
      </p:sp>
      <p:sp>
        <p:nvSpPr>
          <p:cNvPr id="108" name="Rectangle 107">
            <a:extLst>
              <a:ext uri="{FF2B5EF4-FFF2-40B4-BE49-F238E27FC236}">
                <a16:creationId xmlns:a16="http://schemas.microsoft.com/office/drawing/2014/main" id="{A14CEA0E-531E-4589-0E25-02EA788A2490}"/>
              </a:ext>
            </a:extLst>
          </p:cNvPr>
          <p:cNvSpPr>
            <a:spLocks/>
          </p:cNvSpPr>
          <p:nvPr/>
        </p:nvSpPr>
        <p:spPr>
          <a:xfrm>
            <a:off x="605913" y="3495342"/>
            <a:ext cx="1121726" cy="39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200" b="1">
                <a:solidFill>
                  <a:schemeClr val="tx2"/>
                </a:solidFill>
                <a:latin typeface="Century Gothic" panose="020B0502020202020204" pitchFamily="34" charset="0"/>
              </a:rPr>
              <a:t>Trucking</a:t>
            </a:r>
          </a:p>
        </p:txBody>
      </p:sp>
      <p:grpSp>
        <p:nvGrpSpPr>
          <p:cNvPr id="109" name="Group 108">
            <a:extLst>
              <a:ext uri="{FF2B5EF4-FFF2-40B4-BE49-F238E27FC236}">
                <a16:creationId xmlns:a16="http://schemas.microsoft.com/office/drawing/2014/main" id="{2035A29B-6725-B6D1-096F-A5765A63CBE7}"/>
              </a:ext>
            </a:extLst>
          </p:cNvPr>
          <p:cNvGrpSpPr>
            <a:grpSpLocks/>
          </p:cNvGrpSpPr>
          <p:nvPr/>
        </p:nvGrpSpPr>
        <p:grpSpPr>
          <a:xfrm>
            <a:off x="382385" y="3516640"/>
            <a:ext cx="353403" cy="353403"/>
            <a:chOff x="3870303" y="1525581"/>
            <a:chExt cx="1157338" cy="1183350"/>
          </a:xfrm>
        </p:grpSpPr>
        <p:sp>
          <p:nvSpPr>
            <p:cNvPr id="110" name="Oval 109">
              <a:extLst>
                <a:ext uri="{FF2B5EF4-FFF2-40B4-BE49-F238E27FC236}">
                  <a16:creationId xmlns:a16="http://schemas.microsoft.com/office/drawing/2014/main" id="{168EE250-D43C-0781-B089-2DFE023659A7}"/>
                </a:ext>
              </a:extLst>
            </p:cNvPr>
            <p:cNvSpPr/>
            <p:nvPr/>
          </p:nvSpPr>
          <p:spPr>
            <a:xfrm>
              <a:off x="3870303" y="1525581"/>
              <a:ext cx="1157338" cy="1183350"/>
            </a:xfrm>
            <a:prstGeom prst="ellipse">
              <a:avLst/>
            </a:prstGeom>
            <a:solidFill>
              <a:srgbClr val="E86A6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Century Gothic" panose="020B0502020202020204" pitchFamily="34" charset="0"/>
              </a:endParaRPr>
            </a:p>
          </p:txBody>
        </p:sp>
        <p:pic>
          <p:nvPicPr>
            <p:cNvPr id="111" name="Picture 110">
              <a:extLst>
                <a:ext uri="{FF2B5EF4-FFF2-40B4-BE49-F238E27FC236}">
                  <a16:creationId xmlns:a16="http://schemas.microsoft.com/office/drawing/2014/main" id="{F8F1D7A3-A3D0-3AD0-F895-378372D17322}"/>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4103641" y="1937155"/>
              <a:ext cx="690660" cy="360202"/>
            </a:xfrm>
            <a:prstGeom prst="rect">
              <a:avLst/>
            </a:prstGeom>
          </p:spPr>
        </p:pic>
      </p:grpSp>
      <p:sp>
        <p:nvSpPr>
          <p:cNvPr id="112" name="Rectangle: Rounded Corners 111">
            <a:extLst>
              <a:ext uri="{FF2B5EF4-FFF2-40B4-BE49-F238E27FC236}">
                <a16:creationId xmlns:a16="http://schemas.microsoft.com/office/drawing/2014/main" id="{AD870EC3-517D-4FBB-EE61-2AA59F8AB6F8}"/>
              </a:ext>
            </a:extLst>
          </p:cNvPr>
          <p:cNvSpPr>
            <a:spLocks/>
          </p:cNvSpPr>
          <p:nvPr/>
        </p:nvSpPr>
        <p:spPr>
          <a:xfrm>
            <a:off x="6334084" y="3565762"/>
            <a:ext cx="2664000" cy="255159"/>
          </a:xfrm>
          <a:prstGeom prst="roundRect">
            <a:avLst/>
          </a:prstGeom>
          <a:solidFill>
            <a:schemeClr val="accent2">
              <a:lumMod val="75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200">
                <a:solidFill>
                  <a:schemeClr val="bg1"/>
                </a:solidFill>
                <a:latin typeface="Century Gothic" panose="020B0502020202020204" pitchFamily="34" charset="0"/>
              </a:rPr>
              <a:t>Hydrogen Heavy Trucks</a:t>
            </a:r>
          </a:p>
        </p:txBody>
      </p:sp>
      <p:sp>
        <p:nvSpPr>
          <p:cNvPr id="113" name="Rectangle: Rounded Corners 112">
            <a:extLst>
              <a:ext uri="{FF2B5EF4-FFF2-40B4-BE49-F238E27FC236}">
                <a16:creationId xmlns:a16="http://schemas.microsoft.com/office/drawing/2014/main" id="{7FEF4FD9-4BF5-FD12-1B7A-320F3911B9C4}"/>
              </a:ext>
            </a:extLst>
          </p:cNvPr>
          <p:cNvSpPr>
            <a:spLocks/>
          </p:cNvSpPr>
          <p:nvPr/>
        </p:nvSpPr>
        <p:spPr>
          <a:xfrm>
            <a:off x="9221632" y="3565761"/>
            <a:ext cx="2664000" cy="255159"/>
          </a:xfrm>
          <a:prstGeom prst="roundRect">
            <a:avLst/>
          </a:prstGeom>
          <a:solidFill>
            <a:schemeClr val="accent2">
              <a:lumMod val="50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200">
                <a:solidFill>
                  <a:schemeClr val="bg1"/>
                </a:solidFill>
                <a:latin typeface="Century Gothic" panose="020B0502020202020204" pitchFamily="34" charset="0"/>
              </a:rPr>
              <a:t>Battery Electric Mid/Heavy Trucks</a:t>
            </a:r>
          </a:p>
        </p:txBody>
      </p:sp>
      <p:sp>
        <p:nvSpPr>
          <p:cNvPr id="114" name="Rectangle 113">
            <a:extLst>
              <a:ext uri="{FF2B5EF4-FFF2-40B4-BE49-F238E27FC236}">
                <a16:creationId xmlns:a16="http://schemas.microsoft.com/office/drawing/2014/main" id="{C41A986B-1B6C-9945-23BF-DFCE9CBF4288}"/>
              </a:ext>
            </a:extLst>
          </p:cNvPr>
          <p:cNvSpPr>
            <a:spLocks/>
          </p:cNvSpPr>
          <p:nvPr/>
        </p:nvSpPr>
        <p:spPr>
          <a:xfrm>
            <a:off x="605913" y="3945220"/>
            <a:ext cx="1121726" cy="39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200" b="1">
                <a:solidFill>
                  <a:schemeClr val="tx2"/>
                </a:solidFill>
                <a:latin typeface="Century Gothic" panose="020B0502020202020204" pitchFamily="34" charset="0"/>
              </a:rPr>
              <a:t>Steel</a:t>
            </a:r>
          </a:p>
        </p:txBody>
      </p:sp>
      <p:grpSp>
        <p:nvGrpSpPr>
          <p:cNvPr id="115" name="Group 114">
            <a:extLst>
              <a:ext uri="{FF2B5EF4-FFF2-40B4-BE49-F238E27FC236}">
                <a16:creationId xmlns:a16="http://schemas.microsoft.com/office/drawing/2014/main" id="{043889D7-7D39-A435-C156-D476B8241BB5}"/>
              </a:ext>
            </a:extLst>
          </p:cNvPr>
          <p:cNvGrpSpPr>
            <a:grpSpLocks/>
          </p:cNvGrpSpPr>
          <p:nvPr/>
        </p:nvGrpSpPr>
        <p:grpSpPr>
          <a:xfrm>
            <a:off x="382385" y="3966518"/>
            <a:ext cx="353403" cy="353403"/>
            <a:chOff x="691874" y="2459365"/>
            <a:chExt cx="499157" cy="497740"/>
          </a:xfrm>
        </p:grpSpPr>
        <p:sp>
          <p:nvSpPr>
            <p:cNvPr id="116" name="Oval 115">
              <a:extLst>
                <a:ext uri="{FF2B5EF4-FFF2-40B4-BE49-F238E27FC236}">
                  <a16:creationId xmlns:a16="http://schemas.microsoft.com/office/drawing/2014/main" id="{F50D7F9C-9656-8645-39AA-6F4587CA7524}"/>
                </a:ext>
              </a:extLst>
            </p:cNvPr>
            <p:cNvSpPr/>
            <p:nvPr/>
          </p:nvSpPr>
          <p:spPr>
            <a:xfrm>
              <a:off x="691874" y="2459365"/>
              <a:ext cx="499157" cy="497740"/>
            </a:xfrm>
            <a:prstGeom prst="ellipse">
              <a:avLst/>
            </a:prstGeom>
            <a:solidFill>
              <a:srgbClr val="F2C6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Century Gothic" panose="020B0502020202020204" pitchFamily="34" charset="0"/>
              </a:endParaRPr>
            </a:p>
          </p:txBody>
        </p:sp>
        <p:pic>
          <p:nvPicPr>
            <p:cNvPr id="117" name="Picture 116">
              <a:extLst>
                <a:ext uri="{FF2B5EF4-FFF2-40B4-BE49-F238E27FC236}">
                  <a16:creationId xmlns:a16="http://schemas.microsoft.com/office/drawing/2014/main" id="{72F749E5-6B80-E692-07DF-7511467AF9D1}"/>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830295" y="2558285"/>
              <a:ext cx="222315" cy="299901"/>
            </a:xfrm>
            <a:prstGeom prst="rect">
              <a:avLst/>
            </a:prstGeom>
          </p:spPr>
        </p:pic>
      </p:grpSp>
      <p:sp>
        <p:nvSpPr>
          <p:cNvPr id="118" name="Rectangle: Rounded Corners 117">
            <a:extLst>
              <a:ext uri="{FF2B5EF4-FFF2-40B4-BE49-F238E27FC236}">
                <a16:creationId xmlns:a16="http://schemas.microsoft.com/office/drawing/2014/main" id="{8985B5F3-37DC-081F-F68A-E26218A159B6}"/>
              </a:ext>
            </a:extLst>
          </p:cNvPr>
          <p:cNvSpPr>
            <a:spLocks/>
          </p:cNvSpPr>
          <p:nvPr/>
        </p:nvSpPr>
        <p:spPr>
          <a:xfrm>
            <a:off x="6334084" y="3970626"/>
            <a:ext cx="2664000" cy="353987"/>
          </a:xfrm>
          <a:prstGeom prst="roundRect">
            <a:avLst/>
          </a:prstGeom>
          <a:solidFill>
            <a:schemeClr val="accent2">
              <a:lumMod val="75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200">
                <a:solidFill>
                  <a:schemeClr val="bg1"/>
                </a:solidFill>
                <a:latin typeface="Century Gothic" panose="020B0502020202020204" pitchFamily="34" charset="0"/>
              </a:rPr>
              <a:t>H</a:t>
            </a:r>
            <a:r>
              <a:rPr lang="en-US" sz="1200" baseline="-25000">
                <a:solidFill>
                  <a:schemeClr val="bg1"/>
                </a:solidFill>
                <a:latin typeface="Century Gothic" panose="020B0502020202020204" pitchFamily="34" charset="0"/>
              </a:rPr>
              <a:t>2</a:t>
            </a:r>
            <a:r>
              <a:rPr lang="en-US" sz="1200">
                <a:solidFill>
                  <a:schemeClr val="bg1"/>
                </a:solidFill>
                <a:latin typeface="Century Gothic" panose="020B0502020202020204" pitchFamily="34" charset="0"/>
              </a:rPr>
              <a:t>-based DRI-EAF, BF-BOF + CCS, Smelting Reduction + CCS</a:t>
            </a:r>
          </a:p>
        </p:txBody>
      </p:sp>
      <p:sp>
        <p:nvSpPr>
          <p:cNvPr id="120" name="Rectangle 119">
            <a:extLst>
              <a:ext uri="{FF2B5EF4-FFF2-40B4-BE49-F238E27FC236}">
                <a16:creationId xmlns:a16="http://schemas.microsoft.com/office/drawing/2014/main" id="{35977FE1-C1B4-7F81-4F82-35AF94CB324A}"/>
              </a:ext>
            </a:extLst>
          </p:cNvPr>
          <p:cNvSpPr>
            <a:spLocks/>
          </p:cNvSpPr>
          <p:nvPr/>
        </p:nvSpPr>
        <p:spPr>
          <a:xfrm>
            <a:off x="605913" y="2145704"/>
            <a:ext cx="1121726" cy="39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200" b="1">
                <a:solidFill>
                  <a:schemeClr val="tx2"/>
                </a:solidFill>
                <a:latin typeface="Century Gothic" panose="020B0502020202020204" pitchFamily="34" charset="0"/>
              </a:rPr>
              <a:t>Buildings</a:t>
            </a:r>
          </a:p>
        </p:txBody>
      </p:sp>
      <p:sp>
        <p:nvSpPr>
          <p:cNvPr id="121" name="Rectangle: Rounded Corners 120">
            <a:extLst>
              <a:ext uri="{FF2B5EF4-FFF2-40B4-BE49-F238E27FC236}">
                <a16:creationId xmlns:a16="http://schemas.microsoft.com/office/drawing/2014/main" id="{49CD5BDA-D8D6-D1F4-7AC1-9C8FA825283E}"/>
              </a:ext>
            </a:extLst>
          </p:cNvPr>
          <p:cNvSpPr>
            <a:spLocks/>
          </p:cNvSpPr>
          <p:nvPr/>
        </p:nvSpPr>
        <p:spPr>
          <a:xfrm>
            <a:off x="9221632" y="2169425"/>
            <a:ext cx="2664000" cy="353987"/>
          </a:xfrm>
          <a:prstGeom prst="roundRect">
            <a:avLst/>
          </a:prstGeom>
          <a:solidFill>
            <a:schemeClr val="accent2">
              <a:lumMod val="50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200">
                <a:solidFill>
                  <a:schemeClr val="bg1"/>
                </a:solidFill>
                <a:latin typeface="Century Gothic" panose="020B0502020202020204" pitchFamily="34" charset="0"/>
              </a:rPr>
              <a:t>Residential Heat Pumps, Electric Boilers</a:t>
            </a:r>
          </a:p>
        </p:txBody>
      </p:sp>
      <p:grpSp>
        <p:nvGrpSpPr>
          <p:cNvPr id="122" name="Group 121">
            <a:extLst>
              <a:ext uri="{FF2B5EF4-FFF2-40B4-BE49-F238E27FC236}">
                <a16:creationId xmlns:a16="http://schemas.microsoft.com/office/drawing/2014/main" id="{EFCA06BC-4413-3DC7-844B-6AC2EA569256}"/>
              </a:ext>
            </a:extLst>
          </p:cNvPr>
          <p:cNvGrpSpPr>
            <a:grpSpLocks/>
          </p:cNvGrpSpPr>
          <p:nvPr/>
        </p:nvGrpSpPr>
        <p:grpSpPr>
          <a:xfrm>
            <a:off x="382385" y="2167003"/>
            <a:ext cx="353403" cy="353403"/>
            <a:chOff x="101150" y="1894778"/>
            <a:chExt cx="353403" cy="353403"/>
          </a:xfrm>
        </p:grpSpPr>
        <p:sp>
          <p:nvSpPr>
            <p:cNvPr id="123" name="Oval 122">
              <a:extLst>
                <a:ext uri="{FF2B5EF4-FFF2-40B4-BE49-F238E27FC236}">
                  <a16:creationId xmlns:a16="http://schemas.microsoft.com/office/drawing/2014/main" id="{6BDD3F71-A74F-F4A8-81FE-75B63A5377D0}"/>
                </a:ext>
              </a:extLst>
            </p:cNvPr>
            <p:cNvSpPr>
              <a:spLocks/>
            </p:cNvSpPr>
            <p:nvPr/>
          </p:nvSpPr>
          <p:spPr>
            <a:xfrm>
              <a:off x="101150" y="1894778"/>
              <a:ext cx="353403" cy="353403"/>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Century Gothic" panose="020B0502020202020204" pitchFamily="34" charset="0"/>
              </a:endParaRPr>
            </a:p>
          </p:txBody>
        </p:sp>
        <p:pic>
          <p:nvPicPr>
            <p:cNvPr id="124" name="Graphic 123" descr="Home with solid fill">
              <a:extLst>
                <a:ext uri="{FF2B5EF4-FFF2-40B4-BE49-F238E27FC236}">
                  <a16:creationId xmlns:a16="http://schemas.microsoft.com/office/drawing/2014/main" id="{AFCEB781-D90B-DA8F-46B0-DCDE36BAA918}"/>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49503" y="1911233"/>
              <a:ext cx="277960" cy="277960"/>
            </a:xfrm>
            <a:prstGeom prst="rect">
              <a:avLst/>
            </a:prstGeom>
          </p:spPr>
        </p:pic>
      </p:grpSp>
      <p:grpSp>
        <p:nvGrpSpPr>
          <p:cNvPr id="125" name="Group 124">
            <a:extLst>
              <a:ext uri="{FF2B5EF4-FFF2-40B4-BE49-F238E27FC236}">
                <a16:creationId xmlns:a16="http://schemas.microsoft.com/office/drawing/2014/main" id="{CF0E0DEF-F43C-8C1A-4DDB-3AC3F08F9E73}"/>
              </a:ext>
            </a:extLst>
          </p:cNvPr>
          <p:cNvGrpSpPr>
            <a:grpSpLocks/>
          </p:cNvGrpSpPr>
          <p:nvPr/>
        </p:nvGrpSpPr>
        <p:grpSpPr>
          <a:xfrm>
            <a:off x="382385" y="2616882"/>
            <a:ext cx="353403" cy="353403"/>
            <a:chOff x="105226" y="2387618"/>
            <a:chExt cx="353403" cy="353403"/>
          </a:xfrm>
        </p:grpSpPr>
        <p:sp>
          <p:nvSpPr>
            <p:cNvPr id="126" name="Oval 125">
              <a:extLst>
                <a:ext uri="{FF2B5EF4-FFF2-40B4-BE49-F238E27FC236}">
                  <a16:creationId xmlns:a16="http://schemas.microsoft.com/office/drawing/2014/main" id="{D31040B2-481B-D468-6265-190F42E7310E}"/>
                </a:ext>
              </a:extLst>
            </p:cNvPr>
            <p:cNvSpPr>
              <a:spLocks/>
            </p:cNvSpPr>
            <p:nvPr/>
          </p:nvSpPr>
          <p:spPr>
            <a:xfrm>
              <a:off x="105226" y="2387618"/>
              <a:ext cx="353403" cy="353403"/>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Century Gothic" panose="020B0502020202020204" pitchFamily="34" charset="0"/>
              </a:endParaRPr>
            </a:p>
          </p:txBody>
        </p:sp>
        <p:pic>
          <p:nvPicPr>
            <p:cNvPr id="127" name="Graphic 126" descr="Factory outline">
              <a:extLst>
                <a:ext uri="{FF2B5EF4-FFF2-40B4-BE49-F238E27FC236}">
                  <a16:creationId xmlns:a16="http://schemas.microsoft.com/office/drawing/2014/main" id="{754C1541-AAAF-CDC6-F4BE-DCFC1F2255B6}"/>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148803" y="2431195"/>
              <a:ext cx="266248" cy="266248"/>
            </a:xfrm>
            <a:prstGeom prst="rect">
              <a:avLst/>
            </a:prstGeom>
          </p:spPr>
        </p:pic>
      </p:grpSp>
      <p:sp>
        <p:nvSpPr>
          <p:cNvPr id="128" name="Rectangle 127">
            <a:extLst>
              <a:ext uri="{FF2B5EF4-FFF2-40B4-BE49-F238E27FC236}">
                <a16:creationId xmlns:a16="http://schemas.microsoft.com/office/drawing/2014/main" id="{026F15AF-5A6C-A53D-C02D-DCB96330CC60}"/>
              </a:ext>
            </a:extLst>
          </p:cNvPr>
          <p:cNvSpPr>
            <a:spLocks/>
          </p:cNvSpPr>
          <p:nvPr/>
        </p:nvSpPr>
        <p:spPr>
          <a:xfrm>
            <a:off x="612212" y="2595584"/>
            <a:ext cx="1121726" cy="39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200" b="1">
                <a:solidFill>
                  <a:schemeClr val="tx2"/>
                </a:solidFill>
                <a:latin typeface="Century Gothic" panose="020B0502020202020204" pitchFamily="34" charset="0"/>
              </a:rPr>
              <a:t>Light Industry</a:t>
            </a:r>
          </a:p>
        </p:txBody>
      </p:sp>
      <p:sp>
        <p:nvSpPr>
          <p:cNvPr id="129" name="Rectangle: Rounded Corners 128">
            <a:extLst>
              <a:ext uri="{FF2B5EF4-FFF2-40B4-BE49-F238E27FC236}">
                <a16:creationId xmlns:a16="http://schemas.microsoft.com/office/drawing/2014/main" id="{34685BD4-E94A-1D33-0D8E-94CE1182D8D7}"/>
              </a:ext>
            </a:extLst>
          </p:cNvPr>
          <p:cNvSpPr>
            <a:spLocks/>
          </p:cNvSpPr>
          <p:nvPr/>
        </p:nvSpPr>
        <p:spPr>
          <a:xfrm>
            <a:off x="9221632" y="2674220"/>
            <a:ext cx="2664000" cy="255159"/>
          </a:xfrm>
          <a:prstGeom prst="roundRect">
            <a:avLst/>
          </a:prstGeom>
          <a:solidFill>
            <a:schemeClr val="accent2">
              <a:lumMod val="50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200">
                <a:solidFill>
                  <a:schemeClr val="bg1"/>
                </a:solidFill>
                <a:latin typeface="Century Gothic" panose="020B0502020202020204" pitchFamily="34" charset="0"/>
              </a:rPr>
              <a:t>Industrial Heat Pumps</a:t>
            </a:r>
          </a:p>
        </p:txBody>
      </p:sp>
      <p:sp>
        <p:nvSpPr>
          <p:cNvPr id="130" name="Rectangle: Rounded Corners 129">
            <a:extLst>
              <a:ext uri="{FF2B5EF4-FFF2-40B4-BE49-F238E27FC236}">
                <a16:creationId xmlns:a16="http://schemas.microsoft.com/office/drawing/2014/main" id="{54CD1B09-242B-2BF0-B311-531241A69491}"/>
              </a:ext>
            </a:extLst>
          </p:cNvPr>
          <p:cNvSpPr>
            <a:spLocks/>
          </p:cNvSpPr>
          <p:nvPr/>
        </p:nvSpPr>
        <p:spPr>
          <a:xfrm>
            <a:off x="6334084" y="2674220"/>
            <a:ext cx="2664000" cy="255159"/>
          </a:xfrm>
          <a:prstGeom prst="roundRect">
            <a:avLst/>
          </a:prstGeom>
          <a:solidFill>
            <a:schemeClr val="accent2">
              <a:lumMod val="75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200">
                <a:solidFill>
                  <a:schemeClr val="bg1"/>
                </a:solidFill>
                <a:latin typeface="Century Gothic" panose="020B0502020202020204" pitchFamily="34" charset="0"/>
              </a:rPr>
              <a:t>Thermal Energy Storage</a:t>
            </a:r>
          </a:p>
        </p:txBody>
      </p:sp>
      <p:sp>
        <p:nvSpPr>
          <p:cNvPr id="131" name="Rectangle 130">
            <a:extLst>
              <a:ext uri="{FF2B5EF4-FFF2-40B4-BE49-F238E27FC236}">
                <a16:creationId xmlns:a16="http://schemas.microsoft.com/office/drawing/2014/main" id="{17239AB7-3346-EA4B-91A0-AC30B4B5A47B}"/>
              </a:ext>
            </a:extLst>
          </p:cNvPr>
          <p:cNvSpPr>
            <a:spLocks/>
          </p:cNvSpPr>
          <p:nvPr/>
        </p:nvSpPr>
        <p:spPr>
          <a:xfrm>
            <a:off x="605913" y="1695825"/>
            <a:ext cx="1121726" cy="39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200" b="1">
                <a:solidFill>
                  <a:schemeClr val="tx2"/>
                </a:solidFill>
                <a:latin typeface="Century Gothic" panose="020B0502020202020204" pitchFamily="34" charset="0"/>
              </a:rPr>
              <a:t>Clean Hydrogen</a:t>
            </a:r>
          </a:p>
        </p:txBody>
      </p:sp>
      <p:sp>
        <p:nvSpPr>
          <p:cNvPr id="132" name="Rectangle: Rounded Corners 131">
            <a:extLst>
              <a:ext uri="{FF2B5EF4-FFF2-40B4-BE49-F238E27FC236}">
                <a16:creationId xmlns:a16="http://schemas.microsoft.com/office/drawing/2014/main" id="{01521C65-08C7-0871-F384-01A427A004A0}"/>
              </a:ext>
            </a:extLst>
          </p:cNvPr>
          <p:cNvSpPr>
            <a:spLocks/>
          </p:cNvSpPr>
          <p:nvPr/>
        </p:nvSpPr>
        <p:spPr>
          <a:xfrm>
            <a:off x="9221632" y="1783492"/>
            <a:ext cx="2664000" cy="255159"/>
          </a:xfrm>
          <a:prstGeom prst="roundRect">
            <a:avLst/>
          </a:prstGeom>
          <a:solidFill>
            <a:schemeClr val="accent2">
              <a:lumMod val="50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200">
                <a:solidFill>
                  <a:schemeClr val="bg1"/>
                </a:solidFill>
                <a:latin typeface="Century Gothic" panose="020B0502020202020204" pitchFamily="34" charset="0"/>
              </a:rPr>
              <a:t>Electrolysers, SMR/ATR + CCS</a:t>
            </a:r>
          </a:p>
        </p:txBody>
      </p:sp>
      <p:grpSp>
        <p:nvGrpSpPr>
          <p:cNvPr id="133" name="Group 132">
            <a:extLst>
              <a:ext uri="{FF2B5EF4-FFF2-40B4-BE49-F238E27FC236}">
                <a16:creationId xmlns:a16="http://schemas.microsoft.com/office/drawing/2014/main" id="{9A78285B-9EEB-11B4-0730-E9D7C942C2C5}"/>
              </a:ext>
            </a:extLst>
          </p:cNvPr>
          <p:cNvGrpSpPr>
            <a:grpSpLocks/>
          </p:cNvGrpSpPr>
          <p:nvPr/>
        </p:nvGrpSpPr>
        <p:grpSpPr>
          <a:xfrm>
            <a:off x="382385" y="1717124"/>
            <a:ext cx="353403" cy="353403"/>
            <a:chOff x="109848" y="1654021"/>
            <a:chExt cx="353403" cy="353403"/>
          </a:xfrm>
        </p:grpSpPr>
        <p:sp>
          <p:nvSpPr>
            <p:cNvPr id="134" name="Oval 133">
              <a:extLst>
                <a:ext uri="{FF2B5EF4-FFF2-40B4-BE49-F238E27FC236}">
                  <a16:creationId xmlns:a16="http://schemas.microsoft.com/office/drawing/2014/main" id="{137ABAFD-E10D-EF8B-E8B0-EFC611620116}"/>
                </a:ext>
              </a:extLst>
            </p:cNvPr>
            <p:cNvSpPr>
              <a:spLocks/>
            </p:cNvSpPr>
            <p:nvPr/>
          </p:nvSpPr>
          <p:spPr>
            <a:xfrm>
              <a:off x="109848" y="1654021"/>
              <a:ext cx="353403" cy="353403"/>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Century Gothic" panose="020B0502020202020204" pitchFamily="34" charset="0"/>
              </a:endParaRPr>
            </a:p>
          </p:txBody>
        </p:sp>
        <p:grpSp>
          <p:nvGrpSpPr>
            <p:cNvPr id="135" name="Group 134">
              <a:extLst>
                <a:ext uri="{FF2B5EF4-FFF2-40B4-BE49-F238E27FC236}">
                  <a16:creationId xmlns:a16="http://schemas.microsoft.com/office/drawing/2014/main" id="{B28B16CB-5506-98BB-36DE-9E0569C571D6}"/>
                </a:ext>
              </a:extLst>
            </p:cNvPr>
            <p:cNvGrpSpPr>
              <a:grpSpLocks/>
            </p:cNvGrpSpPr>
            <p:nvPr/>
          </p:nvGrpSpPr>
          <p:grpSpPr>
            <a:xfrm>
              <a:off x="169549" y="1697246"/>
              <a:ext cx="234000" cy="255000"/>
              <a:chOff x="169549" y="1719638"/>
              <a:chExt cx="234000" cy="255000"/>
            </a:xfrm>
          </p:grpSpPr>
          <p:sp>
            <p:nvSpPr>
              <p:cNvPr id="136" name="Oval 135">
                <a:extLst>
                  <a:ext uri="{FF2B5EF4-FFF2-40B4-BE49-F238E27FC236}">
                    <a16:creationId xmlns:a16="http://schemas.microsoft.com/office/drawing/2014/main" id="{67082276-74CA-DCC8-4546-C12BBE5DB767}"/>
                  </a:ext>
                </a:extLst>
              </p:cNvPr>
              <p:cNvSpPr>
                <a:spLocks noChangeAspect="1"/>
              </p:cNvSpPr>
              <p:nvPr/>
            </p:nvSpPr>
            <p:spPr>
              <a:xfrm>
                <a:off x="169549" y="1740638"/>
                <a:ext cx="234000" cy="23400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a:ln>
                    <a:noFill/>
                  </a:ln>
                  <a:solidFill>
                    <a:schemeClr val="bg1"/>
                  </a:solidFill>
                  <a:latin typeface="Century Gothic" panose="020B0502020202020204" pitchFamily="34" charset="0"/>
                </a:endParaRPr>
              </a:p>
            </p:txBody>
          </p:sp>
          <p:sp>
            <p:nvSpPr>
              <p:cNvPr id="137" name="Oval 136">
                <a:extLst>
                  <a:ext uri="{FF2B5EF4-FFF2-40B4-BE49-F238E27FC236}">
                    <a16:creationId xmlns:a16="http://schemas.microsoft.com/office/drawing/2014/main" id="{26ACAEAA-3F29-9FD0-1C08-8808AF3E9F49}"/>
                  </a:ext>
                </a:extLst>
              </p:cNvPr>
              <p:cNvSpPr>
                <a:spLocks noChangeAspect="1"/>
              </p:cNvSpPr>
              <p:nvPr/>
            </p:nvSpPr>
            <p:spPr>
              <a:xfrm>
                <a:off x="252141" y="1823230"/>
                <a:ext cx="68816" cy="68816"/>
              </a:xfrm>
              <a:prstGeom prst="ellipse">
                <a:avLst/>
              </a:prstGeom>
              <a:solidFill>
                <a:schemeClr val="bg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a:ln>
                    <a:noFill/>
                  </a:ln>
                  <a:solidFill>
                    <a:schemeClr val="bg1"/>
                  </a:solidFill>
                  <a:latin typeface="Century Gothic" panose="020B0502020202020204" pitchFamily="34" charset="0"/>
                </a:endParaRPr>
              </a:p>
            </p:txBody>
          </p:sp>
          <p:sp>
            <p:nvSpPr>
              <p:cNvPr id="138" name="Oval 137">
                <a:extLst>
                  <a:ext uri="{FF2B5EF4-FFF2-40B4-BE49-F238E27FC236}">
                    <a16:creationId xmlns:a16="http://schemas.microsoft.com/office/drawing/2014/main" id="{DA747EE0-3E1D-8AC4-E75F-97D96832416A}"/>
                  </a:ext>
                </a:extLst>
              </p:cNvPr>
              <p:cNvSpPr>
                <a:spLocks noChangeAspect="1"/>
              </p:cNvSpPr>
              <p:nvPr/>
            </p:nvSpPr>
            <p:spPr>
              <a:xfrm>
                <a:off x="261275" y="1719638"/>
                <a:ext cx="50549" cy="50549"/>
              </a:xfrm>
              <a:prstGeom prst="ellipse">
                <a:avLst/>
              </a:prstGeom>
              <a:solidFill>
                <a:schemeClr val="bg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a:ln>
                    <a:noFill/>
                  </a:ln>
                  <a:solidFill>
                    <a:schemeClr val="bg1"/>
                  </a:solidFill>
                  <a:latin typeface="Century Gothic" panose="020B0502020202020204" pitchFamily="34" charset="0"/>
                </a:endParaRPr>
              </a:p>
            </p:txBody>
          </p:sp>
        </p:grpSp>
      </p:grpSp>
      <p:cxnSp>
        <p:nvCxnSpPr>
          <p:cNvPr id="153" name="Straight Connector 152">
            <a:extLst>
              <a:ext uri="{FF2B5EF4-FFF2-40B4-BE49-F238E27FC236}">
                <a16:creationId xmlns:a16="http://schemas.microsoft.com/office/drawing/2014/main" id="{491190B6-87B2-A1F0-0D1B-696926210B7D}"/>
              </a:ext>
            </a:extLst>
          </p:cNvPr>
          <p:cNvCxnSpPr>
            <a:cxnSpLocks/>
          </p:cNvCxnSpPr>
          <p:nvPr/>
        </p:nvCxnSpPr>
        <p:spPr>
          <a:xfrm>
            <a:off x="382384" y="1315026"/>
            <a:ext cx="1261631"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55" name="TextBox 154">
            <a:extLst>
              <a:ext uri="{FF2B5EF4-FFF2-40B4-BE49-F238E27FC236}">
                <a16:creationId xmlns:a16="http://schemas.microsoft.com/office/drawing/2014/main" id="{0459ADAE-3EC9-6CBF-C575-6F5C1ECD7EE8}"/>
              </a:ext>
            </a:extLst>
          </p:cNvPr>
          <p:cNvSpPr txBox="1">
            <a:spLocks/>
          </p:cNvSpPr>
          <p:nvPr/>
        </p:nvSpPr>
        <p:spPr>
          <a:xfrm>
            <a:off x="290944" y="1012894"/>
            <a:ext cx="833674" cy="307777"/>
          </a:xfrm>
          <a:prstGeom prst="rect">
            <a:avLst/>
          </a:prstGeom>
          <a:noFill/>
        </p:spPr>
        <p:txBody>
          <a:bodyPr wrap="square" rtlCol="0">
            <a:spAutoFit/>
          </a:bodyPr>
          <a:lstStyle/>
          <a:p>
            <a:r>
              <a:rPr lang="en-US" sz="1400" b="1">
                <a:latin typeface="Century Gothic" panose="020B0502020202020204" pitchFamily="34" charset="0"/>
              </a:rPr>
              <a:t>Sectors</a:t>
            </a:r>
          </a:p>
        </p:txBody>
      </p:sp>
      <p:cxnSp>
        <p:nvCxnSpPr>
          <p:cNvPr id="157" name="Straight Connector 156">
            <a:extLst>
              <a:ext uri="{FF2B5EF4-FFF2-40B4-BE49-F238E27FC236}">
                <a16:creationId xmlns:a16="http://schemas.microsoft.com/office/drawing/2014/main" id="{84C0EE85-13F2-C552-5253-D3D5940103AA}"/>
              </a:ext>
            </a:extLst>
          </p:cNvPr>
          <p:cNvCxnSpPr>
            <a:cxnSpLocks/>
          </p:cNvCxnSpPr>
          <p:nvPr/>
        </p:nvCxnSpPr>
        <p:spPr>
          <a:xfrm>
            <a:off x="1727639" y="1315026"/>
            <a:ext cx="1587061"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59" name="TextBox 158">
            <a:extLst>
              <a:ext uri="{FF2B5EF4-FFF2-40B4-BE49-F238E27FC236}">
                <a16:creationId xmlns:a16="http://schemas.microsoft.com/office/drawing/2014/main" id="{F24801C3-46B6-C49B-9E5D-1605679F5C83}"/>
              </a:ext>
            </a:extLst>
          </p:cNvPr>
          <p:cNvSpPr txBox="1">
            <a:spLocks/>
          </p:cNvSpPr>
          <p:nvPr/>
        </p:nvSpPr>
        <p:spPr>
          <a:xfrm>
            <a:off x="1636689" y="823508"/>
            <a:ext cx="1587061" cy="504000"/>
          </a:xfrm>
          <a:prstGeom prst="rect">
            <a:avLst/>
          </a:prstGeom>
          <a:noFill/>
        </p:spPr>
        <p:txBody>
          <a:bodyPr wrap="square" rtlCol="0">
            <a:spAutoFit/>
          </a:bodyPr>
          <a:lstStyle/>
          <a:p>
            <a:r>
              <a:rPr lang="en-US" sz="1400" b="1">
                <a:latin typeface="Century Gothic" panose="020B0502020202020204" pitchFamily="34" charset="0"/>
              </a:rPr>
              <a:t>Share of global GHG emissions</a:t>
            </a:r>
          </a:p>
        </p:txBody>
      </p:sp>
      <p:sp>
        <p:nvSpPr>
          <p:cNvPr id="161" name="TextBox 159">
            <a:extLst>
              <a:ext uri="{FF2B5EF4-FFF2-40B4-BE49-F238E27FC236}">
                <a16:creationId xmlns:a16="http://schemas.microsoft.com/office/drawing/2014/main" id="{21697EE6-A3BF-51AF-E070-7166BB1D97D2}"/>
              </a:ext>
            </a:extLst>
          </p:cNvPr>
          <p:cNvSpPr txBox="1">
            <a:spLocks/>
          </p:cNvSpPr>
          <p:nvPr/>
        </p:nvSpPr>
        <p:spPr>
          <a:xfrm>
            <a:off x="2282727" y="1766325"/>
            <a:ext cx="476885" cy="255000"/>
          </a:xfrm>
          <a:prstGeom prst="rect">
            <a:avLst/>
          </a:prstGeom>
        </p:spPr>
        <p:txBody>
          <a:bodyPr vert="horz" lIns="72000" tIns="72000" rIns="72000" bIns="7200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200" err="1"/>
              <a:t>n.a.</a:t>
            </a:r>
            <a:endParaRPr lang="en-US" sz="1200"/>
          </a:p>
        </p:txBody>
      </p:sp>
      <p:sp>
        <p:nvSpPr>
          <p:cNvPr id="163" name="TextBox 159">
            <a:extLst>
              <a:ext uri="{FF2B5EF4-FFF2-40B4-BE49-F238E27FC236}">
                <a16:creationId xmlns:a16="http://schemas.microsoft.com/office/drawing/2014/main" id="{2A415FAE-F0B7-EEC9-BD6D-0F4DADBA6747}"/>
              </a:ext>
            </a:extLst>
          </p:cNvPr>
          <p:cNvSpPr txBox="1">
            <a:spLocks/>
          </p:cNvSpPr>
          <p:nvPr/>
        </p:nvSpPr>
        <p:spPr>
          <a:xfrm>
            <a:off x="2282727" y="4465678"/>
            <a:ext cx="476885" cy="255000"/>
          </a:xfrm>
          <a:prstGeom prst="rect">
            <a:avLst/>
          </a:prstGeom>
        </p:spPr>
        <p:txBody>
          <a:bodyPr vert="horz" lIns="72000" tIns="72000" rIns="72000" bIns="7200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200"/>
              <a:t>2%</a:t>
            </a:r>
          </a:p>
        </p:txBody>
      </p:sp>
      <p:sp>
        <p:nvSpPr>
          <p:cNvPr id="164" name="TextBox 159">
            <a:extLst>
              <a:ext uri="{FF2B5EF4-FFF2-40B4-BE49-F238E27FC236}">
                <a16:creationId xmlns:a16="http://schemas.microsoft.com/office/drawing/2014/main" id="{318E3F0F-3E3A-3809-2199-6ACE01575EF9}"/>
              </a:ext>
            </a:extLst>
          </p:cNvPr>
          <p:cNvSpPr txBox="1">
            <a:spLocks/>
          </p:cNvSpPr>
          <p:nvPr/>
        </p:nvSpPr>
        <p:spPr>
          <a:xfrm>
            <a:off x="2282727" y="5365436"/>
            <a:ext cx="476885" cy="255000"/>
          </a:xfrm>
          <a:prstGeom prst="rect">
            <a:avLst/>
          </a:prstGeom>
        </p:spPr>
        <p:txBody>
          <a:bodyPr vert="horz" lIns="72000" tIns="72000" rIns="72000" bIns="7200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200"/>
              <a:t>8%</a:t>
            </a:r>
          </a:p>
        </p:txBody>
      </p:sp>
      <p:sp>
        <p:nvSpPr>
          <p:cNvPr id="165" name="TextBox 159">
            <a:extLst>
              <a:ext uri="{FF2B5EF4-FFF2-40B4-BE49-F238E27FC236}">
                <a16:creationId xmlns:a16="http://schemas.microsoft.com/office/drawing/2014/main" id="{B00E9C4B-A589-4CD5-1DBC-51F33D3BF5C6}"/>
              </a:ext>
            </a:extLst>
          </p:cNvPr>
          <p:cNvSpPr txBox="1">
            <a:spLocks/>
          </p:cNvSpPr>
          <p:nvPr/>
        </p:nvSpPr>
        <p:spPr>
          <a:xfrm>
            <a:off x="2282727" y="5815237"/>
            <a:ext cx="476885" cy="255000"/>
          </a:xfrm>
          <a:prstGeom prst="rect">
            <a:avLst/>
          </a:prstGeom>
        </p:spPr>
        <p:txBody>
          <a:bodyPr vert="horz" lIns="72000" tIns="72000" rIns="72000" bIns="7200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200"/>
              <a:t>3%</a:t>
            </a:r>
          </a:p>
        </p:txBody>
      </p:sp>
      <p:sp>
        <p:nvSpPr>
          <p:cNvPr id="166" name="TextBox 159">
            <a:extLst>
              <a:ext uri="{FF2B5EF4-FFF2-40B4-BE49-F238E27FC236}">
                <a16:creationId xmlns:a16="http://schemas.microsoft.com/office/drawing/2014/main" id="{2B93309F-4F43-B9A0-C42F-18969C014AB4}"/>
              </a:ext>
            </a:extLst>
          </p:cNvPr>
          <p:cNvSpPr txBox="1">
            <a:spLocks/>
          </p:cNvSpPr>
          <p:nvPr/>
        </p:nvSpPr>
        <p:spPr>
          <a:xfrm>
            <a:off x="2282727" y="4915478"/>
            <a:ext cx="476885" cy="255000"/>
          </a:xfrm>
          <a:prstGeom prst="rect">
            <a:avLst/>
          </a:prstGeom>
        </p:spPr>
        <p:txBody>
          <a:bodyPr vert="horz" lIns="72000" tIns="72000" rIns="72000" bIns="7200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200"/>
              <a:t>2%</a:t>
            </a:r>
          </a:p>
        </p:txBody>
      </p:sp>
      <p:sp>
        <p:nvSpPr>
          <p:cNvPr id="167" name="TextBox 159">
            <a:extLst>
              <a:ext uri="{FF2B5EF4-FFF2-40B4-BE49-F238E27FC236}">
                <a16:creationId xmlns:a16="http://schemas.microsoft.com/office/drawing/2014/main" id="{3EDF61AB-127E-56FB-4541-8969927EFB40}"/>
              </a:ext>
            </a:extLst>
          </p:cNvPr>
          <p:cNvSpPr txBox="1">
            <a:spLocks/>
          </p:cNvSpPr>
          <p:nvPr/>
        </p:nvSpPr>
        <p:spPr>
          <a:xfrm>
            <a:off x="2282727" y="4015720"/>
            <a:ext cx="476885" cy="255000"/>
          </a:xfrm>
          <a:prstGeom prst="rect">
            <a:avLst/>
          </a:prstGeom>
        </p:spPr>
        <p:txBody>
          <a:bodyPr vert="horz" lIns="72000" tIns="72000" rIns="72000" bIns="7200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200"/>
              <a:t>7%</a:t>
            </a:r>
          </a:p>
        </p:txBody>
      </p:sp>
      <p:sp>
        <p:nvSpPr>
          <p:cNvPr id="168" name="TextBox 159">
            <a:extLst>
              <a:ext uri="{FF2B5EF4-FFF2-40B4-BE49-F238E27FC236}">
                <a16:creationId xmlns:a16="http://schemas.microsoft.com/office/drawing/2014/main" id="{5F4C5E98-385A-2184-EFB4-423C87AC5742}"/>
              </a:ext>
            </a:extLst>
          </p:cNvPr>
          <p:cNvSpPr txBox="1">
            <a:spLocks/>
          </p:cNvSpPr>
          <p:nvPr/>
        </p:nvSpPr>
        <p:spPr>
          <a:xfrm>
            <a:off x="2282727" y="3114750"/>
            <a:ext cx="476885" cy="255000"/>
          </a:xfrm>
          <a:prstGeom prst="rect">
            <a:avLst/>
          </a:prstGeom>
        </p:spPr>
        <p:txBody>
          <a:bodyPr vert="horz" lIns="72000" tIns="72000" rIns="72000" bIns="7200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200"/>
              <a:t>2%</a:t>
            </a:r>
          </a:p>
        </p:txBody>
      </p:sp>
      <p:sp>
        <p:nvSpPr>
          <p:cNvPr id="169" name="TextBox 159">
            <a:extLst>
              <a:ext uri="{FF2B5EF4-FFF2-40B4-BE49-F238E27FC236}">
                <a16:creationId xmlns:a16="http://schemas.microsoft.com/office/drawing/2014/main" id="{730578E9-83F7-924C-4686-D44A634E158F}"/>
              </a:ext>
            </a:extLst>
          </p:cNvPr>
          <p:cNvSpPr txBox="1">
            <a:spLocks/>
          </p:cNvSpPr>
          <p:nvPr/>
        </p:nvSpPr>
        <p:spPr>
          <a:xfrm>
            <a:off x="2282727" y="3565842"/>
            <a:ext cx="476885" cy="255000"/>
          </a:xfrm>
          <a:prstGeom prst="rect">
            <a:avLst/>
          </a:prstGeom>
        </p:spPr>
        <p:txBody>
          <a:bodyPr vert="horz" lIns="72000" tIns="72000" rIns="72000" bIns="7200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200"/>
              <a:t>2%</a:t>
            </a:r>
          </a:p>
        </p:txBody>
      </p:sp>
      <p:sp>
        <p:nvSpPr>
          <p:cNvPr id="170" name="TextBox 159">
            <a:extLst>
              <a:ext uri="{FF2B5EF4-FFF2-40B4-BE49-F238E27FC236}">
                <a16:creationId xmlns:a16="http://schemas.microsoft.com/office/drawing/2014/main" id="{4822B48E-96D2-3764-69ED-98FB27C32A1B}"/>
              </a:ext>
            </a:extLst>
          </p:cNvPr>
          <p:cNvSpPr txBox="1">
            <a:spLocks/>
          </p:cNvSpPr>
          <p:nvPr/>
        </p:nvSpPr>
        <p:spPr>
          <a:xfrm>
            <a:off x="2282727" y="2216204"/>
            <a:ext cx="476885" cy="255000"/>
          </a:xfrm>
          <a:prstGeom prst="rect">
            <a:avLst/>
          </a:prstGeom>
        </p:spPr>
        <p:txBody>
          <a:bodyPr vert="horz" lIns="72000" tIns="72000" rIns="72000" bIns="7200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200"/>
              <a:t>28%</a:t>
            </a:r>
          </a:p>
        </p:txBody>
      </p:sp>
      <p:sp>
        <p:nvSpPr>
          <p:cNvPr id="171" name="TextBox 159">
            <a:extLst>
              <a:ext uri="{FF2B5EF4-FFF2-40B4-BE49-F238E27FC236}">
                <a16:creationId xmlns:a16="http://schemas.microsoft.com/office/drawing/2014/main" id="{C997D456-52B9-1A47-B47F-CD819A327F5B}"/>
              </a:ext>
            </a:extLst>
          </p:cNvPr>
          <p:cNvSpPr txBox="1">
            <a:spLocks/>
          </p:cNvSpPr>
          <p:nvPr/>
        </p:nvSpPr>
        <p:spPr>
          <a:xfrm>
            <a:off x="2282727" y="2666084"/>
            <a:ext cx="476885" cy="255000"/>
          </a:xfrm>
          <a:prstGeom prst="rect">
            <a:avLst/>
          </a:prstGeom>
        </p:spPr>
        <p:txBody>
          <a:bodyPr vert="horz" lIns="72000" tIns="72000" rIns="72000" bIns="7200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200"/>
              <a:t>13%</a:t>
            </a:r>
          </a:p>
        </p:txBody>
      </p:sp>
      <p:cxnSp>
        <p:nvCxnSpPr>
          <p:cNvPr id="11" name="Straight Connector 10">
            <a:extLst>
              <a:ext uri="{FF2B5EF4-FFF2-40B4-BE49-F238E27FC236}">
                <a16:creationId xmlns:a16="http://schemas.microsoft.com/office/drawing/2014/main" id="{38C85301-D241-8825-AA3D-E0543FAD009E}"/>
              </a:ext>
            </a:extLst>
          </p:cNvPr>
          <p:cNvCxnSpPr>
            <a:cxnSpLocks/>
          </p:cNvCxnSpPr>
          <p:nvPr/>
        </p:nvCxnSpPr>
        <p:spPr>
          <a:xfrm>
            <a:off x="355946" y="2120057"/>
            <a:ext cx="1157726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A27C82C-0821-A844-57CA-A078320AE5D7}"/>
              </a:ext>
            </a:extLst>
          </p:cNvPr>
          <p:cNvCxnSpPr>
            <a:cxnSpLocks/>
          </p:cNvCxnSpPr>
          <p:nvPr/>
        </p:nvCxnSpPr>
        <p:spPr>
          <a:xfrm>
            <a:off x="355946" y="1703445"/>
            <a:ext cx="1157726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7C89ECBF-C49F-FA84-487B-39AF68E3C072}"/>
              </a:ext>
            </a:extLst>
          </p:cNvPr>
          <p:cNvCxnSpPr>
            <a:cxnSpLocks/>
          </p:cNvCxnSpPr>
          <p:nvPr/>
        </p:nvCxnSpPr>
        <p:spPr>
          <a:xfrm>
            <a:off x="355946" y="2572184"/>
            <a:ext cx="1157726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98E1C2D5-DA97-C111-2A1C-411440624567}"/>
              </a:ext>
            </a:extLst>
          </p:cNvPr>
          <p:cNvCxnSpPr>
            <a:cxnSpLocks/>
          </p:cNvCxnSpPr>
          <p:nvPr/>
        </p:nvCxnSpPr>
        <p:spPr>
          <a:xfrm>
            <a:off x="355946" y="3022064"/>
            <a:ext cx="1157726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5A851D0-FFBF-50E2-9F8E-D7C452EFD91B}"/>
              </a:ext>
            </a:extLst>
          </p:cNvPr>
          <p:cNvCxnSpPr>
            <a:cxnSpLocks/>
          </p:cNvCxnSpPr>
          <p:nvPr/>
        </p:nvCxnSpPr>
        <p:spPr>
          <a:xfrm>
            <a:off x="355946" y="3471644"/>
            <a:ext cx="1157726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704C5B4B-6525-A432-361C-7AAA62868D42}"/>
              </a:ext>
            </a:extLst>
          </p:cNvPr>
          <p:cNvCxnSpPr>
            <a:cxnSpLocks/>
          </p:cNvCxnSpPr>
          <p:nvPr/>
        </p:nvCxnSpPr>
        <p:spPr>
          <a:xfrm>
            <a:off x="355946" y="3916308"/>
            <a:ext cx="1157726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9B455CF-5F38-0A8D-1DEC-E77334E32100}"/>
              </a:ext>
            </a:extLst>
          </p:cNvPr>
          <p:cNvCxnSpPr>
            <a:cxnSpLocks/>
          </p:cNvCxnSpPr>
          <p:nvPr/>
        </p:nvCxnSpPr>
        <p:spPr>
          <a:xfrm>
            <a:off x="355946" y="4367055"/>
            <a:ext cx="1157726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B6ED6900-A382-89F2-9176-96C59C76A6C0}"/>
              </a:ext>
            </a:extLst>
          </p:cNvPr>
          <p:cNvCxnSpPr>
            <a:cxnSpLocks/>
          </p:cNvCxnSpPr>
          <p:nvPr/>
        </p:nvCxnSpPr>
        <p:spPr>
          <a:xfrm>
            <a:off x="355946" y="4814754"/>
            <a:ext cx="1157726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2BAE92CD-E5F2-6A70-E326-A407E0A7C295}"/>
              </a:ext>
            </a:extLst>
          </p:cNvPr>
          <p:cNvCxnSpPr>
            <a:cxnSpLocks/>
          </p:cNvCxnSpPr>
          <p:nvPr/>
        </p:nvCxnSpPr>
        <p:spPr>
          <a:xfrm>
            <a:off x="355946" y="5270911"/>
            <a:ext cx="1157726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4210EE33-9F42-1A0D-C9A6-50886E1B73AD}"/>
              </a:ext>
            </a:extLst>
          </p:cNvPr>
          <p:cNvCxnSpPr>
            <a:cxnSpLocks/>
          </p:cNvCxnSpPr>
          <p:nvPr/>
        </p:nvCxnSpPr>
        <p:spPr>
          <a:xfrm>
            <a:off x="355946" y="5717527"/>
            <a:ext cx="1157726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3" name="Rectangle: Rounded Corners 2">
            <a:extLst>
              <a:ext uri="{FF2B5EF4-FFF2-40B4-BE49-F238E27FC236}">
                <a16:creationId xmlns:a16="http://schemas.microsoft.com/office/drawing/2014/main" id="{525498AB-140E-7BFF-7667-CC06FDEAD1CB}"/>
              </a:ext>
            </a:extLst>
          </p:cNvPr>
          <p:cNvSpPr>
            <a:spLocks/>
          </p:cNvSpPr>
          <p:nvPr/>
        </p:nvSpPr>
        <p:spPr>
          <a:xfrm>
            <a:off x="9221632" y="4465519"/>
            <a:ext cx="2664000" cy="255159"/>
          </a:xfrm>
          <a:prstGeom prst="roundRect">
            <a:avLst/>
          </a:prstGeom>
          <a:solidFill>
            <a:schemeClr val="accent2">
              <a:lumMod val="50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200">
                <a:solidFill>
                  <a:schemeClr val="bg1"/>
                </a:solidFill>
                <a:latin typeface="Century Gothic" panose="020B0502020202020204" pitchFamily="34" charset="0"/>
              </a:rPr>
              <a:t>Electric Boilers, Hydrogen Boilers</a:t>
            </a:r>
          </a:p>
        </p:txBody>
      </p:sp>
      <p:sp>
        <p:nvSpPr>
          <p:cNvPr id="8" name="Rectangle: Rounded Corners 7">
            <a:extLst>
              <a:ext uri="{FF2B5EF4-FFF2-40B4-BE49-F238E27FC236}">
                <a16:creationId xmlns:a16="http://schemas.microsoft.com/office/drawing/2014/main" id="{32D279B0-B3A5-E627-7097-72F21C6CF067}"/>
              </a:ext>
            </a:extLst>
          </p:cNvPr>
          <p:cNvSpPr>
            <a:spLocks/>
          </p:cNvSpPr>
          <p:nvPr/>
        </p:nvSpPr>
        <p:spPr>
          <a:xfrm>
            <a:off x="3438470" y="4416105"/>
            <a:ext cx="2664000" cy="353987"/>
          </a:xfrm>
          <a:prstGeom prst="roundRect">
            <a:avLst/>
          </a:prstGeom>
          <a:solidFill>
            <a:schemeClr val="accent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200">
                <a:solidFill>
                  <a:schemeClr val="bg1"/>
                </a:solidFill>
                <a:latin typeface="Century Gothic" panose="020B0502020202020204" pitchFamily="34" charset="0"/>
              </a:rPr>
              <a:t>Electric Calcination, Hydrogen Calcination</a:t>
            </a:r>
          </a:p>
        </p:txBody>
      </p:sp>
      <p:sp>
        <p:nvSpPr>
          <p:cNvPr id="17" name="Rectangle: Rounded Corners 16">
            <a:extLst>
              <a:ext uri="{FF2B5EF4-FFF2-40B4-BE49-F238E27FC236}">
                <a16:creationId xmlns:a16="http://schemas.microsoft.com/office/drawing/2014/main" id="{3B679E59-AC31-C34D-20F0-5730D16711E1}"/>
              </a:ext>
            </a:extLst>
          </p:cNvPr>
          <p:cNvSpPr>
            <a:spLocks/>
          </p:cNvSpPr>
          <p:nvPr/>
        </p:nvSpPr>
        <p:spPr>
          <a:xfrm>
            <a:off x="9221632" y="3970626"/>
            <a:ext cx="2664000" cy="353987"/>
          </a:xfrm>
          <a:prstGeom prst="roundRect">
            <a:avLst/>
          </a:prstGeom>
          <a:solidFill>
            <a:schemeClr val="accent2">
              <a:lumMod val="50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200">
                <a:solidFill>
                  <a:schemeClr val="bg1"/>
                </a:solidFill>
                <a:latin typeface="Century Gothic" panose="020B0502020202020204" pitchFamily="34" charset="0"/>
              </a:rPr>
              <a:t>EAF, Electrolysis-EAF, Electrowinning-EAF</a:t>
            </a:r>
          </a:p>
        </p:txBody>
      </p:sp>
      <p:sp>
        <p:nvSpPr>
          <p:cNvPr id="49" name="Rectangle: Rounded Corners 48">
            <a:extLst>
              <a:ext uri="{FF2B5EF4-FFF2-40B4-BE49-F238E27FC236}">
                <a16:creationId xmlns:a16="http://schemas.microsoft.com/office/drawing/2014/main" id="{CCC37495-1658-CFED-8AC6-CEEDCBEFA521}"/>
              </a:ext>
            </a:extLst>
          </p:cNvPr>
          <p:cNvSpPr>
            <a:spLocks/>
          </p:cNvSpPr>
          <p:nvPr/>
        </p:nvSpPr>
        <p:spPr>
          <a:xfrm>
            <a:off x="9221632" y="5762185"/>
            <a:ext cx="2664000" cy="353987"/>
          </a:xfrm>
          <a:prstGeom prst="roundRect">
            <a:avLst/>
          </a:prstGeom>
          <a:solidFill>
            <a:schemeClr val="accent2">
              <a:lumMod val="50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200">
                <a:solidFill>
                  <a:schemeClr val="bg1"/>
                </a:solidFill>
                <a:latin typeface="Century Gothic" panose="020B0502020202020204" pitchFamily="34" charset="0"/>
              </a:rPr>
              <a:t>Ammonia-ready &amp; Methanol-ready Engines</a:t>
            </a:r>
          </a:p>
        </p:txBody>
      </p:sp>
      <p:sp>
        <p:nvSpPr>
          <p:cNvPr id="50" name="Rectangle: Rounded Corners 49">
            <a:extLst>
              <a:ext uri="{FF2B5EF4-FFF2-40B4-BE49-F238E27FC236}">
                <a16:creationId xmlns:a16="http://schemas.microsoft.com/office/drawing/2014/main" id="{28D78964-5A36-6F9A-9340-C6CB3025E82B}"/>
              </a:ext>
            </a:extLst>
          </p:cNvPr>
          <p:cNvSpPr>
            <a:spLocks/>
          </p:cNvSpPr>
          <p:nvPr/>
        </p:nvSpPr>
        <p:spPr>
          <a:xfrm>
            <a:off x="9221632" y="5365276"/>
            <a:ext cx="2664000" cy="255159"/>
          </a:xfrm>
          <a:prstGeom prst="roundRect">
            <a:avLst/>
          </a:prstGeom>
          <a:solidFill>
            <a:schemeClr val="accent2">
              <a:lumMod val="50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200">
                <a:solidFill>
                  <a:schemeClr val="bg1"/>
                </a:solidFill>
                <a:latin typeface="Century Gothic" panose="020B0502020202020204" pitchFamily="34" charset="0"/>
              </a:rPr>
              <a:t>CCS, Industrial &amp; Biomass Wastes</a:t>
            </a:r>
          </a:p>
        </p:txBody>
      </p:sp>
      <p:sp>
        <p:nvSpPr>
          <p:cNvPr id="46" name="Rectangle: Rounded Corners 45">
            <a:extLst>
              <a:ext uri="{FF2B5EF4-FFF2-40B4-BE49-F238E27FC236}">
                <a16:creationId xmlns:a16="http://schemas.microsoft.com/office/drawing/2014/main" id="{29653DEF-5100-68A0-C23C-F219A9A4D6A5}"/>
              </a:ext>
            </a:extLst>
          </p:cNvPr>
          <p:cNvSpPr>
            <a:spLocks/>
          </p:cNvSpPr>
          <p:nvPr/>
        </p:nvSpPr>
        <p:spPr>
          <a:xfrm>
            <a:off x="9221632" y="4864901"/>
            <a:ext cx="2664000" cy="353987"/>
          </a:xfrm>
          <a:prstGeom prst="roundRect">
            <a:avLst/>
          </a:prstGeom>
          <a:solidFill>
            <a:schemeClr val="accent2">
              <a:lumMod val="50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200">
                <a:solidFill>
                  <a:schemeClr val="bg1"/>
                </a:solidFill>
                <a:latin typeface="Century Gothic" panose="020B0502020202020204" pitchFamily="34" charset="0"/>
              </a:rPr>
              <a:t>Electrolysis, Methane Reformer + CCS, Methane Pyrolysis</a:t>
            </a:r>
          </a:p>
        </p:txBody>
      </p:sp>
      <p:grpSp>
        <p:nvGrpSpPr>
          <p:cNvPr id="51" name="Group 50">
            <a:extLst>
              <a:ext uri="{FF2B5EF4-FFF2-40B4-BE49-F238E27FC236}">
                <a16:creationId xmlns:a16="http://schemas.microsoft.com/office/drawing/2014/main" id="{3DA62555-F831-48E7-6E4C-014AFE8296A9}"/>
              </a:ext>
            </a:extLst>
          </p:cNvPr>
          <p:cNvGrpSpPr/>
          <p:nvPr/>
        </p:nvGrpSpPr>
        <p:grpSpPr>
          <a:xfrm>
            <a:off x="11556133" y="301067"/>
            <a:ext cx="506963" cy="506963"/>
            <a:chOff x="4116364" y="2814323"/>
            <a:chExt cx="725475" cy="725475"/>
          </a:xfrm>
        </p:grpSpPr>
        <p:sp>
          <p:nvSpPr>
            <p:cNvPr id="52" name="Oval 51">
              <a:extLst>
                <a:ext uri="{FF2B5EF4-FFF2-40B4-BE49-F238E27FC236}">
                  <a16:creationId xmlns:a16="http://schemas.microsoft.com/office/drawing/2014/main" id="{86F2B8E5-E063-37D6-FDD9-91D413699145}"/>
                </a:ext>
              </a:extLst>
            </p:cNvPr>
            <p:cNvSpPr/>
            <p:nvPr/>
          </p:nvSpPr>
          <p:spPr>
            <a:xfrm>
              <a:off x="4116364" y="2814323"/>
              <a:ext cx="725475" cy="725475"/>
            </a:xfrm>
            <a:prstGeom prst="ellipse">
              <a:avLst/>
            </a:prstGeom>
            <a:solidFill>
              <a:schemeClr val="bg1">
                <a:lumMod val="95000"/>
              </a:schemeClr>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a:ln>
                  <a:noFill/>
                </a:ln>
                <a:solidFill>
                  <a:schemeClr val="bg1"/>
                </a:solidFill>
                <a:latin typeface="Century Gothic" panose="020B0502020202020204" pitchFamily="34" charset="0"/>
              </a:endParaRPr>
            </a:p>
          </p:txBody>
        </p:sp>
        <p:grpSp>
          <p:nvGrpSpPr>
            <p:cNvPr id="56" name="object 595">
              <a:extLst>
                <a:ext uri="{FF2B5EF4-FFF2-40B4-BE49-F238E27FC236}">
                  <a16:creationId xmlns:a16="http://schemas.microsoft.com/office/drawing/2014/main" id="{841F2A99-E562-513A-4B8E-15241A79C7CD}"/>
                </a:ext>
              </a:extLst>
            </p:cNvPr>
            <p:cNvGrpSpPr/>
            <p:nvPr/>
          </p:nvGrpSpPr>
          <p:grpSpPr>
            <a:xfrm>
              <a:off x="4229917" y="2943542"/>
              <a:ext cx="498369" cy="422891"/>
              <a:chOff x="592908" y="7980646"/>
              <a:chExt cx="876300" cy="743585"/>
            </a:xfrm>
          </p:grpSpPr>
          <p:sp>
            <p:nvSpPr>
              <p:cNvPr id="57" name="object 596">
                <a:extLst>
                  <a:ext uri="{FF2B5EF4-FFF2-40B4-BE49-F238E27FC236}">
                    <a16:creationId xmlns:a16="http://schemas.microsoft.com/office/drawing/2014/main" id="{F8960518-3F02-B1E9-99CC-DBEBA3D84983}"/>
                  </a:ext>
                </a:extLst>
              </p:cNvPr>
              <p:cNvSpPr/>
              <p:nvPr/>
            </p:nvSpPr>
            <p:spPr>
              <a:xfrm>
                <a:off x="592908" y="7980646"/>
                <a:ext cx="876300" cy="743585"/>
              </a:xfrm>
              <a:custGeom>
                <a:avLst/>
                <a:gdLst/>
                <a:ahLst/>
                <a:cxnLst/>
                <a:rect l="l" t="t" r="r" b="b"/>
                <a:pathLst>
                  <a:path w="876300" h="743584">
                    <a:moveTo>
                      <a:pt x="862864" y="743280"/>
                    </a:moveTo>
                    <a:lnTo>
                      <a:pt x="858519" y="743280"/>
                    </a:lnTo>
                    <a:lnTo>
                      <a:pt x="861009" y="743445"/>
                    </a:lnTo>
                    <a:lnTo>
                      <a:pt x="862864" y="743280"/>
                    </a:lnTo>
                    <a:close/>
                  </a:path>
                  <a:path w="876300" h="743584">
                    <a:moveTo>
                      <a:pt x="33502" y="716726"/>
                    </a:moveTo>
                    <a:lnTo>
                      <a:pt x="14604" y="716813"/>
                    </a:lnTo>
                    <a:lnTo>
                      <a:pt x="6476" y="716991"/>
                    </a:lnTo>
                    <a:lnTo>
                      <a:pt x="444" y="722579"/>
                    </a:lnTo>
                    <a:lnTo>
                      <a:pt x="0" y="737019"/>
                    </a:lnTo>
                    <a:lnTo>
                      <a:pt x="6197" y="742937"/>
                    </a:lnTo>
                    <a:lnTo>
                      <a:pt x="14668" y="743280"/>
                    </a:lnTo>
                    <a:lnTo>
                      <a:pt x="16357" y="743331"/>
                    </a:lnTo>
                    <a:lnTo>
                      <a:pt x="18110" y="743280"/>
                    </a:lnTo>
                    <a:lnTo>
                      <a:pt x="862864" y="743280"/>
                    </a:lnTo>
                    <a:lnTo>
                      <a:pt x="876236" y="723760"/>
                    </a:lnTo>
                    <a:lnTo>
                      <a:pt x="870712" y="717727"/>
                    </a:lnTo>
                    <a:lnTo>
                      <a:pt x="863650" y="716927"/>
                    </a:lnTo>
                    <a:lnTo>
                      <a:pt x="862330" y="716762"/>
                    </a:lnTo>
                    <a:lnTo>
                      <a:pt x="53200" y="716762"/>
                    </a:lnTo>
                    <a:lnTo>
                      <a:pt x="33502" y="716726"/>
                    </a:lnTo>
                    <a:close/>
                  </a:path>
                  <a:path w="876300" h="743584">
                    <a:moveTo>
                      <a:pt x="61264" y="263804"/>
                    </a:moveTo>
                    <a:lnTo>
                      <a:pt x="56870" y="270230"/>
                    </a:lnTo>
                    <a:lnTo>
                      <a:pt x="54444" y="273735"/>
                    </a:lnTo>
                    <a:lnTo>
                      <a:pt x="53365" y="278815"/>
                    </a:lnTo>
                    <a:lnTo>
                      <a:pt x="53322" y="324643"/>
                    </a:lnTo>
                    <a:lnTo>
                      <a:pt x="53200" y="716762"/>
                    </a:lnTo>
                    <a:lnTo>
                      <a:pt x="822693" y="716762"/>
                    </a:lnTo>
                    <a:lnTo>
                      <a:pt x="822528" y="716254"/>
                    </a:lnTo>
                    <a:lnTo>
                      <a:pt x="611898" y="716254"/>
                    </a:lnTo>
                    <a:lnTo>
                      <a:pt x="80060" y="716140"/>
                    </a:lnTo>
                    <a:lnTo>
                      <a:pt x="80060" y="305219"/>
                    </a:lnTo>
                    <a:lnTo>
                      <a:pt x="126384" y="305219"/>
                    </a:lnTo>
                    <a:lnTo>
                      <a:pt x="68491" y="263918"/>
                    </a:lnTo>
                    <a:lnTo>
                      <a:pt x="61264" y="263804"/>
                    </a:lnTo>
                    <a:close/>
                  </a:path>
                  <a:path w="876300" h="743584">
                    <a:moveTo>
                      <a:pt x="861009" y="716597"/>
                    </a:moveTo>
                    <a:lnTo>
                      <a:pt x="858291" y="716762"/>
                    </a:lnTo>
                    <a:lnTo>
                      <a:pt x="862330" y="716762"/>
                    </a:lnTo>
                    <a:lnTo>
                      <a:pt x="861009" y="716597"/>
                    </a:lnTo>
                    <a:close/>
                  </a:path>
                  <a:path w="876300" h="743584">
                    <a:moveTo>
                      <a:pt x="771052" y="27114"/>
                    </a:moveTo>
                    <a:lnTo>
                      <a:pt x="744550" y="27114"/>
                    </a:lnTo>
                    <a:lnTo>
                      <a:pt x="795324" y="716254"/>
                    </a:lnTo>
                    <a:lnTo>
                      <a:pt x="822528" y="716254"/>
                    </a:lnTo>
                    <a:lnTo>
                      <a:pt x="822236" y="715352"/>
                    </a:lnTo>
                    <a:lnTo>
                      <a:pt x="821905" y="714730"/>
                    </a:lnTo>
                    <a:lnTo>
                      <a:pt x="814401" y="614045"/>
                    </a:lnTo>
                    <a:lnTo>
                      <a:pt x="807008" y="514096"/>
                    </a:lnTo>
                    <a:lnTo>
                      <a:pt x="794766" y="345046"/>
                    </a:lnTo>
                    <a:lnTo>
                      <a:pt x="791597" y="302602"/>
                    </a:lnTo>
                    <a:lnTo>
                      <a:pt x="781951" y="175272"/>
                    </a:lnTo>
                    <a:lnTo>
                      <a:pt x="778976" y="135066"/>
                    </a:lnTo>
                    <a:lnTo>
                      <a:pt x="773084" y="54600"/>
                    </a:lnTo>
                    <a:lnTo>
                      <a:pt x="771052" y="27114"/>
                    </a:lnTo>
                    <a:close/>
                  </a:path>
                  <a:path w="876300" h="743584">
                    <a:moveTo>
                      <a:pt x="497370" y="304711"/>
                    </a:moveTo>
                    <a:lnTo>
                      <a:pt x="451434" y="304711"/>
                    </a:lnTo>
                    <a:lnTo>
                      <a:pt x="458891" y="309956"/>
                    </a:lnTo>
                    <a:lnTo>
                      <a:pt x="530113" y="360813"/>
                    </a:lnTo>
                    <a:lnTo>
                      <a:pt x="563431" y="384581"/>
                    </a:lnTo>
                    <a:lnTo>
                      <a:pt x="601624" y="411746"/>
                    </a:lnTo>
                    <a:lnTo>
                      <a:pt x="606031" y="414782"/>
                    </a:lnTo>
                    <a:lnTo>
                      <a:pt x="607275" y="417728"/>
                    </a:lnTo>
                    <a:lnTo>
                      <a:pt x="606783" y="424419"/>
                    </a:lnTo>
                    <a:lnTo>
                      <a:pt x="604415" y="455087"/>
                    </a:lnTo>
                    <a:lnTo>
                      <a:pt x="602060" y="487038"/>
                    </a:lnTo>
                    <a:lnTo>
                      <a:pt x="597458" y="550938"/>
                    </a:lnTo>
                    <a:lnTo>
                      <a:pt x="585266" y="716140"/>
                    </a:lnTo>
                    <a:lnTo>
                      <a:pt x="611907" y="716140"/>
                    </a:lnTo>
                    <a:lnTo>
                      <a:pt x="636386" y="384314"/>
                    </a:lnTo>
                    <a:lnTo>
                      <a:pt x="609409" y="384314"/>
                    </a:lnTo>
                    <a:lnTo>
                      <a:pt x="606374" y="382282"/>
                    </a:lnTo>
                    <a:lnTo>
                      <a:pt x="604342" y="381050"/>
                    </a:lnTo>
                    <a:lnTo>
                      <a:pt x="602424" y="379641"/>
                    </a:lnTo>
                    <a:lnTo>
                      <a:pt x="532095" y="329506"/>
                    </a:lnTo>
                    <a:lnTo>
                      <a:pt x="497370" y="304711"/>
                    </a:lnTo>
                    <a:close/>
                  </a:path>
                  <a:path w="876300" h="743584">
                    <a:moveTo>
                      <a:pt x="126384" y="305219"/>
                    </a:moveTo>
                    <a:lnTo>
                      <a:pt x="80060" y="305219"/>
                    </a:lnTo>
                    <a:lnTo>
                      <a:pt x="82880" y="307022"/>
                    </a:lnTo>
                    <a:lnTo>
                      <a:pt x="85077" y="308368"/>
                    </a:lnTo>
                    <a:lnTo>
                      <a:pt x="87172" y="309956"/>
                    </a:lnTo>
                    <a:lnTo>
                      <a:pt x="114663" y="329539"/>
                    </a:lnTo>
                    <a:lnTo>
                      <a:pt x="241934" y="420370"/>
                    </a:lnTo>
                    <a:lnTo>
                      <a:pt x="248775" y="423855"/>
                    </a:lnTo>
                    <a:lnTo>
                      <a:pt x="265574" y="385622"/>
                    </a:lnTo>
                    <a:lnTo>
                      <a:pt x="239052" y="385622"/>
                    </a:lnTo>
                    <a:lnTo>
                      <a:pt x="204278" y="360789"/>
                    </a:lnTo>
                    <a:lnTo>
                      <a:pt x="160354" y="329506"/>
                    </a:lnTo>
                    <a:lnTo>
                      <a:pt x="126384" y="305219"/>
                    </a:lnTo>
                    <a:close/>
                  </a:path>
                  <a:path w="876300" h="743584">
                    <a:moveTo>
                      <a:pt x="311942" y="304990"/>
                    </a:moveTo>
                    <a:lnTo>
                      <a:pt x="265582" y="304990"/>
                    </a:lnTo>
                    <a:lnTo>
                      <a:pt x="268681" y="307022"/>
                    </a:lnTo>
                    <a:lnTo>
                      <a:pt x="270941" y="308368"/>
                    </a:lnTo>
                    <a:lnTo>
                      <a:pt x="273113" y="309956"/>
                    </a:lnTo>
                    <a:lnTo>
                      <a:pt x="377643" y="384581"/>
                    </a:lnTo>
                    <a:lnTo>
                      <a:pt x="427786" y="420319"/>
                    </a:lnTo>
                    <a:lnTo>
                      <a:pt x="434594" y="423833"/>
                    </a:lnTo>
                    <a:lnTo>
                      <a:pt x="440810" y="424413"/>
                    </a:lnTo>
                    <a:lnTo>
                      <a:pt x="446074" y="422085"/>
                    </a:lnTo>
                    <a:lnTo>
                      <a:pt x="450024" y="416877"/>
                    </a:lnTo>
                    <a:lnTo>
                      <a:pt x="451205" y="414388"/>
                    </a:lnTo>
                    <a:lnTo>
                      <a:pt x="451344" y="411746"/>
                    </a:lnTo>
                    <a:lnTo>
                      <a:pt x="451427" y="385051"/>
                    </a:lnTo>
                    <a:lnTo>
                      <a:pt x="424459" y="385051"/>
                    </a:lnTo>
                    <a:lnTo>
                      <a:pt x="421474" y="383019"/>
                    </a:lnTo>
                    <a:lnTo>
                      <a:pt x="419277" y="381558"/>
                    </a:lnTo>
                    <a:lnTo>
                      <a:pt x="417067" y="380034"/>
                    </a:lnTo>
                    <a:lnTo>
                      <a:pt x="311942" y="304990"/>
                    </a:lnTo>
                    <a:close/>
                  </a:path>
                  <a:path w="876300" h="743584">
                    <a:moveTo>
                      <a:pt x="252488" y="263804"/>
                    </a:moveTo>
                    <a:lnTo>
                      <a:pt x="246621" y="266966"/>
                    </a:lnTo>
                    <a:lnTo>
                      <a:pt x="240690" y="270116"/>
                    </a:lnTo>
                    <a:lnTo>
                      <a:pt x="238959" y="275082"/>
                    </a:lnTo>
                    <a:lnTo>
                      <a:pt x="239052" y="385622"/>
                    </a:lnTo>
                    <a:lnTo>
                      <a:pt x="265574" y="385622"/>
                    </a:lnTo>
                    <a:lnTo>
                      <a:pt x="265582" y="304990"/>
                    </a:lnTo>
                    <a:lnTo>
                      <a:pt x="311942" y="304990"/>
                    </a:lnTo>
                    <a:lnTo>
                      <a:pt x="262305" y="269557"/>
                    </a:lnTo>
                    <a:lnTo>
                      <a:pt x="257454" y="266052"/>
                    </a:lnTo>
                    <a:lnTo>
                      <a:pt x="252488" y="263804"/>
                    </a:lnTo>
                    <a:close/>
                  </a:path>
                  <a:path w="876300" h="743584">
                    <a:moveTo>
                      <a:pt x="438403" y="263804"/>
                    </a:moveTo>
                    <a:lnTo>
                      <a:pt x="432405" y="266966"/>
                    </a:lnTo>
                    <a:lnTo>
                      <a:pt x="426605" y="270065"/>
                    </a:lnTo>
                    <a:lnTo>
                      <a:pt x="424802" y="275082"/>
                    </a:lnTo>
                    <a:lnTo>
                      <a:pt x="424853" y="379641"/>
                    </a:lnTo>
                    <a:lnTo>
                      <a:pt x="424679" y="381558"/>
                    </a:lnTo>
                    <a:lnTo>
                      <a:pt x="424459" y="385051"/>
                    </a:lnTo>
                    <a:lnTo>
                      <a:pt x="451427" y="385051"/>
                    </a:lnTo>
                    <a:lnTo>
                      <a:pt x="451434" y="304711"/>
                    </a:lnTo>
                    <a:lnTo>
                      <a:pt x="497370" y="304711"/>
                    </a:lnTo>
                    <a:lnTo>
                      <a:pt x="448150" y="269557"/>
                    </a:lnTo>
                    <a:lnTo>
                      <a:pt x="443369" y="266115"/>
                    </a:lnTo>
                    <a:lnTo>
                      <a:pt x="438403" y="263804"/>
                    </a:lnTo>
                    <a:close/>
                  </a:path>
                  <a:path w="876300" h="743584">
                    <a:moveTo>
                      <a:pt x="703473" y="0"/>
                    </a:moveTo>
                    <a:lnTo>
                      <a:pt x="642988" y="139"/>
                    </a:lnTo>
                    <a:lnTo>
                      <a:pt x="636054" y="30378"/>
                    </a:lnTo>
                    <a:lnTo>
                      <a:pt x="635431" y="38227"/>
                    </a:lnTo>
                    <a:lnTo>
                      <a:pt x="629057" y="122002"/>
                    </a:lnTo>
                    <a:lnTo>
                      <a:pt x="622731" y="205740"/>
                    </a:lnTo>
                    <a:lnTo>
                      <a:pt x="611725" y="357195"/>
                    </a:lnTo>
                    <a:lnTo>
                      <a:pt x="611249" y="363183"/>
                    </a:lnTo>
                    <a:lnTo>
                      <a:pt x="609409" y="384314"/>
                    </a:lnTo>
                    <a:lnTo>
                      <a:pt x="636386" y="384314"/>
                    </a:lnTo>
                    <a:lnTo>
                      <a:pt x="662736" y="27114"/>
                    </a:lnTo>
                    <a:lnTo>
                      <a:pt x="771052" y="27114"/>
                    </a:lnTo>
                    <a:lnTo>
                      <a:pt x="769429" y="5156"/>
                    </a:lnTo>
                    <a:lnTo>
                      <a:pt x="764120" y="139"/>
                    </a:lnTo>
                    <a:lnTo>
                      <a:pt x="703473" y="0"/>
                    </a:lnTo>
                    <a:close/>
                  </a:path>
                </a:pathLst>
              </a:custGeom>
              <a:solidFill>
                <a:srgbClr val="004876"/>
              </a:solidFill>
            </p:spPr>
            <p:txBody>
              <a:bodyPr wrap="square" lIns="0" tIns="0" rIns="0" bIns="0" rtlCol="0"/>
              <a:lstStyle/>
              <a:p>
                <a:endParaRPr/>
              </a:p>
            </p:txBody>
          </p:sp>
          <p:pic>
            <p:nvPicPr>
              <p:cNvPr id="58" name="object 597">
                <a:extLst>
                  <a:ext uri="{FF2B5EF4-FFF2-40B4-BE49-F238E27FC236}">
                    <a16:creationId xmlns:a16="http://schemas.microsoft.com/office/drawing/2014/main" id="{9A685817-FADA-F5CA-C5F2-AF9181C57555}"/>
                  </a:ext>
                </a:extLst>
              </p:cNvPr>
              <p:cNvPicPr/>
              <p:nvPr/>
            </p:nvPicPr>
            <p:blipFill>
              <a:blip r:embed="rId17" cstate="print"/>
              <a:stretch>
                <a:fillRect/>
              </a:stretch>
            </p:blipFill>
            <p:spPr>
              <a:xfrm>
                <a:off x="672998" y="8007743"/>
                <a:ext cx="715263" cy="689152"/>
              </a:xfrm>
              <a:prstGeom prst="rect">
                <a:avLst/>
              </a:prstGeom>
            </p:spPr>
          </p:pic>
          <p:sp>
            <p:nvSpPr>
              <p:cNvPr id="59" name="object 598">
                <a:extLst>
                  <a:ext uri="{FF2B5EF4-FFF2-40B4-BE49-F238E27FC236}">
                    <a16:creationId xmlns:a16="http://schemas.microsoft.com/office/drawing/2014/main" id="{BDD828D6-B35F-92E6-3BD4-1004765E553D}"/>
                  </a:ext>
                </a:extLst>
              </p:cNvPr>
              <p:cNvSpPr/>
              <p:nvPr/>
            </p:nvSpPr>
            <p:spPr>
              <a:xfrm>
                <a:off x="765568" y="8484882"/>
                <a:ext cx="332105" cy="133350"/>
              </a:xfrm>
              <a:custGeom>
                <a:avLst/>
                <a:gdLst/>
                <a:ahLst/>
                <a:cxnLst/>
                <a:rect l="l" t="t" r="r" b="b"/>
                <a:pathLst>
                  <a:path w="332105" h="133350">
                    <a:moveTo>
                      <a:pt x="66382" y="20307"/>
                    </a:moveTo>
                    <a:lnTo>
                      <a:pt x="66217" y="6362"/>
                    </a:lnTo>
                    <a:lnTo>
                      <a:pt x="60172" y="381"/>
                    </a:lnTo>
                    <a:lnTo>
                      <a:pt x="52222" y="215"/>
                    </a:lnTo>
                    <a:lnTo>
                      <a:pt x="33096" y="50"/>
                    </a:lnTo>
                    <a:lnTo>
                      <a:pt x="6007" y="381"/>
                    </a:lnTo>
                    <a:lnTo>
                      <a:pt x="38" y="6477"/>
                    </a:lnTo>
                    <a:lnTo>
                      <a:pt x="139" y="20701"/>
                    </a:lnTo>
                    <a:lnTo>
                      <a:pt x="6184" y="26390"/>
                    </a:lnTo>
                    <a:lnTo>
                      <a:pt x="20345" y="26898"/>
                    </a:lnTo>
                    <a:lnTo>
                      <a:pt x="26441" y="26733"/>
                    </a:lnTo>
                    <a:lnTo>
                      <a:pt x="32588" y="26733"/>
                    </a:lnTo>
                    <a:lnTo>
                      <a:pt x="50977" y="26733"/>
                    </a:lnTo>
                    <a:lnTo>
                      <a:pt x="60350" y="26111"/>
                    </a:lnTo>
                    <a:lnTo>
                      <a:pt x="66382" y="20307"/>
                    </a:lnTo>
                    <a:close/>
                  </a:path>
                  <a:path w="332105" h="133350">
                    <a:moveTo>
                      <a:pt x="66408" y="126695"/>
                    </a:moveTo>
                    <a:lnTo>
                      <a:pt x="66179" y="112483"/>
                    </a:lnTo>
                    <a:lnTo>
                      <a:pt x="60147" y="106553"/>
                    </a:lnTo>
                    <a:lnTo>
                      <a:pt x="42608" y="106286"/>
                    </a:lnTo>
                    <a:lnTo>
                      <a:pt x="23482" y="106286"/>
                    </a:lnTo>
                    <a:lnTo>
                      <a:pt x="5930" y="106616"/>
                    </a:lnTo>
                    <a:lnTo>
                      <a:pt x="0" y="112699"/>
                    </a:lnTo>
                    <a:lnTo>
                      <a:pt x="165" y="126923"/>
                    </a:lnTo>
                    <a:lnTo>
                      <a:pt x="6210" y="132562"/>
                    </a:lnTo>
                    <a:lnTo>
                      <a:pt x="20370" y="133070"/>
                    </a:lnTo>
                    <a:lnTo>
                      <a:pt x="26517" y="132905"/>
                    </a:lnTo>
                    <a:lnTo>
                      <a:pt x="32613" y="132905"/>
                    </a:lnTo>
                    <a:lnTo>
                      <a:pt x="51739" y="132905"/>
                    </a:lnTo>
                    <a:lnTo>
                      <a:pt x="60147" y="132448"/>
                    </a:lnTo>
                    <a:lnTo>
                      <a:pt x="66408" y="126695"/>
                    </a:lnTo>
                    <a:close/>
                  </a:path>
                  <a:path w="332105" h="133350">
                    <a:moveTo>
                      <a:pt x="199072" y="112649"/>
                    </a:moveTo>
                    <a:lnTo>
                      <a:pt x="192976" y="106616"/>
                    </a:lnTo>
                    <a:lnTo>
                      <a:pt x="165925" y="106222"/>
                    </a:lnTo>
                    <a:lnTo>
                      <a:pt x="138811" y="106553"/>
                    </a:lnTo>
                    <a:lnTo>
                      <a:pt x="132829" y="112598"/>
                    </a:lnTo>
                    <a:lnTo>
                      <a:pt x="132829" y="126758"/>
                    </a:lnTo>
                    <a:lnTo>
                      <a:pt x="138861" y="132511"/>
                    </a:lnTo>
                    <a:lnTo>
                      <a:pt x="152971" y="133070"/>
                    </a:lnTo>
                    <a:lnTo>
                      <a:pt x="159118" y="132905"/>
                    </a:lnTo>
                    <a:lnTo>
                      <a:pt x="165214" y="132905"/>
                    </a:lnTo>
                    <a:lnTo>
                      <a:pt x="185077" y="132905"/>
                    </a:lnTo>
                    <a:lnTo>
                      <a:pt x="192976" y="132346"/>
                    </a:lnTo>
                    <a:lnTo>
                      <a:pt x="199072" y="126644"/>
                    </a:lnTo>
                    <a:lnTo>
                      <a:pt x="199072" y="112649"/>
                    </a:lnTo>
                    <a:close/>
                  </a:path>
                  <a:path w="332105" h="133350">
                    <a:moveTo>
                      <a:pt x="199072" y="6540"/>
                    </a:moveTo>
                    <a:lnTo>
                      <a:pt x="193040" y="558"/>
                    </a:lnTo>
                    <a:lnTo>
                      <a:pt x="178765" y="0"/>
                    </a:lnTo>
                    <a:lnTo>
                      <a:pt x="172389" y="165"/>
                    </a:lnTo>
                    <a:lnTo>
                      <a:pt x="166014" y="165"/>
                    </a:lnTo>
                    <a:lnTo>
                      <a:pt x="159639" y="165"/>
                    </a:lnTo>
                    <a:lnTo>
                      <a:pt x="153263" y="0"/>
                    </a:lnTo>
                    <a:lnTo>
                      <a:pt x="138938" y="508"/>
                    </a:lnTo>
                    <a:lnTo>
                      <a:pt x="132892" y="6261"/>
                    </a:lnTo>
                    <a:lnTo>
                      <a:pt x="132778" y="20421"/>
                    </a:lnTo>
                    <a:lnTo>
                      <a:pt x="138760" y="26454"/>
                    </a:lnTo>
                    <a:lnTo>
                      <a:pt x="156311" y="26797"/>
                    </a:lnTo>
                    <a:lnTo>
                      <a:pt x="175412" y="26797"/>
                    </a:lnTo>
                    <a:lnTo>
                      <a:pt x="192989" y="26454"/>
                    </a:lnTo>
                    <a:lnTo>
                      <a:pt x="198970" y="20472"/>
                    </a:lnTo>
                    <a:lnTo>
                      <a:pt x="199072" y="6540"/>
                    </a:lnTo>
                    <a:close/>
                  </a:path>
                  <a:path w="332105" h="133350">
                    <a:moveTo>
                      <a:pt x="331825" y="20345"/>
                    </a:moveTo>
                    <a:lnTo>
                      <a:pt x="331774" y="6413"/>
                    </a:lnTo>
                    <a:lnTo>
                      <a:pt x="325678" y="381"/>
                    </a:lnTo>
                    <a:lnTo>
                      <a:pt x="317728" y="203"/>
                    </a:lnTo>
                    <a:lnTo>
                      <a:pt x="298589" y="50"/>
                    </a:lnTo>
                    <a:lnTo>
                      <a:pt x="271513" y="381"/>
                    </a:lnTo>
                    <a:lnTo>
                      <a:pt x="265531" y="6477"/>
                    </a:lnTo>
                    <a:lnTo>
                      <a:pt x="265645" y="20637"/>
                    </a:lnTo>
                    <a:lnTo>
                      <a:pt x="271627" y="26327"/>
                    </a:lnTo>
                    <a:lnTo>
                      <a:pt x="285788" y="26898"/>
                    </a:lnTo>
                    <a:lnTo>
                      <a:pt x="298030" y="26670"/>
                    </a:lnTo>
                    <a:lnTo>
                      <a:pt x="304634" y="26670"/>
                    </a:lnTo>
                    <a:lnTo>
                      <a:pt x="311238" y="26898"/>
                    </a:lnTo>
                    <a:lnTo>
                      <a:pt x="325793" y="26327"/>
                    </a:lnTo>
                    <a:lnTo>
                      <a:pt x="331825" y="20345"/>
                    </a:lnTo>
                    <a:close/>
                  </a:path>
                  <a:path w="332105" h="133350">
                    <a:moveTo>
                      <a:pt x="331889" y="126530"/>
                    </a:moveTo>
                    <a:lnTo>
                      <a:pt x="331774" y="112598"/>
                    </a:lnTo>
                    <a:lnTo>
                      <a:pt x="325678" y="106553"/>
                    </a:lnTo>
                    <a:lnTo>
                      <a:pt x="298589" y="106222"/>
                    </a:lnTo>
                    <a:lnTo>
                      <a:pt x="271513" y="106553"/>
                    </a:lnTo>
                    <a:lnTo>
                      <a:pt x="265531" y="112649"/>
                    </a:lnTo>
                    <a:lnTo>
                      <a:pt x="265645" y="126809"/>
                    </a:lnTo>
                    <a:lnTo>
                      <a:pt x="271627" y="132562"/>
                    </a:lnTo>
                    <a:lnTo>
                      <a:pt x="285788" y="133070"/>
                    </a:lnTo>
                    <a:lnTo>
                      <a:pt x="291884" y="132905"/>
                    </a:lnTo>
                    <a:lnTo>
                      <a:pt x="298030" y="132905"/>
                    </a:lnTo>
                    <a:lnTo>
                      <a:pt x="317893" y="132905"/>
                    </a:lnTo>
                    <a:lnTo>
                      <a:pt x="325793" y="132346"/>
                    </a:lnTo>
                    <a:lnTo>
                      <a:pt x="331889" y="126530"/>
                    </a:lnTo>
                    <a:close/>
                  </a:path>
                </a:pathLst>
              </a:custGeom>
              <a:solidFill>
                <a:srgbClr val="004876"/>
              </a:solidFill>
            </p:spPr>
            <p:txBody>
              <a:bodyPr wrap="square" lIns="0" tIns="0" rIns="0" bIns="0" rtlCol="0"/>
              <a:lstStyle/>
              <a:p>
                <a:endParaRPr/>
              </a:p>
            </p:txBody>
          </p:sp>
        </p:grpSp>
      </p:grpSp>
      <p:grpSp>
        <p:nvGrpSpPr>
          <p:cNvPr id="60" name="Group 59">
            <a:extLst>
              <a:ext uri="{FF2B5EF4-FFF2-40B4-BE49-F238E27FC236}">
                <a16:creationId xmlns:a16="http://schemas.microsoft.com/office/drawing/2014/main" id="{CB5847ED-4444-906F-A0F0-8BA28A3FD566}"/>
              </a:ext>
            </a:extLst>
          </p:cNvPr>
          <p:cNvGrpSpPr/>
          <p:nvPr/>
        </p:nvGrpSpPr>
        <p:grpSpPr>
          <a:xfrm>
            <a:off x="10889082" y="301067"/>
            <a:ext cx="506963" cy="506963"/>
            <a:chOff x="2106774" y="4511186"/>
            <a:chExt cx="976789" cy="976789"/>
          </a:xfrm>
        </p:grpSpPr>
        <p:sp>
          <p:nvSpPr>
            <p:cNvPr id="61" name="Oval 60">
              <a:extLst>
                <a:ext uri="{FF2B5EF4-FFF2-40B4-BE49-F238E27FC236}">
                  <a16:creationId xmlns:a16="http://schemas.microsoft.com/office/drawing/2014/main" id="{3C55ED9C-2088-64E3-AA6E-90553DE80C54}"/>
                </a:ext>
              </a:extLst>
            </p:cNvPr>
            <p:cNvSpPr/>
            <p:nvPr/>
          </p:nvSpPr>
          <p:spPr>
            <a:xfrm>
              <a:off x="2106774" y="4511186"/>
              <a:ext cx="976789" cy="976789"/>
            </a:xfrm>
            <a:prstGeom prst="ellipse">
              <a:avLst/>
            </a:prstGeom>
            <a:solidFill>
              <a:schemeClr val="bg1">
                <a:lumMod val="95000"/>
              </a:schemeClr>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a:ln>
                  <a:noFill/>
                </a:ln>
                <a:solidFill>
                  <a:schemeClr val="bg1"/>
                </a:solidFill>
                <a:latin typeface="Century Gothic" panose="020B0502020202020204" pitchFamily="34" charset="0"/>
              </a:endParaRPr>
            </a:p>
          </p:txBody>
        </p:sp>
        <p:grpSp>
          <p:nvGrpSpPr>
            <p:cNvPr id="62" name="Group 61">
              <a:extLst>
                <a:ext uri="{FF2B5EF4-FFF2-40B4-BE49-F238E27FC236}">
                  <a16:creationId xmlns:a16="http://schemas.microsoft.com/office/drawing/2014/main" id="{27EFC8F1-3D8B-65A4-9EFE-F96A9B4EDCBF}"/>
                </a:ext>
              </a:extLst>
            </p:cNvPr>
            <p:cNvGrpSpPr/>
            <p:nvPr/>
          </p:nvGrpSpPr>
          <p:grpSpPr>
            <a:xfrm>
              <a:off x="2320848" y="4725260"/>
              <a:ext cx="548640" cy="548640"/>
              <a:chOff x="566978" y="542842"/>
              <a:chExt cx="904113" cy="914891"/>
            </a:xfrm>
          </p:grpSpPr>
          <p:grpSp>
            <p:nvGrpSpPr>
              <p:cNvPr id="63" name="object 60">
                <a:extLst>
                  <a:ext uri="{FF2B5EF4-FFF2-40B4-BE49-F238E27FC236}">
                    <a16:creationId xmlns:a16="http://schemas.microsoft.com/office/drawing/2014/main" id="{31FA719F-2020-17A6-0416-DB2EFD25A94A}"/>
                  </a:ext>
                </a:extLst>
              </p:cNvPr>
              <p:cNvGrpSpPr/>
              <p:nvPr/>
            </p:nvGrpSpPr>
            <p:grpSpPr>
              <a:xfrm>
                <a:off x="854377" y="1000533"/>
                <a:ext cx="569595" cy="457200"/>
                <a:chOff x="854377" y="1000533"/>
                <a:chExt cx="569595" cy="457200"/>
              </a:xfrm>
            </p:grpSpPr>
            <p:pic>
              <p:nvPicPr>
                <p:cNvPr id="83" name="object 61">
                  <a:extLst>
                    <a:ext uri="{FF2B5EF4-FFF2-40B4-BE49-F238E27FC236}">
                      <a16:creationId xmlns:a16="http://schemas.microsoft.com/office/drawing/2014/main" id="{CFFFBEB8-241F-889F-BA86-CC4A392F5F04}"/>
                    </a:ext>
                  </a:extLst>
                </p:cNvPr>
                <p:cNvPicPr/>
                <p:nvPr/>
              </p:nvPicPr>
              <p:blipFill>
                <a:blip r:embed="rId18" cstate="print"/>
                <a:stretch>
                  <a:fillRect/>
                </a:stretch>
              </p:blipFill>
              <p:spPr>
                <a:xfrm>
                  <a:off x="862939" y="1007123"/>
                  <a:ext cx="554774" cy="441959"/>
                </a:xfrm>
                <a:prstGeom prst="rect">
                  <a:avLst/>
                </a:prstGeom>
              </p:spPr>
            </p:pic>
            <p:sp>
              <p:nvSpPr>
                <p:cNvPr id="84" name="object 62">
                  <a:extLst>
                    <a:ext uri="{FF2B5EF4-FFF2-40B4-BE49-F238E27FC236}">
                      <a16:creationId xmlns:a16="http://schemas.microsoft.com/office/drawing/2014/main" id="{DBE62C4C-DC2A-81FB-20F3-CBE1613DB159}"/>
                    </a:ext>
                  </a:extLst>
                </p:cNvPr>
                <p:cNvSpPr/>
                <p:nvPr/>
              </p:nvSpPr>
              <p:spPr>
                <a:xfrm>
                  <a:off x="854377" y="1000533"/>
                  <a:ext cx="569595" cy="457200"/>
                </a:xfrm>
                <a:custGeom>
                  <a:avLst/>
                  <a:gdLst/>
                  <a:ahLst/>
                  <a:cxnLst/>
                  <a:rect l="l" t="t" r="r" b="b"/>
                  <a:pathLst>
                    <a:path w="569594" h="457200">
                      <a:moveTo>
                        <a:pt x="282549" y="358140"/>
                      </a:moveTo>
                      <a:lnTo>
                        <a:pt x="251840" y="358140"/>
                      </a:lnTo>
                      <a:lnTo>
                        <a:pt x="251790" y="363220"/>
                      </a:lnTo>
                      <a:lnTo>
                        <a:pt x="165468" y="378460"/>
                      </a:lnTo>
                      <a:lnTo>
                        <a:pt x="139192" y="383540"/>
                      </a:lnTo>
                      <a:lnTo>
                        <a:pt x="128092" y="386080"/>
                      </a:lnTo>
                      <a:lnTo>
                        <a:pt x="126314" y="393700"/>
                      </a:lnTo>
                      <a:lnTo>
                        <a:pt x="126085" y="397510"/>
                      </a:lnTo>
                      <a:lnTo>
                        <a:pt x="125463" y="405130"/>
                      </a:lnTo>
                      <a:lnTo>
                        <a:pt x="129793" y="411480"/>
                      </a:lnTo>
                      <a:lnTo>
                        <a:pt x="137706" y="412750"/>
                      </a:lnTo>
                      <a:lnTo>
                        <a:pt x="144775" y="415290"/>
                      </a:lnTo>
                      <a:lnTo>
                        <a:pt x="158960" y="419100"/>
                      </a:lnTo>
                      <a:lnTo>
                        <a:pt x="214667" y="435610"/>
                      </a:lnTo>
                      <a:lnTo>
                        <a:pt x="240744" y="441960"/>
                      </a:lnTo>
                      <a:lnTo>
                        <a:pt x="266826" y="449580"/>
                      </a:lnTo>
                      <a:lnTo>
                        <a:pt x="295402" y="457200"/>
                      </a:lnTo>
                      <a:lnTo>
                        <a:pt x="305015" y="457200"/>
                      </a:lnTo>
                      <a:lnTo>
                        <a:pt x="403618" y="427990"/>
                      </a:lnTo>
                      <a:lnTo>
                        <a:pt x="299605" y="427990"/>
                      </a:lnTo>
                      <a:lnTo>
                        <a:pt x="277368" y="421640"/>
                      </a:lnTo>
                      <a:lnTo>
                        <a:pt x="283540" y="419100"/>
                      </a:lnTo>
                      <a:lnTo>
                        <a:pt x="294096" y="414020"/>
                      </a:lnTo>
                      <a:lnTo>
                        <a:pt x="251040" y="414020"/>
                      </a:lnTo>
                      <a:lnTo>
                        <a:pt x="208064" y="401320"/>
                      </a:lnTo>
                      <a:lnTo>
                        <a:pt x="250786" y="393700"/>
                      </a:lnTo>
                      <a:lnTo>
                        <a:pt x="442100" y="393700"/>
                      </a:lnTo>
                      <a:lnTo>
                        <a:pt x="441998" y="392430"/>
                      </a:lnTo>
                      <a:lnTo>
                        <a:pt x="410777" y="386080"/>
                      </a:lnTo>
                      <a:lnTo>
                        <a:pt x="281571" y="386080"/>
                      </a:lnTo>
                      <a:lnTo>
                        <a:pt x="282549" y="358140"/>
                      </a:lnTo>
                      <a:close/>
                    </a:path>
                    <a:path w="569594" h="457200">
                      <a:moveTo>
                        <a:pt x="442407" y="397510"/>
                      </a:moveTo>
                      <a:lnTo>
                        <a:pt x="317601" y="397510"/>
                      </a:lnTo>
                      <a:lnTo>
                        <a:pt x="366585" y="407670"/>
                      </a:lnTo>
                      <a:lnTo>
                        <a:pt x="317390" y="422910"/>
                      </a:lnTo>
                      <a:lnTo>
                        <a:pt x="300990" y="426720"/>
                      </a:lnTo>
                      <a:lnTo>
                        <a:pt x="300761" y="427990"/>
                      </a:lnTo>
                      <a:lnTo>
                        <a:pt x="403618" y="427990"/>
                      </a:lnTo>
                      <a:lnTo>
                        <a:pt x="429856" y="420370"/>
                      </a:lnTo>
                      <a:lnTo>
                        <a:pt x="439153" y="416560"/>
                      </a:lnTo>
                      <a:lnTo>
                        <a:pt x="443534" y="411480"/>
                      </a:lnTo>
                      <a:lnTo>
                        <a:pt x="442407" y="397510"/>
                      </a:lnTo>
                      <a:close/>
                    </a:path>
                    <a:path w="569594" h="457200">
                      <a:moveTo>
                        <a:pt x="442100" y="393700"/>
                      </a:moveTo>
                      <a:lnTo>
                        <a:pt x="250786" y="393700"/>
                      </a:lnTo>
                      <a:lnTo>
                        <a:pt x="250363" y="405130"/>
                      </a:lnTo>
                      <a:lnTo>
                        <a:pt x="250240" y="408940"/>
                      </a:lnTo>
                      <a:lnTo>
                        <a:pt x="250469" y="411480"/>
                      </a:lnTo>
                      <a:lnTo>
                        <a:pt x="251040" y="414020"/>
                      </a:lnTo>
                      <a:lnTo>
                        <a:pt x="294096" y="414020"/>
                      </a:lnTo>
                      <a:lnTo>
                        <a:pt x="296735" y="412750"/>
                      </a:lnTo>
                      <a:lnTo>
                        <a:pt x="310908" y="407670"/>
                      </a:lnTo>
                      <a:lnTo>
                        <a:pt x="315645" y="403860"/>
                      </a:lnTo>
                      <a:lnTo>
                        <a:pt x="317601" y="397510"/>
                      </a:lnTo>
                      <a:lnTo>
                        <a:pt x="442407" y="397510"/>
                      </a:lnTo>
                      <a:lnTo>
                        <a:pt x="442100" y="393700"/>
                      </a:lnTo>
                      <a:close/>
                    </a:path>
                    <a:path w="569594" h="457200">
                      <a:moveTo>
                        <a:pt x="318663" y="351790"/>
                      </a:moveTo>
                      <a:lnTo>
                        <a:pt x="287985" y="351790"/>
                      </a:lnTo>
                      <a:lnTo>
                        <a:pt x="287921" y="383540"/>
                      </a:lnTo>
                      <a:lnTo>
                        <a:pt x="285838" y="384810"/>
                      </a:lnTo>
                      <a:lnTo>
                        <a:pt x="281571" y="386080"/>
                      </a:lnTo>
                      <a:lnTo>
                        <a:pt x="410777" y="386080"/>
                      </a:lnTo>
                      <a:lnTo>
                        <a:pt x="318668" y="367030"/>
                      </a:lnTo>
                      <a:lnTo>
                        <a:pt x="318663" y="351790"/>
                      </a:lnTo>
                      <a:close/>
                    </a:path>
                    <a:path w="569594" h="457200">
                      <a:moveTo>
                        <a:pt x="22059" y="0"/>
                      </a:moveTo>
                      <a:lnTo>
                        <a:pt x="15633" y="0"/>
                      </a:lnTo>
                      <a:lnTo>
                        <a:pt x="13766" y="1270"/>
                      </a:lnTo>
                      <a:lnTo>
                        <a:pt x="5359" y="2540"/>
                      </a:lnTo>
                      <a:lnTo>
                        <a:pt x="2870" y="7620"/>
                      </a:lnTo>
                      <a:lnTo>
                        <a:pt x="0" y="12700"/>
                      </a:lnTo>
                      <a:lnTo>
                        <a:pt x="1193" y="20320"/>
                      </a:lnTo>
                      <a:lnTo>
                        <a:pt x="4038" y="24130"/>
                      </a:lnTo>
                      <a:lnTo>
                        <a:pt x="9375" y="33020"/>
                      </a:lnTo>
                      <a:lnTo>
                        <a:pt x="14795" y="40640"/>
                      </a:lnTo>
                      <a:lnTo>
                        <a:pt x="25781" y="55880"/>
                      </a:lnTo>
                      <a:lnTo>
                        <a:pt x="201154" y="302260"/>
                      </a:lnTo>
                      <a:lnTo>
                        <a:pt x="234772" y="350520"/>
                      </a:lnTo>
                      <a:lnTo>
                        <a:pt x="241376" y="359410"/>
                      </a:lnTo>
                      <a:lnTo>
                        <a:pt x="251840" y="358140"/>
                      </a:lnTo>
                      <a:lnTo>
                        <a:pt x="282549" y="358140"/>
                      </a:lnTo>
                      <a:lnTo>
                        <a:pt x="282727" y="353060"/>
                      </a:lnTo>
                      <a:lnTo>
                        <a:pt x="287985" y="351790"/>
                      </a:lnTo>
                      <a:lnTo>
                        <a:pt x="318663" y="351790"/>
                      </a:lnTo>
                      <a:lnTo>
                        <a:pt x="318744" y="346710"/>
                      </a:lnTo>
                      <a:lnTo>
                        <a:pt x="440188" y="326390"/>
                      </a:lnTo>
                      <a:lnTo>
                        <a:pt x="255460" y="326390"/>
                      </a:lnTo>
                      <a:lnTo>
                        <a:pt x="248557" y="317500"/>
                      </a:lnTo>
                      <a:lnTo>
                        <a:pt x="241687" y="307340"/>
                      </a:lnTo>
                      <a:lnTo>
                        <a:pt x="227596" y="287020"/>
                      </a:lnTo>
                      <a:lnTo>
                        <a:pt x="294313" y="279400"/>
                      </a:lnTo>
                      <a:lnTo>
                        <a:pt x="315912" y="275590"/>
                      </a:lnTo>
                      <a:lnTo>
                        <a:pt x="355092" y="275590"/>
                      </a:lnTo>
                      <a:lnTo>
                        <a:pt x="351967" y="271780"/>
                      </a:lnTo>
                      <a:lnTo>
                        <a:pt x="420370" y="264160"/>
                      </a:lnTo>
                      <a:lnTo>
                        <a:pt x="463261" y="264160"/>
                      </a:lnTo>
                      <a:lnTo>
                        <a:pt x="459401" y="260350"/>
                      </a:lnTo>
                      <a:lnTo>
                        <a:pt x="207797" y="260350"/>
                      </a:lnTo>
                      <a:lnTo>
                        <a:pt x="202255" y="251460"/>
                      </a:lnTo>
                      <a:lnTo>
                        <a:pt x="191095" y="236220"/>
                      </a:lnTo>
                      <a:lnTo>
                        <a:pt x="169138" y="204470"/>
                      </a:lnTo>
                      <a:lnTo>
                        <a:pt x="174561" y="204470"/>
                      </a:lnTo>
                      <a:lnTo>
                        <a:pt x="214275" y="201930"/>
                      </a:lnTo>
                      <a:lnTo>
                        <a:pt x="234245" y="201930"/>
                      </a:lnTo>
                      <a:lnTo>
                        <a:pt x="254342" y="200660"/>
                      </a:lnTo>
                      <a:lnTo>
                        <a:pt x="293114" y="200660"/>
                      </a:lnTo>
                      <a:lnTo>
                        <a:pt x="291007" y="198120"/>
                      </a:lnTo>
                      <a:lnTo>
                        <a:pt x="323654" y="195580"/>
                      </a:lnTo>
                      <a:lnTo>
                        <a:pt x="339162" y="195580"/>
                      </a:lnTo>
                      <a:lnTo>
                        <a:pt x="354711" y="194310"/>
                      </a:lnTo>
                      <a:lnTo>
                        <a:pt x="396064" y="194310"/>
                      </a:lnTo>
                      <a:lnTo>
                        <a:pt x="393649" y="191770"/>
                      </a:lnTo>
                      <a:lnTo>
                        <a:pt x="400418" y="191770"/>
                      </a:lnTo>
                      <a:lnTo>
                        <a:pt x="407390" y="190500"/>
                      </a:lnTo>
                      <a:lnTo>
                        <a:pt x="423875" y="187960"/>
                      </a:lnTo>
                      <a:lnTo>
                        <a:pt x="467627" y="187960"/>
                      </a:lnTo>
                      <a:lnTo>
                        <a:pt x="455735" y="176530"/>
                      </a:lnTo>
                      <a:lnTo>
                        <a:pt x="148551" y="176530"/>
                      </a:lnTo>
                      <a:lnTo>
                        <a:pt x="140137" y="163830"/>
                      </a:lnTo>
                      <a:lnTo>
                        <a:pt x="131732" y="152400"/>
                      </a:lnTo>
                      <a:lnTo>
                        <a:pt x="114807" y="128270"/>
                      </a:lnTo>
                      <a:lnTo>
                        <a:pt x="405631" y="128270"/>
                      </a:lnTo>
                      <a:lnTo>
                        <a:pt x="376668" y="100330"/>
                      </a:lnTo>
                      <a:lnTo>
                        <a:pt x="306463" y="100330"/>
                      </a:lnTo>
                      <a:lnTo>
                        <a:pt x="306095" y="99060"/>
                      </a:lnTo>
                      <a:lnTo>
                        <a:pt x="210489" y="99060"/>
                      </a:lnTo>
                      <a:lnTo>
                        <a:pt x="209413" y="97790"/>
                      </a:lnTo>
                      <a:lnTo>
                        <a:pt x="92506" y="97790"/>
                      </a:lnTo>
                      <a:lnTo>
                        <a:pt x="83223" y="83820"/>
                      </a:lnTo>
                      <a:lnTo>
                        <a:pt x="64590" y="58420"/>
                      </a:lnTo>
                      <a:lnTo>
                        <a:pt x="49021" y="35560"/>
                      </a:lnTo>
                      <a:lnTo>
                        <a:pt x="227866" y="35560"/>
                      </a:lnTo>
                      <a:lnTo>
                        <a:pt x="22059" y="0"/>
                      </a:lnTo>
                      <a:close/>
                    </a:path>
                    <a:path w="569594" h="457200">
                      <a:moveTo>
                        <a:pt x="355092" y="275590"/>
                      </a:moveTo>
                      <a:lnTo>
                        <a:pt x="315912" y="275590"/>
                      </a:lnTo>
                      <a:lnTo>
                        <a:pt x="319023" y="279400"/>
                      </a:lnTo>
                      <a:lnTo>
                        <a:pt x="324840" y="287020"/>
                      </a:lnTo>
                      <a:lnTo>
                        <a:pt x="345046" y="311150"/>
                      </a:lnTo>
                      <a:lnTo>
                        <a:pt x="282378" y="322580"/>
                      </a:lnTo>
                      <a:lnTo>
                        <a:pt x="268889" y="323850"/>
                      </a:lnTo>
                      <a:lnTo>
                        <a:pt x="255460" y="326390"/>
                      </a:lnTo>
                      <a:lnTo>
                        <a:pt x="440188" y="326390"/>
                      </a:lnTo>
                      <a:lnTo>
                        <a:pt x="552272" y="307340"/>
                      </a:lnTo>
                      <a:lnTo>
                        <a:pt x="554393" y="306070"/>
                      </a:lnTo>
                      <a:lnTo>
                        <a:pt x="562190" y="304800"/>
                      </a:lnTo>
                      <a:lnTo>
                        <a:pt x="379564" y="304800"/>
                      </a:lnTo>
                      <a:lnTo>
                        <a:pt x="374697" y="299720"/>
                      </a:lnTo>
                      <a:lnTo>
                        <a:pt x="369874" y="293370"/>
                      </a:lnTo>
                      <a:lnTo>
                        <a:pt x="360298" y="281940"/>
                      </a:lnTo>
                      <a:lnTo>
                        <a:pt x="355092" y="275590"/>
                      </a:lnTo>
                      <a:close/>
                    </a:path>
                    <a:path w="569594" h="457200">
                      <a:moveTo>
                        <a:pt x="463261" y="264160"/>
                      </a:moveTo>
                      <a:lnTo>
                        <a:pt x="420370" y="264160"/>
                      </a:lnTo>
                      <a:lnTo>
                        <a:pt x="449275" y="293370"/>
                      </a:lnTo>
                      <a:lnTo>
                        <a:pt x="414158" y="299720"/>
                      </a:lnTo>
                      <a:lnTo>
                        <a:pt x="379564" y="304800"/>
                      </a:lnTo>
                      <a:lnTo>
                        <a:pt x="562190" y="304800"/>
                      </a:lnTo>
                      <a:lnTo>
                        <a:pt x="566458" y="300990"/>
                      </a:lnTo>
                      <a:lnTo>
                        <a:pt x="569417" y="290830"/>
                      </a:lnTo>
                      <a:lnTo>
                        <a:pt x="568853" y="288290"/>
                      </a:lnTo>
                      <a:lnTo>
                        <a:pt x="487426" y="288290"/>
                      </a:lnTo>
                      <a:lnTo>
                        <a:pt x="483400" y="287020"/>
                      </a:lnTo>
                      <a:lnTo>
                        <a:pt x="477761" y="279400"/>
                      </a:lnTo>
                      <a:lnTo>
                        <a:pt x="473093" y="274320"/>
                      </a:lnTo>
                      <a:lnTo>
                        <a:pt x="468256" y="269240"/>
                      </a:lnTo>
                      <a:lnTo>
                        <a:pt x="463261" y="264160"/>
                      </a:lnTo>
                      <a:close/>
                    </a:path>
                    <a:path w="569594" h="457200">
                      <a:moveTo>
                        <a:pt x="536338" y="254000"/>
                      </a:moveTo>
                      <a:lnTo>
                        <a:pt x="493267" y="254000"/>
                      </a:lnTo>
                      <a:lnTo>
                        <a:pt x="521106" y="281940"/>
                      </a:lnTo>
                      <a:lnTo>
                        <a:pt x="514635" y="281940"/>
                      </a:lnTo>
                      <a:lnTo>
                        <a:pt x="495147" y="285750"/>
                      </a:lnTo>
                      <a:lnTo>
                        <a:pt x="487426" y="288290"/>
                      </a:lnTo>
                      <a:lnTo>
                        <a:pt x="568853" y="288290"/>
                      </a:lnTo>
                      <a:lnTo>
                        <a:pt x="568007" y="284480"/>
                      </a:lnTo>
                      <a:lnTo>
                        <a:pt x="561174" y="278130"/>
                      </a:lnTo>
                      <a:lnTo>
                        <a:pt x="554837" y="271780"/>
                      </a:lnTo>
                      <a:lnTo>
                        <a:pt x="536338" y="254000"/>
                      </a:lnTo>
                      <a:close/>
                    </a:path>
                    <a:path w="569594" h="457200">
                      <a:moveTo>
                        <a:pt x="293114" y="200660"/>
                      </a:moveTo>
                      <a:lnTo>
                        <a:pt x="254342" y="200660"/>
                      </a:lnTo>
                      <a:lnTo>
                        <a:pt x="260829" y="208280"/>
                      </a:lnTo>
                      <a:lnTo>
                        <a:pt x="267268" y="217170"/>
                      </a:lnTo>
                      <a:lnTo>
                        <a:pt x="293700" y="248920"/>
                      </a:lnTo>
                      <a:lnTo>
                        <a:pt x="256451" y="254000"/>
                      </a:lnTo>
                      <a:lnTo>
                        <a:pt x="240225" y="255270"/>
                      </a:lnTo>
                      <a:lnTo>
                        <a:pt x="207797" y="260350"/>
                      </a:lnTo>
                      <a:lnTo>
                        <a:pt x="459401" y="260350"/>
                      </a:lnTo>
                      <a:lnTo>
                        <a:pt x="458114" y="259080"/>
                      </a:lnTo>
                      <a:lnTo>
                        <a:pt x="493267" y="254000"/>
                      </a:lnTo>
                      <a:lnTo>
                        <a:pt x="536338" y="254000"/>
                      </a:lnTo>
                      <a:lnTo>
                        <a:pt x="525767" y="243840"/>
                      </a:lnTo>
                      <a:lnTo>
                        <a:pt x="329387" y="243840"/>
                      </a:lnTo>
                      <a:lnTo>
                        <a:pt x="326288" y="241300"/>
                      </a:lnTo>
                      <a:lnTo>
                        <a:pt x="320497" y="233680"/>
                      </a:lnTo>
                      <a:lnTo>
                        <a:pt x="293114" y="200660"/>
                      </a:lnTo>
                      <a:close/>
                    </a:path>
                    <a:path w="569594" h="457200">
                      <a:moveTo>
                        <a:pt x="396064" y="194310"/>
                      </a:moveTo>
                      <a:lnTo>
                        <a:pt x="354711" y="194310"/>
                      </a:lnTo>
                      <a:lnTo>
                        <a:pt x="363766" y="204470"/>
                      </a:lnTo>
                      <a:lnTo>
                        <a:pt x="372787" y="213360"/>
                      </a:lnTo>
                      <a:lnTo>
                        <a:pt x="394589" y="236220"/>
                      </a:lnTo>
                      <a:lnTo>
                        <a:pt x="361556" y="240030"/>
                      </a:lnTo>
                      <a:lnTo>
                        <a:pt x="345322" y="242570"/>
                      </a:lnTo>
                      <a:lnTo>
                        <a:pt x="329387" y="243840"/>
                      </a:lnTo>
                      <a:lnTo>
                        <a:pt x="525767" y="243840"/>
                      </a:lnTo>
                      <a:lnTo>
                        <a:pt x="512554" y="231140"/>
                      </a:lnTo>
                      <a:lnTo>
                        <a:pt x="431228" y="231140"/>
                      </a:lnTo>
                      <a:lnTo>
                        <a:pt x="420216" y="219710"/>
                      </a:lnTo>
                      <a:lnTo>
                        <a:pt x="396064" y="194310"/>
                      </a:lnTo>
                      <a:close/>
                    </a:path>
                    <a:path w="569594" h="457200">
                      <a:moveTo>
                        <a:pt x="467627" y="187960"/>
                      </a:moveTo>
                      <a:lnTo>
                        <a:pt x="423875" y="187960"/>
                      </a:lnTo>
                      <a:lnTo>
                        <a:pt x="429298" y="190500"/>
                      </a:lnTo>
                      <a:lnTo>
                        <a:pt x="433616" y="196850"/>
                      </a:lnTo>
                      <a:lnTo>
                        <a:pt x="465416" y="227330"/>
                      </a:lnTo>
                      <a:lnTo>
                        <a:pt x="448395" y="229870"/>
                      </a:lnTo>
                      <a:lnTo>
                        <a:pt x="440498" y="231140"/>
                      </a:lnTo>
                      <a:lnTo>
                        <a:pt x="512554" y="231140"/>
                      </a:lnTo>
                      <a:lnTo>
                        <a:pt x="467627" y="187960"/>
                      </a:lnTo>
                      <a:close/>
                    </a:path>
                    <a:path w="569594" h="457200">
                      <a:moveTo>
                        <a:pt x="235254" y="129540"/>
                      </a:moveTo>
                      <a:lnTo>
                        <a:pt x="195961" y="129540"/>
                      </a:lnTo>
                      <a:lnTo>
                        <a:pt x="202566" y="138430"/>
                      </a:lnTo>
                      <a:lnTo>
                        <a:pt x="222199" y="161290"/>
                      </a:lnTo>
                      <a:lnTo>
                        <a:pt x="229958" y="171450"/>
                      </a:lnTo>
                      <a:lnTo>
                        <a:pt x="218897" y="171450"/>
                      </a:lnTo>
                      <a:lnTo>
                        <a:pt x="148551" y="176530"/>
                      </a:lnTo>
                      <a:lnTo>
                        <a:pt x="455735" y="176530"/>
                      </a:lnTo>
                      <a:lnTo>
                        <a:pt x="447807" y="168910"/>
                      </a:lnTo>
                      <a:lnTo>
                        <a:pt x="267398" y="168910"/>
                      </a:lnTo>
                      <a:lnTo>
                        <a:pt x="261630" y="161290"/>
                      </a:lnTo>
                      <a:lnTo>
                        <a:pt x="255914" y="154940"/>
                      </a:lnTo>
                      <a:lnTo>
                        <a:pt x="235254" y="129540"/>
                      </a:lnTo>
                      <a:close/>
                    </a:path>
                    <a:path w="569594" h="457200">
                      <a:moveTo>
                        <a:pt x="335927" y="130810"/>
                      </a:moveTo>
                      <a:lnTo>
                        <a:pt x="293827" y="130810"/>
                      </a:lnTo>
                      <a:lnTo>
                        <a:pt x="298399" y="135890"/>
                      </a:lnTo>
                      <a:lnTo>
                        <a:pt x="326796" y="165100"/>
                      </a:lnTo>
                      <a:lnTo>
                        <a:pt x="296521" y="167640"/>
                      </a:lnTo>
                      <a:lnTo>
                        <a:pt x="281810" y="167640"/>
                      </a:lnTo>
                      <a:lnTo>
                        <a:pt x="267398" y="168910"/>
                      </a:lnTo>
                      <a:lnTo>
                        <a:pt x="447807" y="168910"/>
                      </a:lnTo>
                      <a:lnTo>
                        <a:pt x="441200" y="162560"/>
                      </a:lnTo>
                      <a:lnTo>
                        <a:pt x="365925" y="162560"/>
                      </a:lnTo>
                      <a:lnTo>
                        <a:pt x="365620" y="161290"/>
                      </a:lnTo>
                      <a:lnTo>
                        <a:pt x="345967" y="142240"/>
                      </a:lnTo>
                      <a:lnTo>
                        <a:pt x="335927" y="130810"/>
                      </a:lnTo>
                      <a:close/>
                    </a:path>
                    <a:path w="569594" h="457200">
                      <a:moveTo>
                        <a:pt x="405631" y="128270"/>
                      </a:moveTo>
                      <a:lnTo>
                        <a:pt x="135176" y="128270"/>
                      </a:lnTo>
                      <a:lnTo>
                        <a:pt x="155513" y="129540"/>
                      </a:lnTo>
                      <a:lnTo>
                        <a:pt x="362381" y="129540"/>
                      </a:lnTo>
                      <a:lnTo>
                        <a:pt x="369176" y="132080"/>
                      </a:lnTo>
                      <a:lnTo>
                        <a:pt x="374472" y="139700"/>
                      </a:lnTo>
                      <a:lnTo>
                        <a:pt x="375602" y="140970"/>
                      </a:lnTo>
                      <a:lnTo>
                        <a:pt x="378688" y="143510"/>
                      </a:lnTo>
                      <a:lnTo>
                        <a:pt x="379018" y="143510"/>
                      </a:lnTo>
                      <a:lnTo>
                        <a:pt x="394538" y="161290"/>
                      </a:lnTo>
                      <a:lnTo>
                        <a:pt x="387758" y="161290"/>
                      </a:lnTo>
                      <a:lnTo>
                        <a:pt x="380982" y="162560"/>
                      </a:lnTo>
                      <a:lnTo>
                        <a:pt x="441200" y="162560"/>
                      </a:lnTo>
                      <a:lnTo>
                        <a:pt x="405631" y="128270"/>
                      </a:lnTo>
                      <a:close/>
                    </a:path>
                    <a:path w="569594" h="457200">
                      <a:moveTo>
                        <a:pt x="362381" y="129540"/>
                      </a:moveTo>
                      <a:lnTo>
                        <a:pt x="265023" y="129540"/>
                      </a:lnTo>
                      <a:lnTo>
                        <a:pt x="279438" y="130810"/>
                      </a:lnTo>
                      <a:lnTo>
                        <a:pt x="346532" y="130810"/>
                      </a:lnTo>
                      <a:lnTo>
                        <a:pt x="362381" y="129540"/>
                      </a:lnTo>
                      <a:close/>
                    </a:path>
                    <a:path w="569594" h="457200">
                      <a:moveTo>
                        <a:pt x="351645" y="76200"/>
                      </a:moveTo>
                      <a:lnTo>
                        <a:pt x="283222" y="76200"/>
                      </a:lnTo>
                      <a:lnTo>
                        <a:pt x="313588" y="81280"/>
                      </a:lnTo>
                      <a:lnTo>
                        <a:pt x="323454" y="90170"/>
                      </a:lnTo>
                      <a:lnTo>
                        <a:pt x="333349" y="100330"/>
                      </a:lnTo>
                      <a:lnTo>
                        <a:pt x="376668" y="100330"/>
                      </a:lnTo>
                      <a:lnTo>
                        <a:pt x="351645" y="76200"/>
                      </a:lnTo>
                      <a:close/>
                    </a:path>
                    <a:path w="569594" h="457200">
                      <a:moveTo>
                        <a:pt x="331168" y="57150"/>
                      </a:moveTo>
                      <a:lnTo>
                        <a:pt x="176009" y="57150"/>
                      </a:lnTo>
                      <a:lnTo>
                        <a:pt x="232575" y="67310"/>
                      </a:lnTo>
                      <a:lnTo>
                        <a:pt x="233210" y="67310"/>
                      </a:lnTo>
                      <a:lnTo>
                        <a:pt x="233946" y="68580"/>
                      </a:lnTo>
                      <a:lnTo>
                        <a:pt x="263829" y="99060"/>
                      </a:lnTo>
                      <a:lnTo>
                        <a:pt x="306095" y="99060"/>
                      </a:lnTo>
                      <a:lnTo>
                        <a:pt x="283222" y="76200"/>
                      </a:lnTo>
                      <a:lnTo>
                        <a:pt x="351645" y="76200"/>
                      </a:lnTo>
                      <a:lnTo>
                        <a:pt x="346341" y="71120"/>
                      </a:lnTo>
                      <a:lnTo>
                        <a:pt x="343204" y="68580"/>
                      </a:lnTo>
                      <a:lnTo>
                        <a:pt x="340525" y="64770"/>
                      </a:lnTo>
                      <a:lnTo>
                        <a:pt x="333642" y="58420"/>
                      </a:lnTo>
                      <a:lnTo>
                        <a:pt x="331168" y="57150"/>
                      </a:lnTo>
                      <a:close/>
                    </a:path>
                    <a:path w="569594" h="457200">
                      <a:moveTo>
                        <a:pt x="227866" y="35560"/>
                      </a:moveTo>
                      <a:lnTo>
                        <a:pt x="49021" y="35560"/>
                      </a:lnTo>
                      <a:lnTo>
                        <a:pt x="89312" y="43180"/>
                      </a:lnTo>
                      <a:lnTo>
                        <a:pt x="109436" y="45720"/>
                      </a:lnTo>
                      <a:lnTo>
                        <a:pt x="129527" y="49530"/>
                      </a:lnTo>
                      <a:lnTo>
                        <a:pt x="129844" y="49530"/>
                      </a:lnTo>
                      <a:lnTo>
                        <a:pt x="130670" y="50800"/>
                      </a:lnTo>
                      <a:lnTo>
                        <a:pt x="136371" y="57150"/>
                      </a:lnTo>
                      <a:lnTo>
                        <a:pt x="141408" y="63500"/>
                      </a:lnTo>
                      <a:lnTo>
                        <a:pt x="151409" y="74930"/>
                      </a:lnTo>
                      <a:lnTo>
                        <a:pt x="170014" y="97790"/>
                      </a:lnTo>
                      <a:lnTo>
                        <a:pt x="209413" y="97790"/>
                      </a:lnTo>
                      <a:lnTo>
                        <a:pt x="206184" y="93980"/>
                      </a:lnTo>
                      <a:lnTo>
                        <a:pt x="194602" y="80010"/>
                      </a:lnTo>
                      <a:lnTo>
                        <a:pt x="176009" y="57150"/>
                      </a:lnTo>
                      <a:lnTo>
                        <a:pt x="331168" y="57150"/>
                      </a:lnTo>
                      <a:lnTo>
                        <a:pt x="326221" y="54610"/>
                      </a:lnTo>
                      <a:lnTo>
                        <a:pt x="318615" y="50800"/>
                      </a:lnTo>
                      <a:lnTo>
                        <a:pt x="311175" y="49530"/>
                      </a:lnTo>
                      <a:lnTo>
                        <a:pt x="276868" y="44450"/>
                      </a:lnTo>
                      <a:lnTo>
                        <a:pt x="242566" y="38100"/>
                      </a:lnTo>
                      <a:lnTo>
                        <a:pt x="227866" y="35560"/>
                      </a:lnTo>
                      <a:close/>
                    </a:path>
                  </a:pathLst>
                </a:custGeom>
                <a:solidFill>
                  <a:srgbClr val="004876"/>
                </a:solidFill>
              </p:spPr>
              <p:txBody>
                <a:bodyPr wrap="square" lIns="0" tIns="0" rIns="0" bIns="0" rtlCol="0"/>
                <a:lstStyle/>
                <a:p>
                  <a:endParaRPr/>
                </a:p>
              </p:txBody>
            </p:sp>
          </p:grpSp>
          <p:grpSp>
            <p:nvGrpSpPr>
              <p:cNvPr id="64" name="object 63">
                <a:extLst>
                  <a:ext uri="{FF2B5EF4-FFF2-40B4-BE49-F238E27FC236}">
                    <a16:creationId xmlns:a16="http://schemas.microsoft.com/office/drawing/2014/main" id="{3FD13A8A-DDD0-2B5A-199F-CED8AE3816EE}"/>
                  </a:ext>
                </a:extLst>
              </p:cNvPr>
              <p:cNvGrpSpPr/>
              <p:nvPr/>
            </p:nvGrpSpPr>
            <p:grpSpPr>
              <a:xfrm>
                <a:off x="887526" y="709024"/>
                <a:ext cx="583565" cy="725170"/>
                <a:chOff x="887526" y="709024"/>
                <a:chExt cx="583565" cy="725170"/>
              </a:xfrm>
            </p:grpSpPr>
            <p:pic>
              <p:nvPicPr>
                <p:cNvPr id="76" name="object 64">
                  <a:extLst>
                    <a:ext uri="{FF2B5EF4-FFF2-40B4-BE49-F238E27FC236}">
                      <a16:creationId xmlns:a16="http://schemas.microsoft.com/office/drawing/2014/main" id="{7E593E90-4050-9C48-0F0C-0505523DA832}"/>
                    </a:ext>
                  </a:extLst>
                </p:cNvPr>
                <p:cNvPicPr/>
                <p:nvPr/>
              </p:nvPicPr>
              <p:blipFill>
                <a:blip r:embed="rId19" cstate="print"/>
                <a:stretch>
                  <a:fillRect/>
                </a:stretch>
              </p:blipFill>
              <p:spPr>
                <a:xfrm>
                  <a:off x="1237615" y="797382"/>
                  <a:ext cx="144894" cy="142494"/>
                </a:xfrm>
                <a:prstGeom prst="rect">
                  <a:avLst/>
                </a:prstGeom>
              </p:spPr>
            </p:pic>
            <p:pic>
              <p:nvPicPr>
                <p:cNvPr id="77" name="object 65">
                  <a:extLst>
                    <a:ext uri="{FF2B5EF4-FFF2-40B4-BE49-F238E27FC236}">
                      <a16:creationId xmlns:a16="http://schemas.microsoft.com/office/drawing/2014/main" id="{456411DA-7835-CEC4-D259-CA3BDAC63D28}"/>
                    </a:ext>
                  </a:extLst>
                </p:cNvPr>
                <p:cNvPicPr/>
                <p:nvPr/>
              </p:nvPicPr>
              <p:blipFill>
                <a:blip r:embed="rId20" cstate="print"/>
                <a:stretch>
                  <a:fillRect/>
                </a:stretch>
              </p:blipFill>
              <p:spPr>
                <a:xfrm>
                  <a:off x="1149350" y="709024"/>
                  <a:ext cx="321428" cy="317442"/>
                </a:xfrm>
                <a:prstGeom prst="rect">
                  <a:avLst/>
                </a:prstGeom>
              </p:spPr>
            </p:pic>
            <p:pic>
              <p:nvPicPr>
                <p:cNvPr id="78" name="object 66">
                  <a:extLst>
                    <a:ext uri="{FF2B5EF4-FFF2-40B4-BE49-F238E27FC236}">
                      <a16:creationId xmlns:a16="http://schemas.microsoft.com/office/drawing/2014/main" id="{53A5912E-622F-E48F-04EE-A79B590334FF}"/>
                    </a:ext>
                  </a:extLst>
                </p:cNvPr>
                <p:cNvPicPr/>
                <p:nvPr/>
              </p:nvPicPr>
              <p:blipFill>
                <a:blip r:embed="rId21" cstate="print"/>
                <a:stretch>
                  <a:fillRect/>
                </a:stretch>
              </p:blipFill>
              <p:spPr>
                <a:xfrm>
                  <a:off x="1259484" y="819277"/>
                  <a:ext cx="100444" cy="98602"/>
                </a:xfrm>
                <a:prstGeom prst="rect">
                  <a:avLst/>
                </a:prstGeom>
              </p:spPr>
            </p:pic>
            <p:pic>
              <p:nvPicPr>
                <p:cNvPr id="79" name="object 67">
                  <a:extLst>
                    <a:ext uri="{FF2B5EF4-FFF2-40B4-BE49-F238E27FC236}">
                      <a16:creationId xmlns:a16="http://schemas.microsoft.com/office/drawing/2014/main" id="{256F158F-5C53-0B24-54C3-1CF7818ECD94}"/>
                    </a:ext>
                  </a:extLst>
                </p:cNvPr>
                <p:cNvPicPr/>
                <p:nvPr/>
              </p:nvPicPr>
              <p:blipFill>
                <a:blip r:embed="rId22" cstate="print"/>
                <a:stretch>
                  <a:fillRect/>
                </a:stretch>
              </p:blipFill>
              <p:spPr>
                <a:xfrm>
                  <a:off x="887526" y="1024433"/>
                  <a:ext cx="248272" cy="81087"/>
                </a:xfrm>
                <a:prstGeom prst="rect">
                  <a:avLst/>
                </a:prstGeom>
              </p:spPr>
            </p:pic>
            <p:pic>
              <p:nvPicPr>
                <p:cNvPr id="80" name="object 68">
                  <a:extLst>
                    <a:ext uri="{FF2B5EF4-FFF2-40B4-BE49-F238E27FC236}">
                      <a16:creationId xmlns:a16="http://schemas.microsoft.com/office/drawing/2014/main" id="{32E54E59-9E03-ED02-CC8E-AF75B224A341}"/>
                    </a:ext>
                  </a:extLst>
                </p:cNvPr>
                <p:cNvPicPr/>
                <p:nvPr/>
              </p:nvPicPr>
              <p:blipFill>
                <a:blip r:embed="rId23" cstate="print"/>
                <a:stretch>
                  <a:fillRect/>
                </a:stretch>
              </p:blipFill>
              <p:spPr>
                <a:xfrm>
                  <a:off x="954951" y="1119416"/>
                  <a:ext cx="436156" cy="213601"/>
                </a:xfrm>
                <a:prstGeom prst="rect">
                  <a:avLst/>
                </a:prstGeom>
              </p:spPr>
            </p:pic>
            <p:pic>
              <p:nvPicPr>
                <p:cNvPr id="81" name="object 69">
                  <a:extLst>
                    <a:ext uri="{FF2B5EF4-FFF2-40B4-BE49-F238E27FC236}">
                      <a16:creationId xmlns:a16="http://schemas.microsoft.com/office/drawing/2014/main" id="{EDE12B36-64CE-530D-7DDC-8A577B3CF574}"/>
                    </a:ext>
                  </a:extLst>
                </p:cNvPr>
                <p:cNvPicPr/>
                <p:nvPr/>
              </p:nvPicPr>
              <p:blipFill>
                <a:blip r:embed="rId24" cstate="print"/>
                <a:stretch>
                  <a:fillRect/>
                </a:stretch>
              </p:blipFill>
              <p:spPr>
                <a:xfrm>
                  <a:off x="1031176" y="1341856"/>
                  <a:ext cx="219748" cy="91911"/>
                </a:xfrm>
                <a:prstGeom prst="rect">
                  <a:avLst/>
                </a:prstGeom>
              </p:spPr>
            </p:pic>
            <p:pic>
              <p:nvPicPr>
                <p:cNvPr id="82" name="object 70">
                  <a:extLst>
                    <a:ext uri="{FF2B5EF4-FFF2-40B4-BE49-F238E27FC236}">
                      <a16:creationId xmlns:a16="http://schemas.microsoft.com/office/drawing/2014/main" id="{E8B3C53E-72A1-CF0A-82F6-1AA85D87E386}"/>
                    </a:ext>
                  </a:extLst>
                </p:cNvPr>
                <p:cNvPicPr/>
                <p:nvPr/>
              </p:nvPicPr>
              <p:blipFill>
                <a:blip r:embed="rId25" cstate="print"/>
                <a:stretch>
                  <a:fillRect/>
                </a:stretch>
              </p:blipFill>
              <p:spPr>
                <a:xfrm>
                  <a:off x="1117142" y="1063079"/>
                  <a:ext cx="150495" cy="105599"/>
                </a:xfrm>
                <a:prstGeom prst="rect">
                  <a:avLst/>
                </a:prstGeom>
              </p:spPr>
            </p:pic>
          </p:grpSp>
          <p:grpSp>
            <p:nvGrpSpPr>
              <p:cNvPr id="65" name="object 71">
                <a:extLst>
                  <a:ext uri="{FF2B5EF4-FFF2-40B4-BE49-F238E27FC236}">
                    <a16:creationId xmlns:a16="http://schemas.microsoft.com/office/drawing/2014/main" id="{8612BA04-D7E0-DD96-7117-868FFC609B67}"/>
                  </a:ext>
                </a:extLst>
              </p:cNvPr>
              <p:cNvGrpSpPr/>
              <p:nvPr/>
            </p:nvGrpSpPr>
            <p:grpSpPr>
              <a:xfrm>
                <a:off x="566978" y="542842"/>
                <a:ext cx="516890" cy="744220"/>
                <a:chOff x="566978" y="542842"/>
                <a:chExt cx="516890" cy="744220"/>
              </a:xfrm>
            </p:grpSpPr>
            <p:pic>
              <p:nvPicPr>
                <p:cNvPr id="66" name="object 72">
                  <a:extLst>
                    <a:ext uri="{FF2B5EF4-FFF2-40B4-BE49-F238E27FC236}">
                      <a16:creationId xmlns:a16="http://schemas.microsoft.com/office/drawing/2014/main" id="{81BD55CC-A111-40CD-72E9-76F28C37DCB2}"/>
                    </a:ext>
                  </a:extLst>
                </p:cNvPr>
                <p:cNvPicPr/>
                <p:nvPr/>
              </p:nvPicPr>
              <p:blipFill>
                <a:blip r:embed="rId26" cstate="print"/>
                <a:stretch>
                  <a:fillRect/>
                </a:stretch>
              </p:blipFill>
              <p:spPr>
                <a:xfrm>
                  <a:off x="730669" y="929704"/>
                  <a:ext cx="88887" cy="349745"/>
                </a:xfrm>
                <a:prstGeom prst="rect">
                  <a:avLst/>
                </a:prstGeom>
              </p:spPr>
            </p:pic>
            <p:sp>
              <p:nvSpPr>
                <p:cNvPr id="67" name="object 73">
                  <a:extLst>
                    <a:ext uri="{FF2B5EF4-FFF2-40B4-BE49-F238E27FC236}">
                      <a16:creationId xmlns:a16="http://schemas.microsoft.com/office/drawing/2014/main" id="{433A8299-5DCA-8309-5E42-A6149991EB3B}"/>
                    </a:ext>
                  </a:extLst>
                </p:cNvPr>
                <p:cNvSpPr/>
                <p:nvPr/>
              </p:nvSpPr>
              <p:spPr>
                <a:xfrm>
                  <a:off x="722500" y="908581"/>
                  <a:ext cx="105410" cy="378460"/>
                </a:xfrm>
                <a:custGeom>
                  <a:avLst/>
                  <a:gdLst/>
                  <a:ahLst/>
                  <a:cxnLst/>
                  <a:rect l="l" t="t" r="r" b="b"/>
                  <a:pathLst>
                    <a:path w="105409" h="378459">
                      <a:moveTo>
                        <a:pt x="74714" y="0"/>
                      </a:moveTo>
                      <a:lnTo>
                        <a:pt x="60706" y="19405"/>
                      </a:lnTo>
                      <a:lnTo>
                        <a:pt x="57264" y="24803"/>
                      </a:lnTo>
                      <a:lnTo>
                        <a:pt x="51219" y="34213"/>
                      </a:lnTo>
                      <a:lnTo>
                        <a:pt x="24286" y="74643"/>
                      </a:lnTo>
                      <a:lnTo>
                        <a:pt x="21277" y="111975"/>
                      </a:lnTo>
                      <a:lnTo>
                        <a:pt x="19730" y="134480"/>
                      </a:lnTo>
                      <a:lnTo>
                        <a:pt x="17971" y="156062"/>
                      </a:lnTo>
                      <a:lnTo>
                        <a:pt x="14578" y="194703"/>
                      </a:lnTo>
                      <a:lnTo>
                        <a:pt x="13220" y="210781"/>
                      </a:lnTo>
                      <a:lnTo>
                        <a:pt x="4706" y="316166"/>
                      </a:lnTo>
                      <a:lnTo>
                        <a:pt x="3365" y="333438"/>
                      </a:lnTo>
                      <a:lnTo>
                        <a:pt x="0" y="378434"/>
                      </a:lnTo>
                      <a:lnTo>
                        <a:pt x="105270" y="378434"/>
                      </a:lnTo>
                      <a:lnTo>
                        <a:pt x="104046" y="363283"/>
                      </a:lnTo>
                      <a:lnTo>
                        <a:pt x="16332" y="363283"/>
                      </a:lnTo>
                      <a:lnTo>
                        <a:pt x="19998" y="314960"/>
                      </a:lnTo>
                      <a:lnTo>
                        <a:pt x="29044" y="203352"/>
                      </a:lnTo>
                      <a:lnTo>
                        <a:pt x="29893" y="193425"/>
                      </a:lnTo>
                      <a:lnTo>
                        <a:pt x="33279" y="154871"/>
                      </a:lnTo>
                      <a:lnTo>
                        <a:pt x="34937" y="134480"/>
                      </a:lnTo>
                      <a:lnTo>
                        <a:pt x="36416" y="112783"/>
                      </a:lnTo>
                      <a:lnTo>
                        <a:pt x="37465" y="91097"/>
                      </a:lnTo>
                      <a:lnTo>
                        <a:pt x="39004" y="78358"/>
                      </a:lnTo>
                      <a:lnTo>
                        <a:pt x="42740" y="67322"/>
                      </a:lnTo>
                      <a:lnTo>
                        <a:pt x="48864" y="57582"/>
                      </a:lnTo>
                      <a:lnTo>
                        <a:pt x="57569" y="48729"/>
                      </a:lnTo>
                      <a:lnTo>
                        <a:pt x="59563" y="47028"/>
                      </a:lnTo>
                      <a:lnTo>
                        <a:pt x="61353" y="45123"/>
                      </a:lnTo>
                      <a:lnTo>
                        <a:pt x="62979" y="43103"/>
                      </a:lnTo>
                      <a:lnTo>
                        <a:pt x="78194" y="43103"/>
                      </a:lnTo>
                      <a:lnTo>
                        <a:pt x="74714" y="0"/>
                      </a:lnTo>
                      <a:close/>
                    </a:path>
                    <a:path w="105409" h="378459">
                      <a:moveTo>
                        <a:pt x="78194" y="43103"/>
                      </a:moveTo>
                      <a:lnTo>
                        <a:pt x="62979" y="43103"/>
                      </a:lnTo>
                      <a:lnTo>
                        <a:pt x="88836" y="363283"/>
                      </a:lnTo>
                      <a:lnTo>
                        <a:pt x="104046" y="363283"/>
                      </a:lnTo>
                      <a:lnTo>
                        <a:pt x="78194" y="43103"/>
                      </a:lnTo>
                      <a:close/>
                    </a:path>
                  </a:pathLst>
                </a:custGeom>
                <a:solidFill>
                  <a:srgbClr val="004876"/>
                </a:solidFill>
              </p:spPr>
              <p:txBody>
                <a:bodyPr wrap="square" lIns="0" tIns="0" rIns="0" bIns="0" rtlCol="0"/>
                <a:lstStyle/>
                <a:p>
                  <a:endParaRPr/>
                </a:p>
              </p:txBody>
            </p:sp>
            <p:pic>
              <p:nvPicPr>
                <p:cNvPr id="68" name="object 74">
                  <a:extLst>
                    <a:ext uri="{FF2B5EF4-FFF2-40B4-BE49-F238E27FC236}">
                      <a16:creationId xmlns:a16="http://schemas.microsoft.com/office/drawing/2014/main" id="{7A3EF997-9086-9354-5F4B-A8E47BCB5AE8}"/>
                    </a:ext>
                  </a:extLst>
                </p:cNvPr>
                <p:cNvPicPr/>
                <p:nvPr/>
              </p:nvPicPr>
              <p:blipFill>
                <a:blip r:embed="rId27" cstate="print"/>
                <a:stretch>
                  <a:fillRect/>
                </a:stretch>
              </p:blipFill>
              <p:spPr>
                <a:xfrm>
                  <a:off x="576198" y="845565"/>
                  <a:ext cx="203085" cy="229552"/>
                </a:xfrm>
                <a:prstGeom prst="rect">
                  <a:avLst/>
                </a:prstGeom>
              </p:spPr>
            </p:pic>
            <p:pic>
              <p:nvPicPr>
                <p:cNvPr id="69" name="object 75">
                  <a:extLst>
                    <a:ext uri="{FF2B5EF4-FFF2-40B4-BE49-F238E27FC236}">
                      <a16:creationId xmlns:a16="http://schemas.microsoft.com/office/drawing/2014/main" id="{7E039579-2D70-C393-1BAC-1B7C2DBE3BDC}"/>
                    </a:ext>
                  </a:extLst>
                </p:cNvPr>
                <p:cNvPicPr/>
                <p:nvPr/>
              </p:nvPicPr>
              <p:blipFill>
                <a:blip r:embed="rId28" cstate="print"/>
                <a:stretch>
                  <a:fillRect/>
                </a:stretch>
              </p:blipFill>
              <p:spPr>
                <a:xfrm>
                  <a:off x="566978" y="834692"/>
                  <a:ext cx="222110" cy="251460"/>
                </a:xfrm>
                <a:prstGeom prst="rect">
                  <a:avLst/>
                </a:prstGeom>
              </p:spPr>
            </p:pic>
            <p:pic>
              <p:nvPicPr>
                <p:cNvPr id="70" name="object 76">
                  <a:extLst>
                    <a:ext uri="{FF2B5EF4-FFF2-40B4-BE49-F238E27FC236}">
                      <a16:creationId xmlns:a16="http://schemas.microsoft.com/office/drawing/2014/main" id="{0817AAD1-2DA2-04FF-4562-B435396B2D78}"/>
                    </a:ext>
                  </a:extLst>
                </p:cNvPr>
                <p:cNvPicPr/>
                <p:nvPr/>
              </p:nvPicPr>
              <p:blipFill>
                <a:blip r:embed="rId29" cstate="print"/>
                <a:stretch>
                  <a:fillRect/>
                </a:stretch>
              </p:blipFill>
              <p:spPr>
                <a:xfrm>
                  <a:off x="811326" y="799172"/>
                  <a:ext cx="252539" cy="108661"/>
                </a:xfrm>
                <a:prstGeom prst="rect">
                  <a:avLst/>
                </a:prstGeom>
              </p:spPr>
            </p:pic>
            <p:sp>
              <p:nvSpPr>
                <p:cNvPr id="71" name="object 77">
                  <a:extLst>
                    <a:ext uri="{FF2B5EF4-FFF2-40B4-BE49-F238E27FC236}">
                      <a16:creationId xmlns:a16="http://schemas.microsoft.com/office/drawing/2014/main" id="{C036D7AF-6BF5-77A1-901E-BD5F6869C859}"/>
                    </a:ext>
                  </a:extLst>
                </p:cNvPr>
                <p:cNvSpPr/>
                <p:nvPr/>
              </p:nvSpPr>
              <p:spPr>
                <a:xfrm>
                  <a:off x="799136" y="791736"/>
                  <a:ext cx="285115" cy="124460"/>
                </a:xfrm>
                <a:custGeom>
                  <a:avLst/>
                  <a:gdLst/>
                  <a:ahLst/>
                  <a:cxnLst/>
                  <a:rect l="l" t="t" r="r" b="b"/>
                  <a:pathLst>
                    <a:path w="285115" h="124459">
                      <a:moveTo>
                        <a:pt x="49930" y="0"/>
                      </a:moveTo>
                      <a:lnTo>
                        <a:pt x="39435" y="1463"/>
                      </a:lnTo>
                      <a:lnTo>
                        <a:pt x="28397" y="4519"/>
                      </a:lnTo>
                      <a:lnTo>
                        <a:pt x="20345" y="7275"/>
                      </a:lnTo>
                      <a:lnTo>
                        <a:pt x="24015" y="14971"/>
                      </a:lnTo>
                      <a:lnTo>
                        <a:pt x="31249" y="36861"/>
                      </a:lnTo>
                      <a:lnTo>
                        <a:pt x="30919" y="56807"/>
                      </a:lnTo>
                      <a:lnTo>
                        <a:pt x="22953" y="75145"/>
                      </a:lnTo>
                      <a:lnTo>
                        <a:pt x="7277" y="92213"/>
                      </a:lnTo>
                      <a:lnTo>
                        <a:pt x="0" y="98372"/>
                      </a:lnTo>
                      <a:lnTo>
                        <a:pt x="7645" y="104074"/>
                      </a:lnTo>
                      <a:lnTo>
                        <a:pt x="47409" y="121809"/>
                      </a:lnTo>
                      <a:lnTo>
                        <a:pt x="74104" y="124115"/>
                      </a:lnTo>
                      <a:lnTo>
                        <a:pt x="80175" y="124115"/>
                      </a:lnTo>
                      <a:lnTo>
                        <a:pt x="124897" y="122058"/>
                      </a:lnTo>
                      <a:lnTo>
                        <a:pt x="166798" y="117476"/>
                      </a:lnTo>
                      <a:lnTo>
                        <a:pt x="212598" y="110285"/>
                      </a:lnTo>
                      <a:lnTo>
                        <a:pt x="219022" y="108532"/>
                      </a:lnTo>
                      <a:lnTo>
                        <a:pt x="63284" y="108532"/>
                      </a:lnTo>
                      <a:lnTo>
                        <a:pt x="52758" y="107372"/>
                      </a:lnTo>
                      <a:lnTo>
                        <a:pt x="42795" y="105082"/>
                      </a:lnTo>
                      <a:lnTo>
                        <a:pt x="33351" y="101647"/>
                      </a:lnTo>
                      <a:lnTo>
                        <a:pt x="24384" y="97051"/>
                      </a:lnTo>
                      <a:lnTo>
                        <a:pt x="38336" y="79017"/>
                      </a:lnTo>
                      <a:lnTo>
                        <a:pt x="45800" y="59561"/>
                      </a:lnTo>
                      <a:lnTo>
                        <a:pt x="46767" y="38733"/>
                      </a:lnTo>
                      <a:lnTo>
                        <a:pt x="41224" y="16584"/>
                      </a:lnTo>
                      <a:lnTo>
                        <a:pt x="50088" y="14552"/>
                      </a:lnTo>
                      <a:lnTo>
                        <a:pt x="109928" y="14514"/>
                      </a:lnTo>
                      <a:lnTo>
                        <a:pt x="69138" y="1890"/>
                      </a:lnTo>
                      <a:lnTo>
                        <a:pt x="59843" y="138"/>
                      </a:lnTo>
                      <a:lnTo>
                        <a:pt x="49930" y="0"/>
                      </a:lnTo>
                      <a:close/>
                    </a:path>
                    <a:path w="285115" h="124459">
                      <a:moveTo>
                        <a:pt x="109928" y="14514"/>
                      </a:moveTo>
                      <a:lnTo>
                        <a:pt x="58077" y="14514"/>
                      </a:lnTo>
                      <a:lnTo>
                        <a:pt x="64998" y="16470"/>
                      </a:lnTo>
                      <a:lnTo>
                        <a:pt x="114939" y="31795"/>
                      </a:lnTo>
                      <a:lnTo>
                        <a:pt x="161339" y="48406"/>
                      </a:lnTo>
                      <a:lnTo>
                        <a:pt x="204449" y="66399"/>
                      </a:lnTo>
                      <a:lnTo>
                        <a:pt x="244525" y="85875"/>
                      </a:lnTo>
                      <a:lnTo>
                        <a:pt x="209207" y="95527"/>
                      </a:lnTo>
                      <a:lnTo>
                        <a:pt x="194320" y="98074"/>
                      </a:lnTo>
                      <a:lnTo>
                        <a:pt x="157986" y="103277"/>
                      </a:lnTo>
                      <a:lnTo>
                        <a:pt x="110782" y="107857"/>
                      </a:lnTo>
                      <a:lnTo>
                        <a:pt x="63284" y="108532"/>
                      </a:lnTo>
                      <a:lnTo>
                        <a:pt x="219022" y="108532"/>
                      </a:lnTo>
                      <a:lnTo>
                        <a:pt x="284619" y="90638"/>
                      </a:lnTo>
                      <a:lnTo>
                        <a:pt x="268439" y="81595"/>
                      </a:lnTo>
                      <a:lnTo>
                        <a:pt x="224431" y="58931"/>
                      </a:lnTo>
                      <a:lnTo>
                        <a:pt x="176776" y="38185"/>
                      </a:lnTo>
                      <a:lnTo>
                        <a:pt x="125127" y="19218"/>
                      </a:lnTo>
                      <a:lnTo>
                        <a:pt x="109928" y="14514"/>
                      </a:lnTo>
                      <a:close/>
                    </a:path>
                  </a:pathLst>
                </a:custGeom>
                <a:solidFill>
                  <a:srgbClr val="004876"/>
                </a:solidFill>
              </p:spPr>
              <p:txBody>
                <a:bodyPr wrap="square" lIns="0" tIns="0" rIns="0" bIns="0" rtlCol="0"/>
                <a:lstStyle/>
                <a:p>
                  <a:endParaRPr/>
                </a:p>
              </p:txBody>
            </p:sp>
            <p:pic>
              <p:nvPicPr>
                <p:cNvPr id="72" name="object 78">
                  <a:extLst>
                    <a:ext uri="{FF2B5EF4-FFF2-40B4-BE49-F238E27FC236}">
                      <a16:creationId xmlns:a16="http://schemas.microsoft.com/office/drawing/2014/main" id="{B1D2B9AC-F280-2682-83C8-5AC760DA0D96}"/>
                    </a:ext>
                  </a:extLst>
                </p:cNvPr>
                <p:cNvPicPr/>
                <p:nvPr/>
              </p:nvPicPr>
              <p:blipFill>
                <a:blip r:embed="rId30" cstate="print"/>
                <a:stretch>
                  <a:fillRect/>
                </a:stretch>
              </p:blipFill>
              <p:spPr>
                <a:xfrm>
                  <a:off x="664354" y="551752"/>
                  <a:ext cx="136371" cy="259283"/>
                </a:xfrm>
                <a:prstGeom prst="rect">
                  <a:avLst/>
                </a:prstGeom>
              </p:spPr>
            </p:pic>
            <p:sp>
              <p:nvSpPr>
                <p:cNvPr id="73" name="object 79">
                  <a:extLst>
                    <a:ext uri="{FF2B5EF4-FFF2-40B4-BE49-F238E27FC236}">
                      <a16:creationId xmlns:a16="http://schemas.microsoft.com/office/drawing/2014/main" id="{EB26A24A-697A-6563-96D4-752451E8E9E7}"/>
                    </a:ext>
                  </a:extLst>
                </p:cNvPr>
                <p:cNvSpPr/>
                <p:nvPr/>
              </p:nvSpPr>
              <p:spPr>
                <a:xfrm>
                  <a:off x="656781" y="542842"/>
                  <a:ext cx="151765" cy="281940"/>
                </a:xfrm>
                <a:custGeom>
                  <a:avLst/>
                  <a:gdLst/>
                  <a:ahLst/>
                  <a:cxnLst/>
                  <a:rect l="l" t="t" r="r" b="b"/>
                  <a:pathLst>
                    <a:path w="151765" h="281940">
                      <a:moveTo>
                        <a:pt x="9576" y="0"/>
                      </a:moveTo>
                      <a:lnTo>
                        <a:pt x="6604" y="5105"/>
                      </a:lnTo>
                      <a:lnTo>
                        <a:pt x="2777" y="13250"/>
                      </a:lnTo>
                      <a:lnTo>
                        <a:pt x="639" y="22009"/>
                      </a:lnTo>
                      <a:lnTo>
                        <a:pt x="0" y="32546"/>
                      </a:lnTo>
                      <a:lnTo>
                        <a:pt x="787" y="45542"/>
                      </a:lnTo>
                      <a:lnTo>
                        <a:pt x="6050" y="98771"/>
                      </a:lnTo>
                      <a:lnTo>
                        <a:pt x="14650" y="156111"/>
                      </a:lnTo>
                      <a:lnTo>
                        <a:pt x="23988" y="202678"/>
                      </a:lnTo>
                      <a:lnTo>
                        <a:pt x="34587" y="246216"/>
                      </a:lnTo>
                      <a:lnTo>
                        <a:pt x="62014" y="281368"/>
                      </a:lnTo>
                      <a:lnTo>
                        <a:pt x="66865" y="271551"/>
                      </a:lnTo>
                      <a:lnTo>
                        <a:pt x="72831" y="261475"/>
                      </a:lnTo>
                      <a:lnTo>
                        <a:pt x="78108" y="255346"/>
                      </a:lnTo>
                      <a:lnTo>
                        <a:pt x="58674" y="255346"/>
                      </a:lnTo>
                      <a:lnTo>
                        <a:pt x="54321" y="249872"/>
                      </a:lnTo>
                      <a:lnTo>
                        <a:pt x="38843" y="199633"/>
                      </a:lnTo>
                      <a:lnTo>
                        <a:pt x="29574" y="153436"/>
                      </a:lnTo>
                      <a:lnTo>
                        <a:pt x="23116" y="113675"/>
                      </a:lnTo>
                      <a:lnTo>
                        <a:pt x="15862" y="44043"/>
                      </a:lnTo>
                      <a:lnTo>
                        <a:pt x="15213" y="28681"/>
                      </a:lnTo>
                      <a:lnTo>
                        <a:pt x="15771" y="23271"/>
                      </a:lnTo>
                      <a:lnTo>
                        <a:pt x="16878" y="18834"/>
                      </a:lnTo>
                      <a:lnTo>
                        <a:pt x="38032" y="18834"/>
                      </a:lnTo>
                      <a:lnTo>
                        <a:pt x="36961" y="17384"/>
                      </a:lnTo>
                      <a:lnTo>
                        <a:pt x="31288" y="11061"/>
                      </a:lnTo>
                      <a:lnTo>
                        <a:pt x="24198" y="5548"/>
                      </a:lnTo>
                      <a:lnTo>
                        <a:pt x="15253" y="1625"/>
                      </a:lnTo>
                      <a:lnTo>
                        <a:pt x="9576" y="0"/>
                      </a:lnTo>
                      <a:close/>
                    </a:path>
                    <a:path w="151765" h="281940">
                      <a:moveTo>
                        <a:pt x="113867" y="222732"/>
                      </a:moveTo>
                      <a:lnTo>
                        <a:pt x="73376" y="238810"/>
                      </a:lnTo>
                      <a:lnTo>
                        <a:pt x="58674" y="255346"/>
                      </a:lnTo>
                      <a:lnTo>
                        <a:pt x="78108" y="255346"/>
                      </a:lnTo>
                      <a:lnTo>
                        <a:pt x="79923" y="253237"/>
                      </a:lnTo>
                      <a:lnTo>
                        <a:pt x="88273" y="246705"/>
                      </a:lnTo>
                      <a:lnTo>
                        <a:pt x="98018" y="241744"/>
                      </a:lnTo>
                      <a:lnTo>
                        <a:pt x="108182" y="238736"/>
                      </a:lnTo>
                      <a:lnTo>
                        <a:pt x="118643" y="237804"/>
                      </a:lnTo>
                      <a:lnTo>
                        <a:pt x="150712" y="237804"/>
                      </a:lnTo>
                      <a:lnTo>
                        <a:pt x="150914" y="235788"/>
                      </a:lnTo>
                      <a:lnTo>
                        <a:pt x="151438" y="224942"/>
                      </a:lnTo>
                      <a:lnTo>
                        <a:pt x="136360" y="224942"/>
                      </a:lnTo>
                      <a:lnTo>
                        <a:pt x="124960" y="222942"/>
                      </a:lnTo>
                      <a:lnTo>
                        <a:pt x="113867" y="222732"/>
                      </a:lnTo>
                      <a:close/>
                    </a:path>
                    <a:path w="151765" h="281940">
                      <a:moveTo>
                        <a:pt x="150712" y="237804"/>
                      </a:moveTo>
                      <a:lnTo>
                        <a:pt x="118643" y="237804"/>
                      </a:lnTo>
                      <a:lnTo>
                        <a:pt x="129476" y="238944"/>
                      </a:lnTo>
                      <a:lnTo>
                        <a:pt x="140754" y="242150"/>
                      </a:lnTo>
                      <a:lnTo>
                        <a:pt x="149936" y="245529"/>
                      </a:lnTo>
                      <a:lnTo>
                        <a:pt x="150712" y="237804"/>
                      </a:lnTo>
                      <a:close/>
                    </a:path>
                    <a:path w="151765" h="281940">
                      <a:moveTo>
                        <a:pt x="38032" y="18834"/>
                      </a:moveTo>
                      <a:lnTo>
                        <a:pt x="16878" y="18834"/>
                      </a:lnTo>
                      <a:lnTo>
                        <a:pt x="21806" y="22009"/>
                      </a:lnTo>
                      <a:lnTo>
                        <a:pt x="31737" y="35890"/>
                      </a:lnTo>
                      <a:lnTo>
                        <a:pt x="60405" y="76571"/>
                      </a:lnTo>
                      <a:lnTo>
                        <a:pt x="86403" y="117120"/>
                      </a:lnTo>
                      <a:lnTo>
                        <a:pt x="109902" y="157825"/>
                      </a:lnTo>
                      <a:lnTo>
                        <a:pt x="131077" y="198970"/>
                      </a:lnTo>
                      <a:lnTo>
                        <a:pt x="136360" y="224942"/>
                      </a:lnTo>
                      <a:lnTo>
                        <a:pt x="151438" y="224942"/>
                      </a:lnTo>
                      <a:lnTo>
                        <a:pt x="123223" y="150603"/>
                      </a:lnTo>
                      <a:lnTo>
                        <a:pt x="99374" y="109300"/>
                      </a:lnTo>
                      <a:lnTo>
                        <a:pt x="73006" y="68167"/>
                      </a:lnTo>
                      <a:lnTo>
                        <a:pt x="43942" y="26911"/>
                      </a:lnTo>
                      <a:lnTo>
                        <a:pt x="41656" y="23736"/>
                      </a:lnTo>
                      <a:lnTo>
                        <a:pt x="38032" y="18834"/>
                      </a:lnTo>
                      <a:close/>
                    </a:path>
                  </a:pathLst>
                </a:custGeom>
                <a:solidFill>
                  <a:srgbClr val="004876"/>
                </a:solidFill>
              </p:spPr>
              <p:txBody>
                <a:bodyPr wrap="square" lIns="0" tIns="0" rIns="0" bIns="0" rtlCol="0"/>
                <a:lstStyle/>
                <a:p>
                  <a:endParaRPr/>
                </a:p>
              </p:txBody>
            </p:sp>
            <p:pic>
              <p:nvPicPr>
                <p:cNvPr id="74" name="object 80">
                  <a:extLst>
                    <a:ext uri="{FF2B5EF4-FFF2-40B4-BE49-F238E27FC236}">
                      <a16:creationId xmlns:a16="http://schemas.microsoft.com/office/drawing/2014/main" id="{1FA2B446-202E-F25A-EDB9-4B6C6D9D4621}"/>
                    </a:ext>
                  </a:extLst>
                </p:cNvPr>
                <p:cNvPicPr/>
                <p:nvPr/>
              </p:nvPicPr>
              <p:blipFill>
                <a:blip r:embed="rId31" cstate="print"/>
                <a:stretch>
                  <a:fillRect/>
                </a:stretch>
              </p:blipFill>
              <p:spPr>
                <a:xfrm>
                  <a:off x="731405" y="792861"/>
                  <a:ext cx="87160" cy="87680"/>
                </a:xfrm>
                <a:prstGeom prst="rect">
                  <a:avLst/>
                </a:prstGeom>
              </p:spPr>
            </p:pic>
            <p:pic>
              <p:nvPicPr>
                <p:cNvPr id="75" name="object 81">
                  <a:extLst>
                    <a:ext uri="{FF2B5EF4-FFF2-40B4-BE49-F238E27FC236}">
                      <a16:creationId xmlns:a16="http://schemas.microsoft.com/office/drawing/2014/main" id="{18F66042-47B8-4387-267A-2BC9A07EDEF0}"/>
                    </a:ext>
                  </a:extLst>
                </p:cNvPr>
                <p:cNvPicPr/>
                <p:nvPr/>
              </p:nvPicPr>
              <p:blipFill>
                <a:blip r:embed="rId32" cstate="print"/>
                <a:stretch>
                  <a:fillRect/>
                </a:stretch>
              </p:blipFill>
              <p:spPr>
                <a:xfrm>
                  <a:off x="723835" y="785375"/>
                  <a:ext cx="102311" cy="102793"/>
                </a:xfrm>
                <a:prstGeom prst="rect">
                  <a:avLst/>
                </a:prstGeom>
              </p:spPr>
            </p:pic>
          </p:grpSp>
        </p:grpSp>
      </p:grpSp>
    </p:spTree>
    <p:extLst>
      <p:ext uri="{BB962C8B-B14F-4D97-AF65-F5344CB8AC3E}">
        <p14:creationId xmlns:p14="http://schemas.microsoft.com/office/powerpoint/2010/main" val="38346793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3DEAD90-45A5-1C5F-0C84-5BF3C22C262D}"/>
              </a:ext>
            </a:extLst>
          </p:cNvPr>
          <p:cNvGraphicFramePr>
            <a:graphicFrameLocks noChangeAspect="1"/>
          </p:cNvGraphicFramePr>
          <p:nvPr>
            <p:custDataLst>
              <p:tags r:id="rId1"/>
            </p:custDataLst>
            <p:extLst>
              <p:ext uri="{D42A27DB-BD31-4B8C-83A1-F6EECF244321}">
                <p14:modId xmlns:p14="http://schemas.microsoft.com/office/powerpoint/2010/main" val="4774551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13DEAD90-45A5-1C5F-0C84-5BF3C22C262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36" name="Picture 12" descr="Countries planning COP26 deal to end financing of fossil fuels abroad,  sources say | SBS News">
            <a:extLst>
              <a:ext uri="{FF2B5EF4-FFF2-40B4-BE49-F238E27FC236}">
                <a16:creationId xmlns:a16="http://schemas.microsoft.com/office/drawing/2014/main" id="{2BF6C00B-02B5-4E52-6702-CA4E6147941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5349" y="1376575"/>
            <a:ext cx="3876178" cy="2180350"/>
          </a:xfrm>
          <a:prstGeom prst="rect">
            <a:avLst/>
          </a:prstGeom>
          <a:noFill/>
          <a:extLst>
            <a:ext uri="{909E8E84-426E-40DD-AFC4-6F175D3DCCD1}">
              <a14:hiddenFill xmlns:a14="http://schemas.microsoft.com/office/drawing/2010/main">
                <a:solidFill>
                  <a:srgbClr val="FFFFFF"/>
                </a:solidFill>
              </a14:hiddenFill>
            </a:ext>
          </a:extLst>
        </p:spPr>
      </p:pic>
      <p:sp>
        <p:nvSpPr>
          <p:cNvPr id="5" name="Title 4">
            <a:extLst>
              <a:ext uri="{FF2B5EF4-FFF2-40B4-BE49-F238E27FC236}">
                <a16:creationId xmlns:a16="http://schemas.microsoft.com/office/drawing/2014/main" id="{C4EC7336-97D5-034D-9018-B4A178194794}"/>
              </a:ext>
            </a:extLst>
          </p:cNvPr>
          <p:cNvSpPr>
            <a:spLocks noGrp="1"/>
          </p:cNvSpPr>
          <p:nvPr>
            <p:ph type="title"/>
          </p:nvPr>
        </p:nvSpPr>
        <p:spPr/>
        <p:txBody>
          <a:bodyPr vert="horz"/>
          <a:lstStyle/>
          <a:p>
            <a:r>
              <a:rPr lang="en-GB"/>
              <a:t>Countries have made ambitious commitments are recent COPs which </a:t>
            </a:r>
            <a:br>
              <a:rPr lang="en-GB"/>
            </a:br>
            <a:r>
              <a:rPr lang="en-GB"/>
              <a:t>they must now deliver on</a:t>
            </a:r>
          </a:p>
        </p:txBody>
      </p:sp>
      <p:sp>
        <p:nvSpPr>
          <p:cNvPr id="3" name="Slide Number Placeholder 2">
            <a:extLst>
              <a:ext uri="{FF2B5EF4-FFF2-40B4-BE49-F238E27FC236}">
                <a16:creationId xmlns:a16="http://schemas.microsoft.com/office/drawing/2014/main" id="{2E4E14AE-4053-1F35-A591-3246D6F6C80F}"/>
              </a:ext>
            </a:extLst>
          </p:cNvPr>
          <p:cNvSpPr>
            <a:spLocks noGrp="1"/>
          </p:cNvSpPr>
          <p:nvPr>
            <p:ph type="sldNum" sz="quarter" idx="12"/>
          </p:nvPr>
        </p:nvSpPr>
        <p:spPr/>
        <p:txBody>
          <a:bodyPr/>
          <a:lstStyle/>
          <a:p>
            <a:fld id="{DDF71BC8-773F-4A54-968E-450E29C75AD4}" type="slidenum">
              <a:rPr lang="en-GB" smtClean="0"/>
              <a:pPr/>
              <a:t>14</a:t>
            </a:fld>
            <a:endParaRPr lang="en-GB"/>
          </a:p>
        </p:txBody>
      </p:sp>
      <p:sp>
        <p:nvSpPr>
          <p:cNvPr id="4" name="Footer Placeholder 3">
            <a:extLst>
              <a:ext uri="{FF2B5EF4-FFF2-40B4-BE49-F238E27FC236}">
                <a16:creationId xmlns:a16="http://schemas.microsoft.com/office/drawing/2014/main" id="{30448312-9900-D142-ED02-BE9B6B2BD2A5}"/>
              </a:ext>
            </a:extLst>
          </p:cNvPr>
          <p:cNvSpPr>
            <a:spLocks noGrp="1"/>
          </p:cNvSpPr>
          <p:nvPr>
            <p:ph type="ftr" sz="quarter" idx="13"/>
          </p:nvPr>
        </p:nvSpPr>
        <p:spPr/>
        <p:txBody>
          <a:bodyPr/>
          <a:lstStyle/>
          <a:p>
            <a:endParaRPr lang="en-GB"/>
          </a:p>
        </p:txBody>
      </p:sp>
      <p:grpSp>
        <p:nvGrpSpPr>
          <p:cNvPr id="6" name="Group 5">
            <a:extLst>
              <a:ext uri="{FF2B5EF4-FFF2-40B4-BE49-F238E27FC236}">
                <a16:creationId xmlns:a16="http://schemas.microsoft.com/office/drawing/2014/main" id="{B28D744D-DA68-1519-7F10-CDDD84666D38}"/>
              </a:ext>
            </a:extLst>
          </p:cNvPr>
          <p:cNvGrpSpPr/>
          <p:nvPr/>
        </p:nvGrpSpPr>
        <p:grpSpPr>
          <a:xfrm>
            <a:off x="11404762" y="179388"/>
            <a:ext cx="563562" cy="563562"/>
            <a:chOff x="4922326" y="4454848"/>
            <a:chExt cx="725475" cy="725475"/>
          </a:xfrm>
        </p:grpSpPr>
        <p:sp>
          <p:nvSpPr>
            <p:cNvPr id="8" name="Oval 7">
              <a:extLst>
                <a:ext uri="{FF2B5EF4-FFF2-40B4-BE49-F238E27FC236}">
                  <a16:creationId xmlns:a16="http://schemas.microsoft.com/office/drawing/2014/main" id="{F08889F8-E103-A154-CF22-87BC02F17B77}"/>
                </a:ext>
              </a:extLst>
            </p:cNvPr>
            <p:cNvSpPr/>
            <p:nvPr/>
          </p:nvSpPr>
          <p:spPr>
            <a:xfrm>
              <a:off x="4922326" y="4454848"/>
              <a:ext cx="725475" cy="725475"/>
            </a:xfrm>
            <a:prstGeom prst="ellipse">
              <a:avLst/>
            </a:prstGeom>
            <a:solidFill>
              <a:schemeClr val="bg1">
                <a:lumMod val="95000"/>
              </a:schemeClr>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a:ln>
                  <a:noFill/>
                </a:ln>
                <a:solidFill>
                  <a:schemeClr val="bg1"/>
                </a:solidFill>
                <a:latin typeface="Century Gothic" panose="020B0502020202020204" pitchFamily="34" charset="0"/>
              </a:endParaRPr>
            </a:p>
          </p:txBody>
        </p:sp>
        <p:grpSp>
          <p:nvGrpSpPr>
            <p:cNvPr id="9" name="object 2">
              <a:extLst>
                <a:ext uri="{FF2B5EF4-FFF2-40B4-BE49-F238E27FC236}">
                  <a16:creationId xmlns:a16="http://schemas.microsoft.com/office/drawing/2014/main" id="{C082B07E-4FBE-6083-D0AA-27626A71CDA4}"/>
                </a:ext>
              </a:extLst>
            </p:cNvPr>
            <p:cNvGrpSpPr/>
            <p:nvPr/>
          </p:nvGrpSpPr>
          <p:grpSpPr>
            <a:xfrm>
              <a:off x="5100497" y="4595933"/>
              <a:ext cx="369133" cy="443304"/>
              <a:chOff x="8161240" y="7944367"/>
              <a:chExt cx="679450" cy="815975"/>
            </a:xfrm>
          </p:grpSpPr>
          <p:sp>
            <p:nvSpPr>
              <p:cNvPr id="10" name="object 3">
                <a:extLst>
                  <a:ext uri="{FF2B5EF4-FFF2-40B4-BE49-F238E27FC236}">
                    <a16:creationId xmlns:a16="http://schemas.microsoft.com/office/drawing/2014/main" id="{833E697C-769F-A94A-6E3C-5EBB3AF7816B}"/>
                  </a:ext>
                </a:extLst>
              </p:cNvPr>
              <p:cNvSpPr/>
              <p:nvPr/>
            </p:nvSpPr>
            <p:spPr>
              <a:xfrm>
                <a:off x="8248916" y="8019110"/>
                <a:ext cx="591820" cy="741045"/>
              </a:xfrm>
              <a:custGeom>
                <a:avLst/>
                <a:gdLst/>
                <a:ahLst/>
                <a:cxnLst/>
                <a:rect l="l" t="t" r="r" b="b"/>
                <a:pathLst>
                  <a:path w="591820" h="741045">
                    <a:moveTo>
                      <a:pt x="486765" y="65062"/>
                    </a:moveTo>
                    <a:lnTo>
                      <a:pt x="486346" y="57759"/>
                    </a:lnTo>
                    <a:lnTo>
                      <a:pt x="483463" y="8407"/>
                    </a:lnTo>
                    <a:lnTo>
                      <a:pt x="482968" y="0"/>
                    </a:lnTo>
                    <a:lnTo>
                      <a:pt x="0" y="26784"/>
                    </a:lnTo>
                    <a:lnTo>
                      <a:pt x="37350" y="700100"/>
                    </a:lnTo>
                    <a:lnTo>
                      <a:pt x="65887" y="698715"/>
                    </a:lnTo>
                    <a:lnTo>
                      <a:pt x="65544" y="691730"/>
                    </a:lnTo>
                    <a:lnTo>
                      <a:pt x="65316" y="687095"/>
                    </a:lnTo>
                    <a:lnTo>
                      <a:pt x="64935" y="679132"/>
                    </a:lnTo>
                    <a:lnTo>
                      <a:pt x="64909" y="678713"/>
                    </a:lnTo>
                    <a:lnTo>
                      <a:pt x="56210" y="679132"/>
                    </a:lnTo>
                    <a:lnTo>
                      <a:pt x="21069" y="45618"/>
                    </a:lnTo>
                    <a:lnTo>
                      <a:pt x="464159" y="21069"/>
                    </a:lnTo>
                    <a:lnTo>
                      <a:pt x="466737" y="66217"/>
                    </a:lnTo>
                    <a:lnTo>
                      <a:pt x="486765" y="65062"/>
                    </a:lnTo>
                    <a:close/>
                  </a:path>
                  <a:path w="591820" h="741045">
                    <a:moveTo>
                      <a:pt x="551472" y="66382"/>
                    </a:moveTo>
                    <a:lnTo>
                      <a:pt x="543483" y="66382"/>
                    </a:lnTo>
                    <a:lnTo>
                      <a:pt x="543483" y="725131"/>
                    </a:lnTo>
                    <a:lnTo>
                      <a:pt x="543483" y="725512"/>
                    </a:lnTo>
                    <a:lnTo>
                      <a:pt x="539445" y="725512"/>
                    </a:lnTo>
                    <a:lnTo>
                      <a:pt x="539445" y="725131"/>
                    </a:lnTo>
                    <a:lnTo>
                      <a:pt x="543483" y="725131"/>
                    </a:lnTo>
                    <a:lnTo>
                      <a:pt x="543483" y="66382"/>
                    </a:lnTo>
                    <a:lnTo>
                      <a:pt x="535444" y="66382"/>
                    </a:lnTo>
                    <a:lnTo>
                      <a:pt x="535444" y="86702"/>
                    </a:lnTo>
                    <a:lnTo>
                      <a:pt x="531456" y="86728"/>
                    </a:lnTo>
                    <a:lnTo>
                      <a:pt x="531456" y="721144"/>
                    </a:lnTo>
                    <a:lnTo>
                      <a:pt x="535444" y="721144"/>
                    </a:lnTo>
                    <a:lnTo>
                      <a:pt x="535444" y="721702"/>
                    </a:lnTo>
                    <a:lnTo>
                      <a:pt x="87757" y="721702"/>
                    </a:lnTo>
                    <a:lnTo>
                      <a:pt x="87757" y="86702"/>
                    </a:lnTo>
                    <a:lnTo>
                      <a:pt x="535444" y="86702"/>
                    </a:lnTo>
                    <a:lnTo>
                      <a:pt x="535444" y="66382"/>
                    </a:lnTo>
                    <a:lnTo>
                      <a:pt x="67754" y="66382"/>
                    </a:lnTo>
                    <a:lnTo>
                      <a:pt x="67754" y="75272"/>
                    </a:lnTo>
                    <a:lnTo>
                      <a:pt x="67754" y="733132"/>
                    </a:lnTo>
                    <a:lnTo>
                      <a:pt x="67754" y="740752"/>
                    </a:lnTo>
                    <a:lnTo>
                      <a:pt x="551472" y="740752"/>
                    </a:lnTo>
                    <a:lnTo>
                      <a:pt x="551472" y="733183"/>
                    </a:lnTo>
                    <a:lnTo>
                      <a:pt x="551472" y="75272"/>
                    </a:lnTo>
                    <a:lnTo>
                      <a:pt x="551472" y="74714"/>
                    </a:lnTo>
                    <a:lnTo>
                      <a:pt x="551472" y="66382"/>
                    </a:lnTo>
                    <a:close/>
                  </a:path>
                  <a:path w="591820" h="741045">
                    <a:moveTo>
                      <a:pt x="591515" y="100190"/>
                    </a:moveTo>
                    <a:lnTo>
                      <a:pt x="553466" y="100190"/>
                    </a:lnTo>
                    <a:lnTo>
                      <a:pt x="553466" y="107810"/>
                    </a:lnTo>
                    <a:lnTo>
                      <a:pt x="553466" y="111620"/>
                    </a:lnTo>
                    <a:lnTo>
                      <a:pt x="553466" y="120510"/>
                    </a:lnTo>
                    <a:lnTo>
                      <a:pt x="571487" y="120510"/>
                    </a:lnTo>
                    <a:lnTo>
                      <a:pt x="571487" y="688200"/>
                    </a:lnTo>
                    <a:lnTo>
                      <a:pt x="553466" y="688200"/>
                    </a:lnTo>
                    <a:lnTo>
                      <a:pt x="553466" y="695820"/>
                    </a:lnTo>
                    <a:lnTo>
                      <a:pt x="553466" y="699630"/>
                    </a:lnTo>
                    <a:lnTo>
                      <a:pt x="553466" y="707250"/>
                    </a:lnTo>
                    <a:lnTo>
                      <a:pt x="591515" y="707250"/>
                    </a:lnTo>
                    <a:lnTo>
                      <a:pt x="591515" y="699706"/>
                    </a:lnTo>
                    <a:lnTo>
                      <a:pt x="591515" y="108178"/>
                    </a:lnTo>
                    <a:lnTo>
                      <a:pt x="587489" y="108178"/>
                    </a:lnTo>
                    <a:lnTo>
                      <a:pt x="587489" y="107810"/>
                    </a:lnTo>
                    <a:lnTo>
                      <a:pt x="591515" y="107810"/>
                    </a:lnTo>
                    <a:lnTo>
                      <a:pt x="591515" y="100190"/>
                    </a:lnTo>
                    <a:close/>
                  </a:path>
                </a:pathLst>
              </a:custGeom>
              <a:solidFill>
                <a:srgbClr val="004876"/>
              </a:solidFill>
            </p:spPr>
            <p:txBody>
              <a:bodyPr wrap="square" lIns="0" tIns="0" rIns="0" bIns="0" rtlCol="0"/>
              <a:lstStyle/>
              <a:p>
                <a:endParaRPr/>
              </a:p>
            </p:txBody>
          </p:sp>
          <p:pic>
            <p:nvPicPr>
              <p:cNvPr id="11" name="object 4">
                <a:extLst>
                  <a:ext uri="{FF2B5EF4-FFF2-40B4-BE49-F238E27FC236}">
                    <a16:creationId xmlns:a16="http://schemas.microsoft.com/office/drawing/2014/main" id="{7E7CDA69-B626-97E5-E57A-11505FF48BF0}"/>
                  </a:ext>
                </a:extLst>
              </p:cNvPr>
              <p:cNvPicPr/>
              <p:nvPr/>
            </p:nvPicPr>
            <p:blipFill>
              <a:blip r:embed="rId6" cstate="print"/>
              <a:stretch>
                <a:fillRect/>
              </a:stretch>
            </p:blipFill>
            <p:spPr>
              <a:xfrm>
                <a:off x="8576839" y="8551730"/>
                <a:ext cx="159664" cy="159677"/>
              </a:xfrm>
              <a:prstGeom prst="rect">
                <a:avLst/>
              </a:prstGeom>
            </p:spPr>
          </p:pic>
          <p:sp>
            <p:nvSpPr>
              <p:cNvPr id="12" name="object 5">
                <a:extLst>
                  <a:ext uri="{FF2B5EF4-FFF2-40B4-BE49-F238E27FC236}">
                    <a16:creationId xmlns:a16="http://schemas.microsoft.com/office/drawing/2014/main" id="{B56A1D57-E1B7-7F66-BA87-7B223A48EC4D}"/>
                  </a:ext>
                </a:extLst>
              </p:cNvPr>
              <p:cNvSpPr/>
              <p:nvPr/>
            </p:nvSpPr>
            <p:spPr>
              <a:xfrm>
                <a:off x="8386559" y="8162963"/>
                <a:ext cx="342900" cy="501650"/>
              </a:xfrm>
              <a:custGeom>
                <a:avLst/>
                <a:gdLst/>
                <a:ahLst/>
                <a:cxnLst/>
                <a:rect l="l" t="t" r="r" b="b"/>
                <a:pathLst>
                  <a:path w="342900" h="501650">
                    <a:moveTo>
                      <a:pt x="102908" y="481330"/>
                    </a:moveTo>
                    <a:lnTo>
                      <a:pt x="0" y="481330"/>
                    </a:lnTo>
                    <a:lnTo>
                      <a:pt x="0" y="490220"/>
                    </a:lnTo>
                    <a:lnTo>
                      <a:pt x="0" y="494030"/>
                    </a:lnTo>
                    <a:lnTo>
                      <a:pt x="0" y="501650"/>
                    </a:lnTo>
                    <a:lnTo>
                      <a:pt x="102908" y="501650"/>
                    </a:lnTo>
                    <a:lnTo>
                      <a:pt x="102908" y="494030"/>
                    </a:lnTo>
                    <a:lnTo>
                      <a:pt x="98907" y="494030"/>
                    </a:lnTo>
                    <a:lnTo>
                      <a:pt x="98907" y="493877"/>
                    </a:lnTo>
                    <a:lnTo>
                      <a:pt x="102908" y="493877"/>
                    </a:lnTo>
                    <a:lnTo>
                      <a:pt x="102908" y="490220"/>
                    </a:lnTo>
                    <a:lnTo>
                      <a:pt x="102908" y="489851"/>
                    </a:lnTo>
                    <a:lnTo>
                      <a:pt x="102908" y="481330"/>
                    </a:lnTo>
                    <a:close/>
                  </a:path>
                  <a:path w="342900" h="501650">
                    <a:moveTo>
                      <a:pt x="158369" y="388620"/>
                    </a:moveTo>
                    <a:lnTo>
                      <a:pt x="0" y="388620"/>
                    </a:lnTo>
                    <a:lnTo>
                      <a:pt x="0" y="396240"/>
                    </a:lnTo>
                    <a:lnTo>
                      <a:pt x="0" y="401320"/>
                    </a:lnTo>
                    <a:lnTo>
                      <a:pt x="0" y="408940"/>
                    </a:lnTo>
                    <a:lnTo>
                      <a:pt x="158369" y="408940"/>
                    </a:lnTo>
                    <a:lnTo>
                      <a:pt x="158369" y="401320"/>
                    </a:lnTo>
                    <a:lnTo>
                      <a:pt x="154368" y="401320"/>
                    </a:lnTo>
                    <a:lnTo>
                      <a:pt x="154368" y="400824"/>
                    </a:lnTo>
                    <a:lnTo>
                      <a:pt x="158369" y="400824"/>
                    </a:lnTo>
                    <a:lnTo>
                      <a:pt x="158369" y="396760"/>
                    </a:lnTo>
                    <a:lnTo>
                      <a:pt x="154368" y="396760"/>
                    </a:lnTo>
                    <a:lnTo>
                      <a:pt x="154368" y="396240"/>
                    </a:lnTo>
                    <a:lnTo>
                      <a:pt x="158369" y="396240"/>
                    </a:lnTo>
                    <a:lnTo>
                      <a:pt x="158369" y="388620"/>
                    </a:lnTo>
                    <a:close/>
                  </a:path>
                  <a:path w="342900" h="501650">
                    <a:moveTo>
                      <a:pt x="186677" y="0"/>
                    </a:moveTo>
                    <a:lnTo>
                      <a:pt x="84023" y="0"/>
                    </a:lnTo>
                    <a:lnTo>
                      <a:pt x="84023" y="8890"/>
                    </a:lnTo>
                    <a:lnTo>
                      <a:pt x="84023" y="12700"/>
                    </a:lnTo>
                    <a:lnTo>
                      <a:pt x="84023" y="20320"/>
                    </a:lnTo>
                    <a:lnTo>
                      <a:pt x="186677" y="20320"/>
                    </a:lnTo>
                    <a:lnTo>
                      <a:pt x="186677" y="12700"/>
                    </a:lnTo>
                    <a:lnTo>
                      <a:pt x="182689" y="12700"/>
                    </a:lnTo>
                    <a:lnTo>
                      <a:pt x="186677" y="12598"/>
                    </a:lnTo>
                    <a:lnTo>
                      <a:pt x="186677" y="8890"/>
                    </a:lnTo>
                    <a:lnTo>
                      <a:pt x="186677" y="8572"/>
                    </a:lnTo>
                    <a:lnTo>
                      <a:pt x="186677" y="0"/>
                    </a:lnTo>
                    <a:close/>
                  </a:path>
                  <a:path w="342900" h="501650">
                    <a:moveTo>
                      <a:pt x="242392" y="596"/>
                    </a:moveTo>
                    <a:lnTo>
                      <a:pt x="201574" y="596"/>
                    </a:lnTo>
                    <a:lnTo>
                      <a:pt x="201574" y="20586"/>
                    </a:lnTo>
                    <a:lnTo>
                      <a:pt x="242392" y="20586"/>
                    </a:lnTo>
                    <a:lnTo>
                      <a:pt x="242392" y="12598"/>
                    </a:lnTo>
                    <a:lnTo>
                      <a:pt x="242392" y="8572"/>
                    </a:lnTo>
                    <a:lnTo>
                      <a:pt x="242392" y="596"/>
                    </a:lnTo>
                    <a:close/>
                  </a:path>
                  <a:path w="342900" h="501650">
                    <a:moveTo>
                      <a:pt x="309753" y="231140"/>
                    </a:moveTo>
                    <a:lnTo>
                      <a:pt x="16002" y="231140"/>
                    </a:lnTo>
                    <a:lnTo>
                      <a:pt x="16002" y="238760"/>
                    </a:lnTo>
                    <a:lnTo>
                      <a:pt x="16002" y="242570"/>
                    </a:lnTo>
                    <a:lnTo>
                      <a:pt x="16002" y="251460"/>
                    </a:lnTo>
                    <a:lnTo>
                      <a:pt x="309753" y="251460"/>
                    </a:lnTo>
                    <a:lnTo>
                      <a:pt x="309753" y="243078"/>
                    </a:lnTo>
                    <a:lnTo>
                      <a:pt x="309753" y="242570"/>
                    </a:lnTo>
                    <a:lnTo>
                      <a:pt x="309753" y="239026"/>
                    </a:lnTo>
                    <a:lnTo>
                      <a:pt x="305765" y="239026"/>
                    </a:lnTo>
                    <a:lnTo>
                      <a:pt x="305765" y="238760"/>
                    </a:lnTo>
                    <a:lnTo>
                      <a:pt x="309753" y="238760"/>
                    </a:lnTo>
                    <a:lnTo>
                      <a:pt x="309753" y="231140"/>
                    </a:lnTo>
                    <a:close/>
                  </a:path>
                  <a:path w="342900" h="501650">
                    <a:moveTo>
                      <a:pt x="309753" y="173990"/>
                    </a:moveTo>
                    <a:lnTo>
                      <a:pt x="16002" y="173990"/>
                    </a:lnTo>
                    <a:lnTo>
                      <a:pt x="16002" y="181610"/>
                    </a:lnTo>
                    <a:lnTo>
                      <a:pt x="16002" y="185420"/>
                    </a:lnTo>
                    <a:lnTo>
                      <a:pt x="16002" y="193040"/>
                    </a:lnTo>
                    <a:lnTo>
                      <a:pt x="309753" y="193040"/>
                    </a:lnTo>
                    <a:lnTo>
                      <a:pt x="309753" y="185458"/>
                    </a:lnTo>
                    <a:lnTo>
                      <a:pt x="309753" y="181610"/>
                    </a:lnTo>
                    <a:lnTo>
                      <a:pt x="309753" y="181394"/>
                    </a:lnTo>
                    <a:lnTo>
                      <a:pt x="309753" y="173990"/>
                    </a:lnTo>
                    <a:close/>
                  </a:path>
                  <a:path w="342900" h="501650">
                    <a:moveTo>
                      <a:pt x="310400" y="58420"/>
                    </a:moveTo>
                    <a:lnTo>
                      <a:pt x="16002" y="58420"/>
                    </a:lnTo>
                    <a:lnTo>
                      <a:pt x="16002" y="66040"/>
                    </a:lnTo>
                    <a:lnTo>
                      <a:pt x="16002" y="69850"/>
                    </a:lnTo>
                    <a:lnTo>
                      <a:pt x="16002" y="78740"/>
                    </a:lnTo>
                    <a:lnTo>
                      <a:pt x="310400" y="78740"/>
                    </a:lnTo>
                    <a:lnTo>
                      <a:pt x="310400" y="70231"/>
                    </a:lnTo>
                    <a:lnTo>
                      <a:pt x="310400" y="69850"/>
                    </a:lnTo>
                    <a:lnTo>
                      <a:pt x="310400" y="66205"/>
                    </a:lnTo>
                    <a:lnTo>
                      <a:pt x="306362" y="66205"/>
                    </a:lnTo>
                    <a:lnTo>
                      <a:pt x="306362" y="66040"/>
                    </a:lnTo>
                    <a:lnTo>
                      <a:pt x="310400" y="66040"/>
                    </a:lnTo>
                    <a:lnTo>
                      <a:pt x="310400" y="58420"/>
                    </a:lnTo>
                    <a:close/>
                  </a:path>
                  <a:path w="342900" h="501650">
                    <a:moveTo>
                      <a:pt x="342506" y="288290"/>
                    </a:moveTo>
                    <a:lnTo>
                      <a:pt x="100774" y="288290"/>
                    </a:lnTo>
                    <a:lnTo>
                      <a:pt x="100774" y="297180"/>
                    </a:lnTo>
                    <a:lnTo>
                      <a:pt x="100774" y="300990"/>
                    </a:lnTo>
                    <a:lnTo>
                      <a:pt x="100774" y="308610"/>
                    </a:lnTo>
                    <a:lnTo>
                      <a:pt x="342506" y="308610"/>
                    </a:lnTo>
                    <a:lnTo>
                      <a:pt x="342506" y="300990"/>
                    </a:lnTo>
                    <a:lnTo>
                      <a:pt x="338480" y="300990"/>
                    </a:lnTo>
                    <a:lnTo>
                      <a:pt x="338480" y="300672"/>
                    </a:lnTo>
                    <a:lnTo>
                      <a:pt x="342506" y="300672"/>
                    </a:lnTo>
                    <a:lnTo>
                      <a:pt x="342506" y="297180"/>
                    </a:lnTo>
                    <a:lnTo>
                      <a:pt x="342506" y="296621"/>
                    </a:lnTo>
                    <a:lnTo>
                      <a:pt x="342506" y="288290"/>
                    </a:lnTo>
                    <a:close/>
                  </a:path>
                  <a:path w="342900" h="501650">
                    <a:moveTo>
                      <a:pt x="342506" y="115570"/>
                    </a:moveTo>
                    <a:lnTo>
                      <a:pt x="37020" y="115570"/>
                    </a:lnTo>
                    <a:lnTo>
                      <a:pt x="37020" y="123190"/>
                    </a:lnTo>
                    <a:lnTo>
                      <a:pt x="37020" y="128270"/>
                    </a:lnTo>
                    <a:lnTo>
                      <a:pt x="37020" y="135890"/>
                    </a:lnTo>
                    <a:lnTo>
                      <a:pt x="342506" y="135890"/>
                    </a:lnTo>
                    <a:lnTo>
                      <a:pt x="342506" y="128270"/>
                    </a:lnTo>
                    <a:lnTo>
                      <a:pt x="338518" y="128270"/>
                    </a:lnTo>
                    <a:lnTo>
                      <a:pt x="338518" y="127850"/>
                    </a:lnTo>
                    <a:lnTo>
                      <a:pt x="342506" y="127850"/>
                    </a:lnTo>
                    <a:lnTo>
                      <a:pt x="342506" y="123799"/>
                    </a:lnTo>
                    <a:lnTo>
                      <a:pt x="338518" y="123799"/>
                    </a:lnTo>
                    <a:lnTo>
                      <a:pt x="338518" y="123190"/>
                    </a:lnTo>
                    <a:lnTo>
                      <a:pt x="342506" y="123190"/>
                    </a:lnTo>
                    <a:lnTo>
                      <a:pt x="342506" y="115570"/>
                    </a:lnTo>
                    <a:close/>
                  </a:path>
                </a:pathLst>
              </a:custGeom>
              <a:solidFill>
                <a:srgbClr val="004876"/>
              </a:solidFill>
            </p:spPr>
            <p:txBody>
              <a:bodyPr wrap="square" lIns="0" tIns="0" rIns="0" bIns="0" rtlCol="0"/>
              <a:lstStyle/>
              <a:p>
                <a:endParaRPr/>
              </a:p>
            </p:txBody>
          </p:sp>
          <p:pic>
            <p:nvPicPr>
              <p:cNvPr id="13" name="object 6">
                <a:extLst>
                  <a:ext uri="{FF2B5EF4-FFF2-40B4-BE49-F238E27FC236}">
                    <a16:creationId xmlns:a16="http://schemas.microsoft.com/office/drawing/2014/main" id="{3C96E54C-B1D5-70B4-A8AE-2BE1D0510A67}"/>
                  </a:ext>
                </a:extLst>
              </p:cNvPr>
              <p:cNvPicPr/>
              <p:nvPr/>
            </p:nvPicPr>
            <p:blipFill>
              <a:blip r:embed="rId7" cstate="print"/>
              <a:stretch>
                <a:fillRect/>
              </a:stretch>
            </p:blipFill>
            <p:spPr>
              <a:xfrm>
                <a:off x="8161240" y="7944367"/>
                <a:ext cx="110150" cy="116442"/>
              </a:xfrm>
              <a:prstGeom prst="rect">
                <a:avLst/>
              </a:prstGeom>
            </p:spPr>
          </p:pic>
        </p:grpSp>
      </p:grpSp>
      <p:pic>
        <p:nvPicPr>
          <p:cNvPr id="1034" name="Picture 10" descr="COP27 kicks off with loss and damage financing formally on the agenda |  Enterprise">
            <a:extLst>
              <a:ext uri="{FF2B5EF4-FFF2-40B4-BE49-F238E27FC236}">
                <a16:creationId xmlns:a16="http://schemas.microsoft.com/office/drawing/2014/main" id="{26CFB794-F75D-6735-044D-7D786610DC89}"/>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t="25872"/>
          <a:stretch/>
        </p:blipFill>
        <p:spPr bwMode="auto">
          <a:xfrm>
            <a:off x="1329994" y="2684217"/>
            <a:ext cx="3484977" cy="1708244"/>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Delegates at COP28 applaud the final decision text at COP28">
            <a:extLst>
              <a:ext uri="{FF2B5EF4-FFF2-40B4-BE49-F238E27FC236}">
                <a16:creationId xmlns:a16="http://schemas.microsoft.com/office/drawing/2014/main" id="{C7ACEA5D-FF12-5652-3DDD-AC5766C19FA3}"/>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103438" y="3986818"/>
            <a:ext cx="4085442" cy="2165933"/>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cxnSp>
        <p:nvCxnSpPr>
          <p:cNvPr id="19" name="Straight Connector 18">
            <a:extLst>
              <a:ext uri="{FF2B5EF4-FFF2-40B4-BE49-F238E27FC236}">
                <a16:creationId xmlns:a16="http://schemas.microsoft.com/office/drawing/2014/main" id="{E4BE7684-DB6D-BB4C-7B8E-11EC417438DB}"/>
              </a:ext>
            </a:extLst>
          </p:cNvPr>
          <p:cNvCxnSpPr>
            <a:cxnSpLocks/>
          </p:cNvCxnSpPr>
          <p:nvPr/>
        </p:nvCxnSpPr>
        <p:spPr>
          <a:xfrm>
            <a:off x="6362700" y="1376575"/>
            <a:ext cx="0" cy="477617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08DE5980-F4E6-3F1D-223B-44B953298F96}"/>
              </a:ext>
            </a:extLst>
          </p:cNvPr>
          <p:cNvSpPr/>
          <p:nvPr/>
        </p:nvSpPr>
        <p:spPr>
          <a:xfrm>
            <a:off x="6536521" y="1833576"/>
            <a:ext cx="4959350" cy="3862175"/>
          </a:xfrm>
          <a:prstGeom prst="rect">
            <a:avLst/>
          </a:prstGeom>
          <a:solidFill>
            <a:schemeClr val="bg1">
              <a:lumMod val="95000"/>
            </a:schemeClr>
          </a:solidFill>
          <a:ln w="12700">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r>
              <a:rPr lang="en-US" sz="1600" b="1" i="1" u="none" strike="noStrike" baseline="0">
                <a:solidFill>
                  <a:schemeClr val="tx2"/>
                </a:solidFill>
                <a:latin typeface="Century Gothic" panose="020B0502020202020204" pitchFamily="34" charset="0"/>
              </a:rPr>
              <a:t>KEY COMMITMENTS FROM RECENT COPs</a:t>
            </a:r>
          </a:p>
          <a:p>
            <a:endParaRPr lang="en-US" sz="1600" b="0" i="0" u="none" strike="noStrike" baseline="0">
              <a:solidFill>
                <a:schemeClr val="tx2"/>
              </a:solidFill>
              <a:latin typeface="Century Gothic" panose="020B0502020202020204" pitchFamily="34" charset="0"/>
            </a:endParaRPr>
          </a:p>
          <a:p>
            <a:pPr marL="285750" indent="-285750">
              <a:buFont typeface="Arial" panose="020B0604020202020204" pitchFamily="34" charset="0"/>
              <a:buChar char="•"/>
            </a:pPr>
            <a:r>
              <a:rPr lang="en-US" sz="1600" i="0" u="none" strike="noStrike" baseline="0">
                <a:solidFill>
                  <a:schemeClr val="tx2"/>
                </a:solidFill>
                <a:latin typeface="Century Gothic" panose="020B0502020202020204" pitchFamily="34" charset="0"/>
              </a:rPr>
              <a:t>Triple </a:t>
            </a:r>
            <a:r>
              <a:rPr lang="en-US" sz="1600" b="1" i="0" u="none" strike="noStrike" baseline="0">
                <a:solidFill>
                  <a:schemeClr val="tx2"/>
                </a:solidFill>
                <a:latin typeface="Century Gothic" panose="020B0502020202020204" pitchFamily="34" charset="0"/>
              </a:rPr>
              <a:t>renewables</a:t>
            </a:r>
            <a:r>
              <a:rPr lang="en-US" sz="1600" i="0" u="none" strike="noStrike" baseline="0">
                <a:solidFill>
                  <a:schemeClr val="tx2"/>
                </a:solidFill>
                <a:latin typeface="Century Gothic" panose="020B0502020202020204" pitchFamily="34" charset="0"/>
              </a:rPr>
              <a:t> </a:t>
            </a:r>
            <a:r>
              <a:rPr lang="en-US" sz="1600" b="0" i="0" u="none" strike="noStrike" baseline="0">
                <a:solidFill>
                  <a:schemeClr val="tx2"/>
                </a:solidFill>
                <a:latin typeface="Century Gothic" panose="020B0502020202020204" pitchFamily="34" charset="0"/>
              </a:rPr>
              <a:t>by 2030</a:t>
            </a:r>
          </a:p>
          <a:p>
            <a:pPr marL="285750" indent="-285750">
              <a:buFont typeface="Arial" panose="020B0604020202020204" pitchFamily="34" charset="0"/>
              <a:buChar char="•"/>
            </a:pPr>
            <a:endParaRPr lang="en-US" sz="1600">
              <a:solidFill>
                <a:schemeClr val="tx2"/>
              </a:solidFill>
              <a:latin typeface="Century Gothic" panose="020B0502020202020204" pitchFamily="34" charset="0"/>
            </a:endParaRPr>
          </a:p>
          <a:p>
            <a:pPr marL="285750" indent="-285750">
              <a:buFont typeface="Arial" panose="020B0604020202020204" pitchFamily="34" charset="0"/>
              <a:buChar char="•"/>
            </a:pPr>
            <a:r>
              <a:rPr lang="en-US" sz="1600" b="0" i="0" u="none" strike="noStrike" baseline="0">
                <a:solidFill>
                  <a:schemeClr val="tx2"/>
                </a:solidFill>
                <a:latin typeface="Century Gothic" panose="020B0502020202020204" pitchFamily="34" charset="0"/>
              </a:rPr>
              <a:t>Double rate of </a:t>
            </a:r>
            <a:r>
              <a:rPr lang="en-US" sz="1600" b="1" i="0" u="none" strike="noStrike" baseline="0">
                <a:solidFill>
                  <a:schemeClr val="tx2"/>
                </a:solidFill>
                <a:latin typeface="Century Gothic" panose="020B0502020202020204" pitchFamily="34" charset="0"/>
              </a:rPr>
              <a:t>energy</a:t>
            </a:r>
            <a:r>
              <a:rPr lang="en-US" sz="1600" b="0" i="0" u="none" strike="noStrike" baseline="0">
                <a:solidFill>
                  <a:schemeClr val="tx2"/>
                </a:solidFill>
                <a:latin typeface="Century Gothic" panose="020B0502020202020204" pitchFamily="34" charset="0"/>
              </a:rPr>
              <a:t> </a:t>
            </a:r>
            <a:r>
              <a:rPr lang="en-US" sz="1600" b="1" i="0" u="none" strike="noStrike" baseline="0">
                <a:solidFill>
                  <a:schemeClr val="tx2"/>
                </a:solidFill>
                <a:latin typeface="Century Gothic" panose="020B0502020202020204" pitchFamily="34" charset="0"/>
              </a:rPr>
              <a:t>efficiency</a:t>
            </a:r>
            <a:r>
              <a:rPr lang="en-US" sz="1600" b="0" i="0" u="none" strike="noStrike" baseline="0">
                <a:solidFill>
                  <a:schemeClr val="tx2"/>
                </a:solidFill>
                <a:latin typeface="Century Gothic" panose="020B0502020202020204" pitchFamily="34" charset="0"/>
              </a:rPr>
              <a:t> improvements by 2030</a:t>
            </a:r>
          </a:p>
          <a:p>
            <a:pPr marL="285750" indent="-285750">
              <a:buFont typeface="Arial" panose="020B0604020202020204" pitchFamily="34" charset="0"/>
              <a:buChar char="•"/>
            </a:pPr>
            <a:endParaRPr lang="en-US" sz="1600">
              <a:solidFill>
                <a:schemeClr val="tx2"/>
              </a:solidFill>
              <a:latin typeface="Century Gothic" panose="020B0502020202020204" pitchFamily="34" charset="0"/>
            </a:endParaRPr>
          </a:p>
          <a:p>
            <a:pPr marL="285750" indent="-285750">
              <a:buFont typeface="Arial" panose="020B0604020202020204" pitchFamily="34" charset="0"/>
              <a:buChar char="•"/>
            </a:pPr>
            <a:r>
              <a:rPr lang="en-US" sz="1600">
                <a:solidFill>
                  <a:schemeClr val="tx2"/>
                </a:solidFill>
                <a:latin typeface="Century Gothic" panose="020B0502020202020204" pitchFamily="34" charset="0"/>
              </a:rPr>
              <a:t>Halt and reverse </a:t>
            </a:r>
            <a:r>
              <a:rPr lang="en-US" sz="1600" b="1">
                <a:solidFill>
                  <a:schemeClr val="tx2"/>
                </a:solidFill>
                <a:latin typeface="Century Gothic" panose="020B0502020202020204" pitchFamily="34" charset="0"/>
              </a:rPr>
              <a:t>deforestation</a:t>
            </a:r>
            <a:r>
              <a:rPr lang="en-US" sz="1600">
                <a:solidFill>
                  <a:schemeClr val="tx2"/>
                </a:solidFill>
                <a:latin typeface="Century Gothic" panose="020B0502020202020204" pitchFamily="34" charset="0"/>
              </a:rPr>
              <a:t> and </a:t>
            </a:r>
            <a:r>
              <a:rPr lang="en-US" sz="1600" b="1">
                <a:solidFill>
                  <a:schemeClr val="tx2"/>
                </a:solidFill>
                <a:latin typeface="Century Gothic" panose="020B0502020202020204" pitchFamily="34" charset="0"/>
              </a:rPr>
              <a:t>land</a:t>
            </a:r>
            <a:r>
              <a:rPr lang="en-US" sz="1600">
                <a:solidFill>
                  <a:schemeClr val="tx2"/>
                </a:solidFill>
                <a:latin typeface="Century Gothic" panose="020B0502020202020204" pitchFamily="34" charset="0"/>
              </a:rPr>
              <a:t> </a:t>
            </a:r>
            <a:r>
              <a:rPr lang="en-US" sz="1600" b="1">
                <a:solidFill>
                  <a:schemeClr val="tx2"/>
                </a:solidFill>
                <a:latin typeface="Century Gothic" panose="020B0502020202020204" pitchFamily="34" charset="0"/>
              </a:rPr>
              <a:t>degradation</a:t>
            </a:r>
            <a:r>
              <a:rPr lang="en-US" sz="1600">
                <a:solidFill>
                  <a:schemeClr val="tx2"/>
                </a:solidFill>
                <a:latin typeface="Century Gothic" panose="020B0502020202020204" pitchFamily="34" charset="0"/>
              </a:rPr>
              <a:t> by 2030</a:t>
            </a:r>
          </a:p>
          <a:p>
            <a:pPr marL="285750" indent="-285750">
              <a:buFont typeface="Arial" panose="020B0604020202020204" pitchFamily="34" charset="0"/>
              <a:buChar char="•"/>
            </a:pPr>
            <a:endParaRPr lang="en-US" sz="1600">
              <a:solidFill>
                <a:schemeClr val="tx2"/>
              </a:solidFill>
              <a:latin typeface="Century Gothic" panose="020B0502020202020204" pitchFamily="34" charset="0"/>
            </a:endParaRPr>
          </a:p>
          <a:p>
            <a:pPr marL="285750" indent="-285750">
              <a:buFont typeface="Arial" panose="020B0604020202020204" pitchFamily="34" charset="0"/>
              <a:buChar char="•"/>
            </a:pPr>
            <a:r>
              <a:rPr lang="en-US" sz="1600">
                <a:solidFill>
                  <a:schemeClr val="tx2"/>
                </a:solidFill>
                <a:latin typeface="Century Gothic" panose="020B0502020202020204" pitchFamily="34" charset="0"/>
              </a:rPr>
              <a:t>Reduce global </a:t>
            </a:r>
            <a:r>
              <a:rPr lang="en-US" sz="1600" b="1">
                <a:solidFill>
                  <a:schemeClr val="tx2"/>
                </a:solidFill>
                <a:latin typeface="Century Gothic" panose="020B0502020202020204" pitchFamily="34" charset="0"/>
              </a:rPr>
              <a:t>methane</a:t>
            </a:r>
            <a:r>
              <a:rPr lang="en-US" sz="1600">
                <a:solidFill>
                  <a:schemeClr val="tx2"/>
                </a:solidFill>
                <a:latin typeface="Century Gothic" panose="020B0502020202020204" pitchFamily="34" charset="0"/>
              </a:rPr>
              <a:t> emissions by 30% by 2030</a:t>
            </a:r>
          </a:p>
          <a:p>
            <a:pPr marL="285750" indent="-285750">
              <a:buFont typeface="Arial" panose="020B0604020202020204" pitchFamily="34" charset="0"/>
              <a:buChar char="•"/>
            </a:pPr>
            <a:endParaRPr lang="en-US" sz="1600">
              <a:solidFill>
                <a:schemeClr val="tx2"/>
              </a:solidFill>
              <a:latin typeface="Century Gothic" panose="020B0502020202020204" pitchFamily="34" charset="0"/>
            </a:endParaRPr>
          </a:p>
          <a:p>
            <a:pPr marL="285750" indent="-285750">
              <a:buFont typeface="Arial" panose="020B0604020202020204" pitchFamily="34" charset="0"/>
              <a:buChar char="•"/>
            </a:pPr>
            <a:r>
              <a:rPr lang="en-US" sz="1600">
                <a:solidFill>
                  <a:schemeClr val="tx2"/>
                </a:solidFill>
                <a:latin typeface="Century Gothic" panose="020B0502020202020204" pitchFamily="34" charset="0"/>
              </a:rPr>
              <a:t>Achieve near-zero </a:t>
            </a:r>
            <a:r>
              <a:rPr lang="en-US" sz="1600" b="1">
                <a:solidFill>
                  <a:schemeClr val="tx2"/>
                </a:solidFill>
                <a:latin typeface="Century Gothic" panose="020B0502020202020204" pitchFamily="34" charset="0"/>
              </a:rPr>
              <a:t>methane</a:t>
            </a:r>
            <a:r>
              <a:rPr lang="en-US" sz="1600">
                <a:solidFill>
                  <a:schemeClr val="tx2"/>
                </a:solidFill>
                <a:latin typeface="Century Gothic" panose="020B0502020202020204" pitchFamily="34" charset="0"/>
              </a:rPr>
              <a:t> emissions from oil and gas production by or before 2050</a:t>
            </a:r>
          </a:p>
        </p:txBody>
      </p:sp>
    </p:spTree>
    <p:extLst>
      <p:ext uri="{BB962C8B-B14F-4D97-AF65-F5344CB8AC3E}">
        <p14:creationId xmlns:p14="http://schemas.microsoft.com/office/powerpoint/2010/main" val="17476792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C2E40092-DDD0-09DF-9BE3-5CD78D9CDF93}"/>
              </a:ext>
            </a:extLst>
          </p:cNvPr>
          <p:cNvGraphicFramePr>
            <a:graphicFrameLocks noChangeAspect="1"/>
          </p:cNvGraphicFramePr>
          <p:nvPr>
            <p:custDataLst>
              <p:tags r:id="rId1"/>
            </p:custDataLst>
            <p:extLst>
              <p:ext uri="{D42A27DB-BD31-4B8C-83A1-F6EECF244321}">
                <p14:modId xmlns:p14="http://schemas.microsoft.com/office/powerpoint/2010/main" val="3665212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6" imgW="473" imgH="473" progId="TCLayout.ActiveDocument.1">
                  <p:embed/>
                </p:oleObj>
              </mc:Choice>
              <mc:Fallback>
                <p:oleObj name="think-cell Slide" r:id="rId36" imgW="473" imgH="473" progId="TCLayout.ActiveDocument.1">
                  <p:embed/>
                  <p:pic>
                    <p:nvPicPr>
                      <p:cNvPr id="10" name="think-cell data - do not delete" hidden="1">
                        <a:extLst>
                          <a:ext uri="{FF2B5EF4-FFF2-40B4-BE49-F238E27FC236}">
                            <a16:creationId xmlns:a16="http://schemas.microsoft.com/office/drawing/2014/main" id="{C2E40092-DDD0-09DF-9BE3-5CD78D9CDF93}"/>
                          </a:ext>
                        </a:extLst>
                      </p:cNvPr>
                      <p:cNvPicPr/>
                      <p:nvPr/>
                    </p:nvPicPr>
                    <p:blipFill>
                      <a:blip r:embed="rId37"/>
                      <a:stretch>
                        <a:fillRect/>
                      </a:stretch>
                    </p:blipFill>
                    <p:spPr>
                      <a:xfrm>
                        <a:off x="1588" y="1588"/>
                        <a:ext cx="1588" cy="1588"/>
                      </a:xfrm>
                      <a:prstGeom prst="rect">
                        <a:avLst/>
                      </a:prstGeom>
                    </p:spPr>
                  </p:pic>
                </p:oleObj>
              </mc:Fallback>
            </mc:AlternateContent>
          </a:graphicData>
        </a:graphic>
      </p:graphicFrame>
      <p:sp>
        <p:nvSpPr>
          <p:cNvPr id="13" name="Rectangle 12">
            <a:extLst>
              <a:ext uri="{FF2B5EF4-FFF2-40B4-BE49-F238E27FC236}">
                <a16:creationId xmlns:a16="http://schemas.microsoft.com/office/drawing/2014/main" id="{2FF470A5-AA3E-E91E-448A-31A345DE7C5A}"/>
              </a:ext>
            </a:extLst>
          </p:cNvPr>
          <p:cNvSpPr/>
          <p:nvPr/>
        </p:nvSpPr>
        <p:spPr>
          <a:xfrm>
            <a:off x="203200" y="6248400"/>
            <a:ext cx="1259840" cy="589385"/>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US" sz="1400">
              <a:ln>
                <a:noFill/>
              </a:ln>
              <a:solidFill>
                <a:schemeClr val="bg1"/>
              </a:solidFill>
              <a:latin typeface="Century Gothic" panose="020B0502020202020204" pitchFamily="34" charset="0"/>
            </a:endParaRPr>
          </a:p>
        </p:txBody>
      </p:sp>
      <p:sp>
        <p:nvSpPr>
          <p:cNvPr id="2" name="Title 1">
            <a:extLst>
              <a:ext uri="{FF2B5EF4-FFF2-40B4-BE49-F238E27FC236}">
                <a16:creationId xmlns:a16="http://schemas.microsoft.com/office/drawing/2014/main" id="{89A6977E-716E-7000-4FC5-7C3986402B11}"/>
              </a:ext>
            </a:extLst>
          </p:cNvPr>
          <p:cNvSpPr>
            <a:spLocks noGrp="1"/>
          </p:cNvSpPr>
          <p:nvPr>
            <p:ph type="title"/>
          </p:nvPr>
        </p:nvSpPr>
        <p:spPr>
          <a:xfrm>
            <a:off x="366779" y="102840"/>
            <a:ext cx="9107421" cy="708715"/>
          </a:xfrm>
        </p:spPr>
        <p:txBody>
          <a:bodyPr vert="horz"/>
          <a:lstStyle/>
          <a:p>
            <a:r>
              <a:rPr lang="en-GB" sz="2000"/>
              <a:t>Overall ambition in upcoming NDCs could be 3x higher if they reflected technological progress, and sectoral and national commitments</a:t>
            </a:r>
            <a:endParaRPr lang="en-GB" sz="2000" baseline="-25000"/>
          </a:p>
        </p:txBody>
      </p:sp>
      <p:cxnSp>
        <p:nvCxnSpPr>
          <p:cNvPr id="38" name="Straight Connector 37">
            <a:extLst>
              <a:ext uri="{FF2B5EF4-FFF2-40B4-BE49-F238E27FC236}">
                <a16:creationId xmlns:a16="http://schemas.microsoft.com/office/drawing/2014/main" id="{9D50D2C7-C7E3-976F-0FA4-E2B26C35F53A}"/>
              </a:ext>
            </a:extLst>
          </p:cNvPr>
          <p:cNvCxnSpPr/>
          <p:nvPr>
            <p:custDataLst>
              <p:tags r:id="rId2"/>
            </p:custDataLst>
          </p:nvPr>
        </p:nvCxnSpPr>
        <p:spPr bwMode="auto">
          <a:xfrm>
            <a:off x="1525587" y="1965325"/>
            <a:ext cx="979488"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4" name="Straight Connector 213">
            <a:extLst>
              <a:ext uri="{FF2B5EF4-FFF2-40B4-BE49-F238E27FC236}">
                <a16:creationId xmlns:a16="http://schemas.microsoft.com/office/drawing/2014/main" id="{D3F861DA-549A-FEEB-7A8B-F82D0A7313D0}"/>
              </a:ext>
            </a:extLst>
          </p:cNvPr>
          <p:cNvCxnSpPr/>
          <p:nvPr>
            <p:custDataLst>
              <p:tags r:id="rId3"/>
            </p:custDataLst>
          </p:nvPr>
        </p:nvCxnSpPr>
        <p:spPr bwMode="auto">
          <a:xfrm>
            <a:off x="3159125" y="2673350"/>
            <a:ext cx="977900"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5" name="Straight Connector 94">
            <a:extLst>
              <a:ext uri="{FF2B5EF4-FFF2-40B4-BE49-F238E27FC236}">
                <a16:creationId xmlns:a16="http://schemas.microsoft.com/office/drawing/2014/main" id="{E2327ADD-5BCF-A9B9-4D6D-669E870E3CD5}"/>
              </a:ext>
            </a:extLst>
          </p:cNvPr>
          <p:cNvCxnSpPr/>
          <p:nvPr>
            <p:custDataLst>
              <p:tags r:id="rId4"/>
            </p:custDataLst>
          </p:nvPr>
        </p:nvCxnSpPr>
        <p:spPr bwMode="auto">
          <a:xfrm>
            <a:off x="4791075" y="2738438"/>
            <a:ext cx="979488"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 name="Straight Connector 42">
            <a:extLst>
              <a:ext uri="{FF2B5EF4-FFF2-40B4-BE49-F238E27FC236}">
                <a16:creationId xmlns:a16="http://schemas.microsoft.com/office/drawing/2014/main" id="{FD73C053-DC38-8160-EEF8-F5FE40256186}"/>
              </a:ext>
            </a:extLst>
          </p:cNvPr>
          <p:cNvCxnSpPr/>
          <p:nvPr>
            <p:custDataLst>
              <p:tags r:id="rId5"/>
            </p:custDataLst>
          </p:nvPr>
        </p:nvCxnSpPr>
        <p:spPr bwMode="auto">
          <a:xfrm>
            <a:off x="6424613" y="3094038"/>
            <a:ext cx="979488"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 name="Straight Connector 25">
            <a:extLst>
              <a:ext uri="{FF2B5EF4-FFF2-40B4-BE49-F238E27FC236}">
                <a16:creationId xmlns:a16="http://schemas.microsoft.com/office/drawing/2014/main" id="{33FB9B15-E8E2-CDB9-4490-A36D50EB2D1C}"/>
              </a:ext>
            </a:extLst>
          </p:cNvPr>
          <p:cNvCxnSpPr/>
          <p:nvPr>
            <p:custDataLst>
              <p:tags r:id="rId6"/>
            </p:custDataLst>
          </p:nvPr>
        </p:nvCxnSpPr>
        <p:spPr bwMode="auto">
          <a:xfrm>
            <a:off x="8058149" y="3094038"/>
            <a:ext cx="979488"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8C1BCE55-D839-9248-6833-F09E519B8B97}"/>
              </a:ext>
            </a:extLst>
          </p:cNvPr>
          <p:cNvCxnSpPr/>
          <p:nvPr>
            <p:custDataLst>
              <p:tags r:id="rId7"/>
            </p:custDataLst>
          </p:nvPr>
        </p:nvCxnSpPr>
        <p:spPr bwMode="auto">
          <a:xfrm>
            <a:off x="9691688" y="3956050"/>
            <a:ext cx="977900"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74" name="Chart 73">
            <a:extLst>
              <a:ext uri="{FF2B5EF4-FFF2-40B4-BE49-F238E27FC236}">
                <a16:creationId xmlns:a16="http://schemas.microsoft.com/office/drawing/2014/main" id="{FE4711C3-F9CA-E55C-35ED-E7685DEEEF71}"/>
              </a:ext>
            </a:extLst>
          </p:cNvPr>
          <p:cNvGraphicFramePr/>
          <p:nvPr>
            <p:custDataLst>
              <p:tags r:id="rId8"/>
            </p:custDataLst>
            <p:extLst>
              <p:ext uri="{D42A27DB-BD31-4B8C-83A1-F6EECF244321}">
                <p14:modId xmlns:p14="http://schemas.microsoft.com/office/powerpoint/2010/main" val="4256440968"/>
              </p:ext>
            </p:extLst>
          </p:nvPr>
        </p:nvGraphicFramePr>
        <p:xfrm>
          <a:off x="300038" y="1641475"/>
          <a:ext cx="11596687" cy="4127500"/>
        </p:xfrm>
        <a:graphic>
          <a:graphicData uri="http://schemas.openxmlformats.org/drawingml/2006/chart">
            <c:chart xmlns:c="http://schemas.openxmlformats.org/drawingml/2006/chart" xmlns:r="http://schemas.openxmlformats.org/officeDocument/2006/relationships" r:id="rId38"/>
          </a:graphicData>
        </a:graphic>
      </p:graphicFrame>
      <p:sp>
        <p:nvSpPr>
          <p:cNvPr id="3" name="Text Placeholder 2">
            <a:extLst>
              <a:ext uri="{FF2B5EF4-FFF2-40B4-BE49-F238E27FC236}">
                <a16:creationId xmlns:a16="http://schemas.microsoft.com/office/drawing/2014/main" id="{B926D567-524F-4499-A030-E098F89DCD34}"/>
              </a:ext>
            </a:extLst>
          </p:cNvPr>
          <p:cNvSpPr>
            <a:spLocks noGrp="1"/>
          </p:cNvSpPr>
          <p:nvPr>
            <p:custDataLst>
              <p:tags r:id="rId9"/>
            </p:custDataLst>
          </p:nvPr>
        </p:nvSpPr>
        <p:spPr bwMode="auto">
          <a:xfrm>
            <a:off x="736600" y="5586413"/>
            <a:ext cx="9255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2" indent="-180002" algn="l" defTabSz="914411" rtl="0" eaLnBrk="1" latinLnBrk="0" hangingPunct="1">
              <a:lnSpc>
                <a:spcPct val="90000"/>
              </a:lnSpc>
              <a:spcBef>
                <a:spcPts val="1001"/>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5" indent="-180002" algn="l" defTabSz="914411"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7" indent="-180002" algn="l" defTabSz="914411"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9" indent="-180002" algn="l" defTabSz="914411"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11" indent="-180002" algn="l" defTabSz="914411"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32"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838"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9044"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6249"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a:lstStyle>
          <a:p>
            <a:pPr marL="0" lvl="0" indent="0" algn="ctr">
              <a:spcBef>
                <a:spcPct val="0"/>
              </a:spcBef>
              <a:spcAft>
                <a:spcPct val="0"/>
              </a:spcAft>
              <a:buNone/>
            </a:pPr>
            <a:fld id="{0619C755-CF9F-4DF9-A19B-508997EAA0C9}" type="datetime'''''''''''''''''''2''0''3''''5'''' ''-'' B''as''''''e''lin''e'">
              <a:rPr lang="en-US" altLang="en-US" sz="1000" smtClean="0"/>
              <a:pPr marL="0" lvl="0" indent="0" algn="ctr">
                <a:spcBef>
                  <a:spcPct val="0"/>
                </a:spcBef>
                <a:spcAft>
                  <a:spcPct val="0"/>
                </a:spcAft>
                <a:buNone/>
              </a:pPr>
              <a:t>2035 - Baseline</a:t>
            </a:fld>
            <a:r>
              <a:rPr lang="en-US" altLang="en-US" sz="1000" baseline="30000" err="1">
                <a:cs typeface="Inter" panose="020B0604020202020204" charset="0"/>
              </a:rPr>
              <a:t>i</a:t>
            </a:r>
            <a:endParaRPr lang="en-GB" sz="1000" baseline="30000" noProof="0">
              <a:cs typeface="Inter" panose="020B0604020202020204" charset="0"/>
            </a:endParaRPr>
          </a:p>
        </p:txBody>
      </p:sp>
      <p:sp>
        <p:nvSpPr>
          <p:cNvPr id="29" name="Text Placeholder 2">
            <a:extLst>
              <a:ext uri="{FF2B5EF4-FFF2-40B4-BE49-F238E27FC236}">
                <a16:creationId xmlns:a16="http://schemas.microsoft.com/office/drawing/2014/main" id="{4C3AE0CF-AE1E-45B8-DED4-9A583B979A16}"/>
              </a:ext>
            </a:extLst>
          </p:cNvPr>
          <p:cNvSpPr>
            <a:spLocks noGrp="1"/>
          </p:cNvSpPr>
          <p:nvPr>
            <p:custDataLst>
              <p:tags r:id="rId10"/>
            </p:custDataLst>
          </p:nvPr>
        </p:nvSpPr>
        <p:spPr bwMode="auto">
          <a:xfrm>
            <a:off x="2192339" y="5586413"/>
            <a:ext cx="1279525"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002" indent="-180002" algn="l" defTabSz="914411" rtl="0" eaLnBrk="1" latinLnBrk="0" hangingPunct="1">
              <a:lnSpc>
                <a:spcPct val="90000"/>
              </a:lnSpc>
              <a:spcBef>
                <a:spcPts val="1001"/>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5" indent="-180002" algn="l" defTabSz="914411"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7" indent="-180002" algn="l" defTabSz="914411"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9" indent="-180002" algn="l" defTabSz="914411"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11" indent="-180002" algn="l" defTabSz="914411"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32"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838"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9044"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6249"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a:lstStyle>
          <a:p>
            <a:pPr marL="0" lvl="0" indent="0" algn="ctr">
              <a:spcBef>
                <a:spcPct val="0"/>
              </a:spcBef>
              <a:spcAft>
                <a:spcPct val="0"/>
              </a:spcAft>
              <a:buNone/>
            </a:pPr>
            <a:fld id="{D963548E-C7D1-4D6D-A110-057549494F73}" type="datetime'M''ature ''cl''ean'' ene''''''r''g''y'' te''''''chnologi''es'">
              <a:rPr lang="en-GB" altLang="en-US" sz="1000" smtClean="0"/>
              <a:pPr marL="0" lvl="0" indent="0" algn="ctr">
                <a:spcBef>
                  <a:spcPct val="0"/>
                </a:spcBef>
                <a:spcAft>
                  <a:spcPct val="0"/>
                </a:spcAft>
                <a:buNone/>
              </a:pPr>
              <a:t>Mature clean energy technologies</a:t>
            </a:fld>
            <a:endParaRPr lang="en-GB" sz="1000" noProof="0">
              <a:cs typeface="Inter" panose="020B0604020202020204" charset="0"/>
            </a:endParaRPr>
          </a:p>
        </p:txBody>
      </p:sp>
      <p:sp>
        <p:nvSpPr>
          <p:cNvPr id="89" name="Text Placeholder 2">
            <a:extLst>
              <a:ext uri="{FF2B5EF4-FFF2-40B4-BE49-F238E27FC236}">
                <a16:creationId xmlns:a16="http://schemas.microsoft.com/office/drawing/2014/main" id="{F1492ADA-60F0-3BB4-A5E5-D2F70F82C0D3}"/>
              </a:ext>
            </a:extLst>
          </p:cNvPr>
          <p:cNvSpPr>
            <a:spLocks noGrp="1"/>
          </p:cNvSpPr>
          <p:nvPr>
            <p:custDataLst>
              <p:tags r:id="rId11"/>
            </p:custDataLst>
          </p:nvPr>
        </p:nvSpPr>
        <p:spPr bwMode="auto">
          <a:xfrm>
            <a:off x="3749675" y="5586413"/>
            <a:ext cx="14287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2" indent="-180002" algn="l" defTabSz="914411" rtl="0" eaLnBrk="1" latinLnBrk="0" hangingPunct="1">
              <a:lnSpc>
                <a:spcPct val="90000"/>
              </a:lnSpc>
              <a:spcBef>
                <a:spcPts val="1001"/>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5" indent="-180002" algn="l" defTabSz="914411"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7" indent="-180002" algn="l" defTabSz="914411"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9" indent="-180002" algn="l" defTabSz="914411"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11" indent="-180002" algn="l" defTabSz="914411"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32"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838"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9044"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6249"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a:lstStyle>
          <a:p>
            <a:pPr marL="0" lvl="0" indent="0" algn="ctr">
              <a:spcBef>
                <a:spcPct val="0"/>
              </a:spcBef>
              <a:spcAft>
                <a:spcPct val="0"/>
              </a:spcAft>
              <a:buNone/>
            </a:pPr>
            <a:r>
              <a:rPr lang="en-US" altLang="en-US" sz="1000">
                <a:cs typeface="Inter" panose="020B0604020202020204" charset="0"/>
              </a:rPr>
              <a:t>Hard –to-abate sectors</a:t>
            </a:r>
            <a:endParaRPr lang="en-GB" sz="1000" noProof="0">
              <a:cs typeface="Inter" panose="020B0604020202020204" charset="0"/>
            </a:endParaRPr>
          </a:p>
        </p:txBody>
      </p:sp>
      <p:sp>
        <p:nvSpPr>
          <p:cNvPr id="97" name="Text Placeholder 2">
            <a:extLst>
              <a:ext uri="{FF2B5EF4-FFF2-40B4-BE49-F238E27FC236}">
                <a16:creationId xmlns:a16="http://schemas.microsoft.com/office/drawing/2014/main" id="{0866D514-EAE1-A15F-499F-7EF2F95E7353}"/>
              </a:ext>
            </a:extLst>
          </p:cNvPr>
          <p:cNvSpPr>
            <a:spLocks noGrp="1"/>
          </p:cNvSpPr>
          <p:nvPr>
            <p:custDataLst>
              <p:tags r:id="rId12"/>
            </p:custDataLst>
          </p:nvPr>
        </p:nvSpPr>
        <p:spPr bwMode="auto">
          <a:xfrm>
            <a:off x="5462588" y="5586413"/>
            <a:ext cx="1270000" cy="4095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002" indent="-180002" algn="l" defTabSz="914411" rtl="0" eaLnBrk="1" latinLnBrk="0" hangingPunct="1">
              <a:lnSpc>
                <a:spcPct val="90000"/>
              </a:lnSpc>
              <a:spcBef>
                <a:spcPts val="1001"/>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5" indent="-180002" algn="l" defTabSz="914411"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7" indent="-180002" algn="l" defTabSz="914411"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9" indent="-180002" algn="l" defTabSz="914411"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11" indent="-180002" algn="l" defTabSz="914411"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32"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838"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9044"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6249"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a:lstStyle>
          <a:p>
            <a:pPr marL="0" lvl="0" indent="0" algn="ctr">
              <a:spcBef>
                <a:spcPct val="0"/>
              </a:spcBef>
              <a:spcAft>
                <a:spcPct val="0"/>
              </a:spcAft>
              <a:buNone/>
            </a:pPr>
            <a:fld id="{D9EC27EB-18CF-4F8E-B486-8B2B35CD8B21}" type="datetime'Imp''lementation of national non-energy'' com''mitments '''''">
              <a:rPr lang="en-US" altLang="en-US" sz="1000" smtClean="0"/>
              <a:pPr marL="0" lvl="0" indent="0" algn="ctr">
                <a:spcBef>
                  <a:spcPct val="0"/>
                </a:spcBef>
                <a:spcAft>
                  <a:spcPct val="0"/>
                </a:spcAft>
                <a:buNone/>
              </a:pPr>
              <a:t>Implementation of national non-energy commitments </a:t>
            </a:fld>
            <a:endParaRPr lang="en-GB" sz="1000" noProof="0">
              <a:cs typeface="Inter" panose="020B0604020202020204" charset="0"/>
            </a:endParaRPr>
          </a:p>
        </p:txBody>
      </p:sp>
      <p:sp>
        <p:nvSpPr>
          <p:cNvPr id="6" name="Text Placeholder 2">
            <a:extLst>
              <a:ext uri="{FF2B5EF4-FFF2-40B4-BE49-F238E27FC236}">
                <a16:creationId xmlns:a16="http://schemas.microsoft.com/office/drawing/2014/main" id="{B926D567-524F-4499-A030-E098F89DCD34}"/>
              </a:ext>
            </a:extLst>
          </p:cNvPr>
          <p:cNvSpPr>
            <a:spLocks noGrp="1"/>
          </p:cNvSpPr>
          <p:nvPr>
            <p:custDataLst>
              <p:tags r:id="rId13"/>
            </p:custDataLst>
          </p:nvPr>
        </p:nvSpPr>
        <p:spPr bwMode="auto">
          <a:xfrm>
            <a:off x="7258050" y="5586413"/>
            <a:ext cx="9461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2" indent="-180002" algn="l" defTabSz="914411" rtl="0" eaLnBrk="1" latinLnBrk="0" hangingPunct="1">
              <a:lnSpc>
                <a:spcPct val="90000"/>
              </a:lnSpc>
              <a:spcBef>
                <a:spcPts val="1001"/>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5" indent="-180002" algn="l" defTabSz="914411"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7" indent="-180002" algn="l" defTabSz="914411"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9" indent="-180002" algn="l" defTabSz="914411"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11" indent="-180002" algn="l" defTabSz="914411"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32"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838"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9044"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6249"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a:lstStyle>
          <a:p>
            <a:pPr marL="0" lvl="0" indent="0" algn="ctr">
              <a:spcBef>
                <a:spcPct val="0"/>
              </a:spcBef>
              <a:spcAft>
                <a:spcPct val="0"/>
              </a:spcAft>
              <a:buNone/>
            </a:pPr>
            <a:fld id="{7EF3D855-0D63-405B-8C85-E0ADDA6C044E}" type="datetime'2''03''5'' ''''''''-'''' P''''o''t''''''en''''ti''''''a''l'''">
              <a:rPr lang="en-US" altLang="en-US" sz="1000" smtClean="0"/>
              <a:pPr marL="0" lvl="0" indent="0" algn="ctr">
                <a:spcBef>
                  <a:spcPct val="0"/>
                </a:spcBef>
                <a:spcAft>
                  <a:spcPct val="0"/>
                </a:spcAft>
                <a:buNone/>
              </a:pPr>
              <a:t>2035 - Potential</a:t>
            </a:fld>
            <a:endParaRPr lang="en-GB" sz="1000" noProof="0">
              <a:cs typeface="Inter" panose="020B0604020202020204" charset="0"/>
            </a:endParaRPr>
          </a:p>
        </p:txBody>
      </p:sp>
      <p:sp>
        <p:nvSpPr>
          <p:cNvPr id="268" name="Text Placeholder 2">
            <a:extLst>
              <a:ext uri="{FF2B5EF4-FFF2-40B4-BE49-F238E27FC236}">
                <a16:creationId xmlns:a16="http://schemas.microsoft.com/office/drawing/2014/main" id="{85F978ED-CC00-6082-B4BC-D5734BD32BCE}"/>
              </a:ext>
            </a:extLst>
          </p:cNvPr>
          <p:cNvSpPr>
            <a:spLocks noGrp="1"/>
          </p:cNvSpPr>
          <p:nvPr>
            <p:custDataLst>
              <p:tags r:id="rId14"/>
            </p:custDataLst>
          </p:nvPr>
        </p:nvSpPr>
        <p:spPr bwMode="auto">
          <a:xfrm>
            <a:off x="8869363" y="5586413"/>
            <a:ext cx="9921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2" indent="-180002" algn="l" defTabSz="914411" rtl="0" eaLnBrk="1" latinLnBrk="0" hangingPunct="1">
              <a:lnSpc>
                <a:spcPct val="90000"/>
              </a:lnSpc>
              <a:spcBef>
                <a:spcPts val="1001"/>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5" indent="-180002" algn="l" defTabSz="914411"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7" indent="-180002" algn="l" defTabSz="914411"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9" indent="-180002" algn="l" defTabSz="914411"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11" indent="-180002" algn="l" defTabSz="914411"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32"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838"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9044"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6249"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a:lstStyle>
          <a:p>
            <a:pPr marL="0" lvl="0" indent="0" algn="ctr">
              <a:spcBef>
                <a:spcPct val="0"/>
              </a:spcBef>
              <a:spcAft>
                <a:spcPct val="0"/>
              </a:spcAft>
              <a:buNone/>
            </a:pPr>
            <a:fld id="{A8E032AB-048A-4F20-BBD2-297F73C77D9C}" type="datetime'''R''''''''''''e''''ma''ini''n''''g'' ''''''''''G''''ap'">
              <a:rPr lang="en-GB" altLang="en-US" sz="1000" smtClean="0">
                <a:cs typeface="Inter" panose="020B0604020202020204" charset="0"/>
              </a:rPr>
              <a:pPr marL="0" lvl="0" indent="0" algn="ctr">
                <a:spcBef>
                  <a:spcPct val="0"/>
                </a:spcBef>
                <a:spcAft>
                  <a:spcPct val="0"/>
                </a:spcAft>
                <a:buNone/>
              </a:pPr>
              <a:t>Remaining Gap</a:t>
            </a:fld>
            <a:endParaRPr lang="en-GB" sz="1000" noProof="0">
              <a:cs typeface="Inter" panose="020B0604020202020204" charset="0"/>
            </a:endParaRPr>
          </a:p>
        </p:txBody>
      </p:sp>
      <p:sp>
        <p:nvSpPr>
          <p:cNvPr id="4" name="Text Placeholder 2">
            <a:extLst>
              <a:ext uri="{FF2B5EF4-FFF2-40B4-BE49-F238E27FC236}">
                <a16:creationId xmlns:a16="http://schemas.microsoft.com/office/drawing/2014/main" id="{29D8EE84-0518-C846-F8D6-AC3A5E11732B}"/>
              </a:ext>
            </a:extLst>
          </p:cNvPr>
          <p:cNvSpPr>
            <a:spLocks noGrp="1"/>
          </p:cNvSpPr>
          <p:nvPr>
            <p:custDataLst>
              <p:tags r:id="rId15"/>
            </p:custDataLst>
          </p:nvPr>
        </p:nvSpPr>
        <p:spPr bwMode="auto">
          <a:xfrm>
            <a:off x="10218737" y="5586413"/>
            <a:ext cx="15573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2" indent="-180002" algn="l" defTabSz="914411" rtl="0" eaLnBrk="1" latinLnBrk="0" hangingPunct="1">
              <a:lnSpc>
                <a:spcPct val="90000"/>
              </a:lnSpc>
              <a:spcBef>
                <a:spcPts val="1001"/>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5" indent="-180002" algn="l" defTabSz="914411"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7" indent="-180002" algn="l" defTabSz="914411"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9" indent="-180002" algn="l" defTabSz="914411"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11" indent="-180002" algn="l" defTabSz="914411"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32"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838"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9044"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6249"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a:lstStyle>
          <a:p>
            <a:pPr marL="0" lvl="0" indent="0" algn="ctr">
              <a:spcBef>
                <a:spcPct val="0"/>
              </a:spcBef>
              <a:spcAft>
                <a:spcPct val="0"/>
              </a:spcAft>
              <a:buNone/>
            </a:pPr>
            <a:fld id="{0CCA5494-C2B4-4124-A11B-B3FA3A27FDD5}" type="datetime'203''5'' ''''-'' ''Re''qu''i''r''''e''d ''''fo''r 1.''5''°C'''">
              <a:rPr lang="en-US" altLang="en-US" sz="1000" smtClean="0"/>
              <a:pPr marL="0" lvl="0" indent="0" algn="ctr">
                <a:spcBef>
                  <a:spcPct val="0"/>
                </a:spcBef>
                <a:spcAft>
                  <a:spcPct val="0"/>
                </a:spcAft>
                <a:buNone/>
              </a:pPr>
              <a:t>2035 - Required for 1.5°C</a:t>
            </a:fld>
            <a:r>
              <a:rPr lang="en-GB" altLang="en-US" sz="1000" baseline="30000" err="1">
                <a:cs typeface="Inter" panose="020B0604020202020204" charset="0"/>
              </a:rPr>
              <a:t>i</a:t>
            </a:r>
            <a:endParaRPr lang="en-GB" sz="1000" baseline="30000" noProof="0">
              <a:cs typeface="Inter" panose="020B0604020202020204" charset="0"/>
            </a:endParaRPr>
          </a:p>
        </p:txBody>
      </p:sp>
      <p:sp>
        <p:nvSpPr>
          <p:cNvPr id="79" name="Text Placeholder 2">
            <a:extLst>
              <a:ext uri="{FF2B5EF4-FFF2-40B4-BE49-F238E27FC236}">
                <a16:creationId xmlns:a16="http://schemas.microsoft.com/office/drawing/2014/main" id="{B926D567-524F-4499-A030-E098F89DCD34}"/>
              </a:ext>
            </a:extLst>
          </p:cNvPr>
          <p:cNvSpPr>
            <a:spLocks noGrp="1"/>
          </p:cNvSpPr>
          <p:nvPr>
            <p:custDataLst>
              <p:tags r:id="rId16"/>
            </p:custDataLst>
          </p:nvPr>
        </p:nvSpPr>
        <p:spPr bwMode="gray">
          <a:xfrm>
            <a:off x="2706689" y="1803400"/>
            <a:ext cx="2508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002" indent="-180002" algn="l" defTabSz="914411" rtl="0" eaLnBrk="1" latinLnBrk="0" hangingPunct="1">
              <a:lnSpc>
                <a:spcPct val="90000"/>
              </a:lnSpc>
              <a:spcBef>
                <a:spcPts val="1001"/>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5" indent="-180002" algn="l" defTabSz="914411"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7" indent="-180002" algn="l" defTabSz="914411"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9" indent="-180002" algn="l" defTabSz="914411"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11" indent="-180002" algn="l" defTabSz="914411"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32"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838"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9044"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6249"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a:lstStyle>
          <a:p>
            <a:pPr marL="0" lvl="0" indent="0" algn="ctr">
              <a:spcBef>
                <a:spcPct val="0"/>
              </a:spcBef>
              <a:spcAft>
                <a:spcPct val="0"/>
              </a:spcAft>
              <a:buNone/>
            </a:pPr>
            <a:r>
              <a:rPr lang="en-GB" altLang="en-US" sz="1000">
                <a:cs typeface="Inter" panose="020B0604020202020204" charset="0"/>
              </a:rPr>
              <a:t>~11</a:t>
            </a:r>
            <a:endParaRPr lang="en-GB" sz="1000" noProof="0">
              <a:cs typeface="Inter" panose="020B0604020202020204" charset="0"/>
            </a:endParaRPr>
          </a:p>
        </p:txBody>
      </p:sp>
      <p:sp>
        <p:nvSpPr>
          <p:cNvPr id="59" name="Text Placeholder 2">
            <a:extLst>
              <a:ext uri="{FF2B5EF4-FFF2-40B4-BE49-F238E27FC236}">
                <a16:creationId xmlns:a16="http://schemas.microsoft.com/office/drawing/2014/main" id="{B926D567-524F-4499-A030-E098F89DCD34}"/>
              </a:ext>
            </a:extLst>
          </p:cNvPr>
          <p:cNvSpPr>
            <a:spLocks noGrp="1"/>
          </p:cNvSpPr>
          <p:nvPr>
            <p:custDataLst>
              <p:tags r:id="rId17"/>
            </p:custDataLst>
          </p:nvPr>
        </p:nvSpPr>
        <p:spPr bwMode="gray">
          <a:xfrm>
            <a:off x="4373563" y="2511425"/>
            <a:ext cx="1809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002" indent="-180002" algn="l" defTabSz="914411" rtl="0" eaLnBrk="1" latinLnBrk="0" hangingPunct="1">
              <a:lnSpc>
                <a:spcPct val="90000"/>
              </a:lnSpc>
              <a:spcBef>
                <a:spcPts val="1001"/>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5" indent="-180002" algn="l" defTabSz="914411"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7" indent="-180002" algn="l" defTabSz="914411"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9" indent="-180002" algn="l" defTabSz="914411"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11" indent="-180002" algn="l" defTabSz="914411"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32"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838"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9044"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6249"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a:lstStyle>
          <a:p>
            <a:pPr marL="0" lvl="0" indent="0" algn="ctr">
              <a:spcBef>
                <a:spcPct val="0"/>
              </a:spcBef>
              <a:spcAft>
                <a:spcPct val="0"/>
              </a:spcAft>
              <a:buNone/>
            </a:pPr>
            <a:r>
              <a:rPr lang="en-GB" altLang="en-US" sz="1000">
                <a:cs typeface="Inter" panose="020B0604020202020204" charset="0"/>
              </a:rPr>
              <a:t>~1</a:t>
            </a:r>
            <a:endParaRPr lang="en-GB" sz="1000" noProof="0">
              <a:cs typeface="Inter" panose="020B0604020202020204" charset="0"/>
            </a:endParaRPr>
          </a:p>
        </p:txBody>
      </p:sp>
      <p:sp>
        <p:nvSpPr>
          <p:cNvPr id="60" name="Text Placeholder 2">
            <a:extLst>
              <a:ext uri="{FF2B5EF4-FFF2-40B4-BE49-F238E27FC236}">
                <a16:creationId xmlns:a16="http://schemas.microsoft.com/office/drawing/2014/main" id="{B926D567-524F-4499-A030-E098F89DCD34}"/>
              </a:ext>
            </a:extLst>
          </p:cNvPr>
          <p:cNvSpPr>
            <a:spLocks noGrp="1"/>
          </p:cNvSpPr>
          <p:nvPr>
            <p:custDataLst>
              <p:tags r:id="rId18"/>
            </p:custDataLst>
          </p:nvPr>
        </p:nvSpPr>
        <p:spPr bwMode="gray">
          <a:xfrm>
            <a:off x="6007100" y="2576513"/>
            <a:ext cx="1809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002" indent="-180002" algn="l" defTabSz="914411" rtl="0" eaLnBrk="1" latinLnBrk="0" hangingPunct="1">
              <a:lnSpc>
                <a:spcPct val="90000"/>
              </a:lnSpc>
              <a:spcBef>
                <a:spcPts val="1001"/>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5" indent="-180002" algn="l" defTabSz="914411"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7" indent="-180002" algn="l" defTabSz="914411"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9" indent="-180002" algn="l" defTabSz="914411"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11" indent="-180002" algn="l" defTabSz="914411"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32"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838"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9044"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6249"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a:lstStyle>
          <a:p>
            <a:pPr marL="0" lvl="0" indent="0" algn="ctr">
              <a:spcBef>
                <a:spcPct val="0"/>
              </a:spcBef>
              <a:spcAft>
                <a:spcPct val="0"/>
              </a:spcAft>
              <a:buNone/>
            </a:pPr>
            <a:r>
              <a:rPr lang="en-GB" altLang="en-US" sz="1000">
                <a:cs typeface="Inter" panose="020B0604020202020204" charset="0"/>
              </a:rPr>
              <a:t>~</a:t>
            </a:r>
            <a:fld id="{D4E4F025-0905-4498-A9F3-E33D545E31BD}" type="datetime'''''''6'''''''''''''''''''''">
              <a:rPr lang="en-GB" altLang="en-US" sz="1000" smtClean="0"/>
              <a:pPr marL="0" lvl="0" indent="0" algn="ctr">
                <a:spcBef>
                  <a:spcPct val="0"/>
                </a:spcBef>
                <a:spcAft>
                  <a:spcPct val="0"/>
                </a:spcAft>
                <a:buNone/>
              </a:pPr>
              <a:t>6</a:t>
            </a:fld>
            <a:endParaRPr lang="en-GB" sz="1000" noProof="0">
              <a:cs typeface="Inter" panose="020B0604020202020204" charset="0"/>
            </a:endParaRPr>
          </a:p>
        </p:txBody>
      </p:sp>
      <p:sp>
        <p:nvSpPr>
          <p:cNvPr id="75" name="Text Placeholder 2">
            <a:extLst>
              <a:ext uri="{FF2B5EF4-FFF2-40B4-BE49-F238E27FC236}">
                <a16:creationId xmlns:a16="http://schemas.microsoft.com/office/drawing/2014/main" id="{B926D567-524F-4499-A030-E098F89DCD34}"/>
              </a:ext>
            </a:extLst>
          </p:cNvPr>
          <p:cNvSpPr>
            <a:spLocks noGrp="1"/>
          </p:cNvSpPr>
          <p:nvPr>
            <p:custDataLst>
              <p:tags r:id="rId19"/>
            </p:custDataLst>
          </p:nvPr>
        </p:nvSpPr>
        <p:spPr bwMode="gray">
          <a:xfrm>
            <a:off x="7643813" y="2932113"/>
            <a:ext cx="1746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002" indent="-180002" algn="l" defTabSz="914411" rtl="0" eaLnBrk="1" latinLnBrk="0" hangingPunct="1">
              <a:lnSpc>
                <a:spcPct val="90000"/>
              </a:lnSpc>
              <a:spcBef>
                <a:spcPts val="1001"/>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5" indent="-180002" algn="l" defTabSz="914411"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7" indent="-180002" algn="l" defTabSz="914411"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9" indent="-180002" algn="l" defTabSz="914411"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11" indent="-180002" algn="l" defTabSz="914411"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32"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838"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9044"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6249"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a:lstStyle>
          <a:p>
            <a:pPr marL="0" lvl="0" indent="0" algn="ctr">
              <a:spcBef>
                <a:spcPct val="0"/>
              </a:spcBef>
              <a:spcAft>
                <a:spcPct val="0"/>
              </a:spcAft>
              <a:buNone/>
            </a:pPr>
            <a:fld id="{21E809B6-7E33-4F66-9CE8-0C8D2CA3899C}" type="datetime'''3''''''''''''''''''8'''''''''''''''''''''''''''">
              <a:rPr lang="en-GB" altLang="en-US" sz="1000" smtClean="0"/>
              <a:pPr marL="0" lvl="0" indent="0" algn="ctr">
                <a:spcBef>
                  <a:spcPct val="0"/>
                </a:spcBef>
                <a:spcAft>
                  <a:spcPct val="0"/>
                </a:spcAft>
                <a:buNone/>
              </a:pPr>
              <a:t>38</a:t>
            </a:fld>
            <a:endParaRPr lang="en-GB" sz="1000" noProof="0">
              <a:cs typeface="Inter" panose="020B0604020202020204" charset="0"/>
            </a:endParaRPr>
          </a:p>
        </p:txBody>
      </p:sp>
      <p:sp>
        <p:nvSpPr>
          <p:cNvPr id="14" name="TextBox 13">
            <a:extLst>
              <a:ext uri="{FF2B5EF4-FFF2-40B4-BE49-F238E27FC236}">
                <a16:creationId xmlns:a16="http://schemas.microsoft.com/office/drawing/2014/main" id="{7DF2EC95-5294-43CA-9BF9-BA0100D24110}"/>
              </a:ext>
            </a:extLst>
          </p:cNvPr>
          <p:cNvSpPr txBox="1">
            <a:spLocks/>
          </p:cNvSpPr>
          <p:nvPr/>
        </p:nvSpPr>
        <p:spPr>
          <a:xfrm>
            <a:off x="366778" y="773088"/>
            <a:ext cx="7415148" cy="474689"/>
          </a:xfrm>
          <a:prstGeom prst="rect">
            <a:avLst/>
          </a:prstGeom>
        </p:spPr>
        <p:txBody>
          <a:bodyPr vert="horz" lIns="72000" tIns="72000" rIns="72000" bIns="72000" rtlCol="0">
            <a:normAutofit lnSpcReduction="10000"/>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None/>
            </a:pPr>
            <a:r>
              <a:rPr lang="en-US" sz="1401" b="1">
                <a:solidFill>
                  <a:schemeClr val="tx2"/>
                </a:solidFill>
              </a:rPr>
              <a:t>GHG emissions mitigation by lever </a:t>
            </a:r>
          </a:p>
          <a:p>
            <a:pPr marL="0" indent="0">
              <a:spcBef>
                <a:spcPts val="0"/>
              </a:spcBef>
              <a:buNone/>
            </a:pPr>
            <a:r>
              <a:rPr lang="en-US" sz="1100">
                <a:solidFill>
                  <a:schemeClr val="bg1">
                    <a:lumMod val="50000"/>
                  </a:schemeClr>
                </a:solidFill>
              </a:rPr>
              <a:t>GtCO</a:t>
            </a:r>
            <a:r>
              <a:rPr lang="en-US" sz="1100" baseline="-25000">
                <a:solidFill>
                  <a:schemeClr val="bg1">
                    <a:lumMod val="50000"/>
                  </a:schemeClr>
                </a:solidFill>
              </a:rPr>
              <a:t>2</a:t>
            </a:r>
            <a:r>
              <a:rPr lang="en-US" sz="1100">
                <a:solidFill>
                  <a:schemeClr val="bg1">
                    <a:lumMod val="50000"/>
                  </a:schemeClr>
                </a:solidFill>
              </a:rPr>
              <a:t>e</a:t>
            </a:r>
            <a:endParaRPr lang="en-US">
              <a:solidFill>
                <a:schemeClr val="bg1">
                  <a:lumMod val="50000"/>
                </a:schemeClr>
              </a:solidFill>
            </a:endParaRPr>
          </a:p>
        </p:txBody>
      </p:sp>
      <p:cxnSp>
        <p:nvCxnSpPr>
          <p:cNvPr id="15" name="Straight Connector 14">
            <a:extLst>
              <a:ext uri="{FF2B5EF4-FFF2-40B4-BE49-F238E27FC236}">
                <a16:creationId xmlns:a16="http://schemas.microsoft.com/office/drawing/2014/main" id="{4859A8C2-EAEA-E16A-6C5C-28154EE99456}"/>
              </a:ext>
            </a:extLst>
          </p:cNvPr>
          <p:cNvCxnSpPr>
            <a:cxnSpLocks/>
          </p:cNvCxnSpPr>
          <p:nvPr/>
        </p:nvCxnSpPr>
        <p:spPr>
          <a:xfrm>
            <a:off x="366779" y="1230260"/>
            <a:ext cx="11446626"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115" name="Rectangle 114">
            <a:extLst>
              <a:ext uri="{FF2B5EF4-FFF2-40B4-BE49-F238E27FC236}">
                <a16:creationId xmlns:a16="http://schemas.microsoft.com/office/drawing/2014/main" id="{C3E3532E-F488-2221-135B-385B96576854}"/>
              </a:ext>
            </a:extLst>
          </p:cNvPr>
          <p:cNvSpPr/>
          <p:nvPr/>
        </p:nvSpPr>
        <p:spPr>
          <a:xfrm>
            <a:off x="5771356" y="2853223"/>
            <a:ext cx="650079" cy="240660"/>
          </a:xfrm>
          <a:prstGeom prst="rect">
            <a:avLst/>
          </a:prstGeom>
          <a:gradFill flip="none" rotWithShape="1">
            <a:gsLst>
              <a:gs pos="0">
                <a:schemeClr val="accent6">
                  <a:lumMod val="50000"/>
                </a:schemeClr>
              </a:gs>
              <a:gs pos="18000">
                <a:schemeClr val="accent6">
                  <a:lumMod val="75000"/>
                </a:schemeClr>
              </a:gs>
              <a:gs pos="100000">
                <a:schemeClr val="bg1"/>
              </a:gs>
            </a:gsLst>
            <a:lin ang="54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a:ln>
                <a:noFill/>
              </a:ln>
              <a:solidFill>
                <a:schemeClr val="bg1"/>
              </a:solidFill>
              <a:latin typeface="Century Gothic" panose="020B0502020202020204" pitchFamily="34" charset="0"/>
            </a:endParaRPr>
          </a:p>
        </p:txBody>
      </p:sp>
      <p:sp>
        <p:nvSpPr>
          <p:cNvPr id="257" name="Rectangle 256">
            <a:extLst>
              <a:ext uri="{FF2B5EF4-FFF2-40B4-BE49-F238E27FC236}">
                <a16:creationId xmlns:a16="http://schemas.microsoft.com/office/drawing/2014/main" id="{2663BB55-3454-36E1-87CE-25FEEA157DA7}"/>
              </a:ext>
            </a:extLst>
          </p:cNvPr>
          <p:cNvSpPr/>
          <p:nvPr>
            <p:custDataLst>
              <p:tags r:id="rId20"/>
            </p:custDataLst>
          </p:nvPr>
        </p:nvSpPr>
        <p:spPr bwMode="auto">
          <a:xfrm>
            <a:off x="433388" y="1285875"/>
            <a:ext cx="179388" cy="133350"/>
          </a:xfrm>
          <a:prstGeom prst="rect">
            <a:avLst/>
          </a:prstGeom>
          <a:solidFill>
            <a:schemeClr val="accent2"/>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tx2"/>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a:ln>
                <a:noFill/>
              </a:ln>
              <a:solidFill>
                <a:schemeClr val="bg1"/>
              </a:solidFill>
              <a:latin typeface="Century Gothic" panose="020B0502020202020204" pitchFamily="34" charset="0"/>
            </a:endParaRPr>
          </a:p>
        </p:txBody>
      </p:sp>
      <p:sp>
        <p:nvSpPr>
          <p:cNvPr id="258" name="Rectangle 257">
            <a:extLst>
              <a:ext uri="{FF2B5EF4-FFF2-40B4-BE49-F238E27FC236}">
                <a16:creationId xmlns:a16="http://schemas.microsoft.com/office/drawing/2014/main" id="{7795EFD2-066F-757A-28CC-3941AC7BA9F7}"/>
              </a:ext>
            </a:extLst>
          </p:cNvPr>
          <p:cNvSpPr/>
          <p:nvPr>
            <p:custDataLst>
              <p:tags r:id="rId21"/>
            </p:custDataLst>
          </p:nvPr>
        </p:nvSpPr>
        <p:spPr bwMode="auto">
          <a:xfrm>
            <a:off x="433388" y="1481138"/>
            <a:ext cx="179388" cy="133350"/>
          </a:xfrm>
          <a:prstGeom prst="rect">
            <a:avLst/>
          </a:prstGeom>
          <a:solidFill>
            <a:schemeClr val="accent3"/>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tx2"/>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a:ln>
                <a:noFill/>
              </a:ln>
              <a:solidFill>
                <a:schemeClr val="bg1"/>
              </a:solidFill>
              <a:latin typeface="Century Gothic" panose="020B0502020202020204" pitchFamily="34" charset="0"/>
            </a:endParaRPr>
          </a:p>
        </p:txBody>
      </p:sp>
      <p:sp>
        <p:nvSpPr>
          <p:cNvPr id="260" name="Rectangle 259">
            <a:extLst>
              <a:ext uri="{FF2B5EF4-FFF2-40B4-BE49-F238E27FC236}">
                <a16:creationId xmlns:a16="http://schemas.microsoft.com/office/drawing/2014/main" id="{28C8284D-8828-4B27-42C4-5537510A8153}"/>
              </a:ext>
            </a:extLst>
          </p:cNvPr>
          <p:cNvSpPr/>
          <p:nvPr>
            <p:custDataLst>
              <p:tags r:id="rId22"/>
            </p:custDataLst>
          </p:nvPr>
        </p:nvSpPr>
        <p:spPr bwMode="auto">
          <a:xfrm>
            <a:off x="1720850" y="1285875"/>
            <a:ext cx="179388" cy="133350"/>
          </a:xfrm>
          <a:prstGeom prst="rect">
            <a:avLst/>
          </a:prstGeom>
          <a:solidFill>
            <a:schemeClr val="accent1"/>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tx2"/>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a:ln>
                <a:noFill/>
              </a:ln>
              <a:solidFill>
                <a:schemeClr val="bg1"/>
              </a:solidFill>
              <a:latin typeface="Century Gothic" panose="020B0502020202020204" pitchFamily="34" charset="0"/>
            </a:endParaRPr>
          </a:p>
        </p:txBody>
      </p:sp>
      <p:sp>
        <p:nvSpPr>
          <p:cNvPr id="261" name="Rectangle 260">
            <a:extLst>
              <a:ext uri="{FF2B5EF4-FFF2-40B4-BE49-F238E27FC236}">
                <a16:creationId xmlns:a16="http://schemas.microsoft.com/office/drawing/2014/main" id="{0AD0478F-19A8-115B-75E1-87995105F5E7}"/>
              </a:ext>
            </a:extLst>
          </p:cNvPr>
          <p:cNvSpPr/>
          <p:nvPr>
            <p:custDataLst>
              <p:tags r:id="rId23"/>
            </p:custDataLst>
          </p:nvPr>
        </p:nvSpPr>
        <p:spPr bwMode="auto">
          <a:xfrm>
            <a:off x="1720850" y="1481138"/>
            <a:ext cx="179388" cy="133350"/>
          </a:xfrm>
          <a:prstGeom prst="rect">
            <a:avLst/>
          </a:prstGeom>
          <a:solidFill>
            <a:srgbClr val="C0C0C0"/>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tx2"/>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a:ln>
                <a:noFill/>
              </a:ln>
              <a:solidFill>
                <a:schemeClr val="bg1"/>
              </a:solidFill>
              <a:latin typeface="Century Gothic" panose="020B0502020202020204" pitchFamily="34" charset="0"/>
            </a:endParaRPr>
          </a:p>
        </p:txBody>
      </p:sp>
      <p:sp>
        <p:nvSpPr>
          <p:cNvPr id="262" name="Rectangle 261">
            <a:extLst>
              <a:ext uri="{FF2B5EF4-FFF2-40B4-BE49-F238E27FC236}">
                <a16:creationId xmlns:a16="http://schemas.microsoft.com/office/drawing/2014/main" id="{64C7DEB0-6B81-6D9C-4010-928FA50AB199}"/>
              </a:ext>
            </a:extLst>
          </p:cNvPr>
          <p:cNvSpPr/>
          <p:nvPr>
            <p:custDataLst>
              <p:tags r:id="rId24"/>
            </p:custDataLst>
          </p:nvPr>
        </p:nvSpPr>
        <p:spPr bwMode="auto">
          <a:xfrm>
            <a:off x="4271963" y="1285875"/>
            <a:ext cx="179388" cy="133350"/>
          </a:xfrm>
          <a:prstGeom prst="rect">
            <a:avLst/>
          </a:prstGeom>
          <a:solidFill>
            <a:srgbClr val="808080"/>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tx2"/>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a:ln>
                <a:noFill/>
              </a:ln>
              <a:solidFill>
                <a:schemeClr val="bg1"/>
              </a:solidFill>
              <a:latin typeface="Century Gothic" panose="020B0502020202020204" pitchFamily="34" charset="0"/>
            </a:endParaRPr>
          </a:p>
        </p:txBody>
      </p:sp>
      <p:sp>
        <p:nvSpPr>
          <p:cNvPr id="263" name="Rectangle 262">
            <a:extLst>
              <a:ext uri="{FF2B5EF4-FFF2-40B4-BE49-F238E27FC236}">
                <a16:creationId xmlns:a16="http://schemas.microsoft.com/office/drawing/2014/main" id="{4653D72F-7E34-B192-45D8-30AE0541CE29}"/>
              </a:ext>
            </a:extLst>
          </p:cNvPr>
          <p:cNvSpPr/>
          <p:nvPr>
            <p:custDataLst>
              <p:tags r:id="rId25"/>
            </p:custDataLst>
          </p:nvPr>
        </p:nvSpPr>
        <p:spPr bwMode="auto">
          <a:xfrm>
            <a:off x="4271963" y="1481138"/>
            <a:ext cx="179388" cy="133350"/>
          </a:xfrm>
          <a:prstGeom prst="rect">
            <a:avLst/>
          </a:prstGeom>
          <a:solidFill>
            <a:schemeClr val="accent4"/>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tx2"/>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a:ln>
                <a:noFill/>
              </a:ln>
              <a:solidFill>
                <a:schemeClr val="bg1"/>
              </a:solidFill>
              <a:latin typeface="Century Gothic" panose="020B0502020202020204" pitchFamily="34" charset="0"/>
            </a:endParaRPr>
          </a:p>
        </p:txBody>
      </p:sp>
      <p:sp>
        <p:nvSpPr>
          <p:cNvPr id="265" name="Rectangle 264">
            <a:extLst>
              <a:ext uri="{FF2B5EF4-FFF2-40B4-BE49-F238E27FC236}">
                <a16:creationId xmlns:a16="http://schemas.microsoft.com/office/drawing/2014/main" id="{EC7257D5-7967-C68C-5F02-5B001585AFD6}"/>
              </a:ext>
            </a:extLst>
          </p:cNvPr>
          <p:cNvSpPr/>
          <p:nvPr>
            <p:custDataLst>
              <p:tags r:id="rId26"/>
            </p:custDataLst>
          </p:nvPr>
        </p:nvSpPr>
        <p:spPr bwMode="auto">
          <a:xfrm>
            <a:off x="5889625" y="1285875"/>
            <a:ext cx="179388" cy="133350"/>
          </a:xfrm>
          <a:prstGeom prst="rect">
            <a:avLst/>
          </a:prstGeom>
          <a:solidFill>
            <a:srgbClr val="AD8464"/>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a:ln>
                <a:noFill/>
              </a:ln>
              <a:solidFill>
                <a:schemeClr val="bg1"/>
              </a:solidFill>
              <a:latin typeface="Century Gothic" panose="020B0502020202020204" pitchFamily="34" charset="0"/>
            </a:endParaRPr>
          </a:p>
        </p:txBody>
      </p:sp>
      <p:sp>
        <p:nvSpPr>
          <p:cNvPr id="247" name="Text Placeholder 2">
            <a:extLst>
              <a:ext uri="{FF2B5EF4-FFF2-40B4-BE49-F238E27FC236}">
                <a16:creationId xmlns:a16="http://schemas.microsoft.com/office/drawing/2014/main" id="{B926D567-524F-4499-A030-E098F89DCD34}"/>
              </a:ext>
            </a:extLst>
          </p:cNvPr>
          <p:cNvSpPr>
            <a:spLocks noGrp="1"/>
          </p:cNvSpPr>
          <p:nvPr>
            <p:custDataLst>
              <p:tags r:id="rId27"/>
            </p:custDataLst>
          </p:nvPr>
        </p:nvSpPr>
        <p:spPr bwMode="auto">
          <a:xfrm>
            <a:off x="663575" y="1293813"/>
            <a:ext cx="7572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2" indent="-180002" algn="l" defTabSz="914411" rtl="0" eaLnBrk="1" latinLnBrk="0" hangingPunct="1">
              <a:lnSpc>
                <a:spcPct val="90000"/>
              </a:lnSpc>
              <a:spcBef>
                <a:spcPts val="1001"/>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5" indent="-180002" algn="l" defTabSz="914411"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7" indent="-180002" algn="l" defTabSz="914411"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9" indent="-180002" algn="l" defTabSz="914411"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11" indent="-180002" algn="l" defTabSz="914411"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32"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838"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9044"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6249"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a:lstStyle>
          <a:p>
            <a:pPr marL="0" lvl="0" indent="0">
              <a:spcBef>
                <a:spcPct val="0"/>
              </a:spcBef>
              <a:spcAft>
                <a:spcPct val="0"/>
              </a:spcAft>
              <a:buNone/>
            </a:pPr>
            <a:fld id="{1A7EBEC1-8C99-4420-8A44-EA022A6A97C2}" type="datetime'''''R''''''''''''e''''''''n''ew''a''''''''''''''''b''le''s'''">
              <a:rPr lang="en-GB" altLang="en-US" sz="1000" smtClean="0">
                <a:effectLst/>
                <a:cs typeface="Inter" panose="020B0604020202020204" charset="0"/>
              </a:rPr>
              <a:pPr marL="0" lvl="0" indent="0">
                <a:spcBef>
                  <a:spcPct val="0"/>
                </a:spcBef>
                <a:spcAft>
                  <a:spcPct val="0"/>
                </a:spcAft>
                <a:buNone/>
              </a:pPr>
              <a:t>Renewables</a:t>
            </a:fld>
            <a:endParaRPr lang="en-GB" sz="1000" noProof="0">
              <a:cs typeface="Inter" panose="020B0604020202020204" charset="0"/>
            </a:endParaRPr>
          </a:p>
        </p:txBody>
      </p:sp>
      <p:sp>
        <p:nvSpPr>
          <p:cNvPr id="250" name="Text Placeholder 2">
            <a:extLst>
              <a:ext uri="{FF2B5EF4-FFF2-40B4-BE49-F238E27FC236}">
                <a16:creationId xmlns:a16="http://schemas.microsoft.com/office/drawing/2014/main" id="{B926D567-524F-4499-A030-E098F89DCD34}"/>
              </a:ext>
            </a:extLst>
          </p:cNvPr>
          <p:cNvSpPr>
            <a:spLocks noGrp="1"/>
          </p:cNvSpPr>
          <p:nvPr>
            <p:custDataLst>
              <p:tags r:id="rId28"/>
            </p:custDataLst>
          </p:nvPr>
        </p:nvSpPr>
        <p:spPr bwMode="auto">
          <a:xfrm>
            <a:off x="663575" y="1489075"/>
            <a:ext cx="9556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2" indent="-180002" algn="l" defTabSz="914411" rtl="0" eaLnBrk="1" latinLnBrk="0" hangingPunct="1">
              <a:lnSpc>
                <a:spcPct val="90000"/>
              </a:lnSpc>
              <a:spcBef>
                <a:spcPts val="1001"/>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5" indent="-180002" algn="l" defTabSz="914411"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7" indent="-180002" algn="l" defTabSz="914411"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9" indent="-180002" algn="l" defTabSz="914411"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11" indent="-180002" algn="l" defTabSz="914411"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32"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838"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9044"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6249"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a:lstStyle>
          <a:p>
            <a:pPr marL="0" lvl="0" indent="0">
              <a:spcBef>
                <a:spcPct val="0"/>
              </a:spcBef>
              <a:spcAft>
                <a:spcPct val="0"/>
              </a:spcAft>
              <a:buNone/>
            </a:pPr>
            <a:r>
              <a:rPr lang="en-GB" altLang="en-US" sz="1000">
                <a:effectLst/>
                <a:cs typeface="Inter" panose="020B0604020202020204" charset="0"/>
              </a:rPr>
              <a:t>EV Deployment</a:t>
            </a:r>
            <a:endParaRPr lang="en-GB" sz="1000" noProof="0">
              <a:cs typeface="Inter" panose="020B0604020202020204" charset="0"/>
            </a:endParaRPr>
          </a:p>
        </p:txBody>
      </p:sp>
      <p:sp>
        <p:nvSpPr>
          <p:cNvPr id="243" name="Text Placeholder 2">
            <a:extLst>
              <a:ext uri="{FF2B5EF4-FFF2-40B4-BE49-F238E27FC236}">
                <a16:creationId xmlns:a16="http://schemas.microsoft.com/office/drawing/2014/main" id="{B926D567-524F-4499-A030-E098F89DCD34}"/>
              </a:ext>
            </a:extLst>
          </p:cNvPr>
          <p:cNvSpPr>
            <a:spLocks noGrp="1"/>
          </p:cNvSpPr>
          <p:nvPr>
            <p:custDataLst>
              <p:tags r:id="rId29"/>
            </p:custDataLst>
          </p:nvPr>
        </p:nvSpPr>
        <p:spPr bwMode="auto">
          <a:xfrm>
            <a:off x="1951038" y="1293813"/>
            <a:ext cx="10477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2" indent="-180002" algn="l" defTabSz="914411" rtl="0" eaLnBrk="1" latinLnBrk="0" hangingPunct="1">
              <a:lnSpc>
                <a:spcPct val="90000"/>
              </a:lnSpc>
              <a:spcBef>
                <a:spcPts val="1001"/>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5" indent="-180002" algn="l" defTabSz="914411"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7" indent="-180002" algn="l" defTabSz="914411"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9" indent="-180002" algn="l" defTabSz="914411"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11" indent="-180002" algn="l" defTabSz="914411"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32"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838"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9044"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6249"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a:lstStyle>
          <a:p>
            <a:pPr marL="0" lvl="0" indent="0">
              <a:spcBef>
                <a:spcPct val="0"/>
              </a:spcBef>
              <a:spcAft>
                <a:spcPct val="0"/>
              </a:spcAft>
              <a:buNone/>
            </a:pPr>
            <a:fld id="{33858619-EC6A-48DC-AC13-FE7F48C7880E}" type="datetime'Energy ''E''''''''''f''''fic''''''''''''''''ien''cy'">
              <a:rPr lang="en-GB" altLang="en-US" sz="1000" smtClean="0">
                <a:effectLst/>
                <a:cs typeface="Inter" panose="020B0604020202020204" charset="0"/>
              </a:rPr>
              <a:pPr marL="0" lvl="0" indent="0">
                <a:spcBef>
                  <a:spcPct val="0"/>
                </a:spcBef>
                <a:spcAft>
                  <a:spcPct val="0"/>
                </a:spcAft>
                <a:buNone/>
              </a:pPr>
              <a:t>Energy Efficiency</a:t>
            </a:fld>
            <a:endParaRPr lang="en-GB" sz="1000" noProof="0">
              <a:cs typeface="Inter" panose="020B0604020202020204" charset="0"/>
            </a:endParaRPr>
          </a:p>
        </p:txBody>
      </p:sp>
      <p:sp>
        <p:nvSpPr>
          <p:cNvPr id="245" name="Text Placeholder 2">
            <a:extLst>
              <a:ext uri="{FF2B5EF4-FFF2-40B4-BE49-F238E27FC236}">
                <a16:creationId xmlns:a16="http://schemas.microsoft.com/office/drawing/2014/main" id="{B926D567-524F-4499-A030-E098F89DCD34}"/>
              </a:ext>
            </a:extLst>
          </p:cNvPr>
          <p:cNvSpPr>
            <a:spLocks noGrp="1"/>
          </p:cNvSpPr>
          <p:nvPr>
            <p:custDataLst>
              <p:tags r:id="rId30"/>
            </p:custDataLst>
          </p:nvPr>
        </p:nvSpPr>
        <p:spPr bwMode="auto">
          <a:xfrm>
            <a:off x="1951038" y="1489075"/>
            <a:ext cx="22193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2" indent="-180002" algn="l" defTabSz="914411" rtl="0" eaLnBrk="1" latinLnBrk="0" hangingPunct="1">
              <a:lnSpc>
                <a:spcPct val="90000"/>
              </a:lnSpc>
              <a:spcBef>
                <a:spcPts val="1001"/>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5" indent="-180002" algn="l" defTabSz="914411"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7" indent="-180002" algn="l" defTabSz="914411"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9" indent="-180002" algn="l" defTabSz="914411"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11" indent="-180002" algn="l" defTabSz="914411"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32"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838"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9044"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6249"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a:lstStyle>
          <a:p>
            <a:pPr marL="0" lvl="0" indent="0">
              <a:spcBef>
                <a:spcPct val="0"/>
              </a:spcBef>
              <a:spcAft>
                <a:spcPct val="0"/>
              </a:spcAft>
              <a:buNone/>
            </a:pPr>
            <a:fld id="{DD5BE8C6-CB9A-4C48-AD04-8D4BA8B6F075}" type="datetime'''In''d''u''s''try Sector P''roj''ects and'' ''''Pledg''es'''">
              <a:rPr lang="en-US" altLang="en-US" sz="1000" smtClean="0">
                <a:effectLst/>
                <a:cs typeface="Inter" panose="020B0604020202020204" charset="0"/>
              </a:rPr>
              <a:pPr marL="0" lvl="0" indent="0">
                <a:spcBef>
                  <a:spcPct val="0"/>
                </a:spcBef>
                <a:spcAft>
                  <a:spcPct val="0"/>
                </a:spcAft>
                <a:buNone/>
              </a:pPr>
              <a:t>Industry Sector Projects and Pledges</a:t>
            </a:fld>
            <a:endParaRPr lang="en-GB" sz="1000" noProof="0">
              <a:cs typeface="Inter" panose="020B0604020202020204" charset="0"/>
            </a:endParaRPr>
          </a:p>
        </p:txBody>
      </p:sp>
      <p:sp>
        <p:nvSpPr>
          <p:cNvPr id="249" name="Text Placeholder 2">
            <a:extLst>
              <a:ext uri="{FF2B5EF4-FFF2-40B4-BE49-F238E27FC236}">
                <a16:creationId xmlns:a16="http://schemas.microsoft.com/office/drawing/2014/main" id="{B926D567-524F-4499-A030-E098F89DCD34}"/>
              </a:ext>
            </a:extLst>
          </p:cNvPr>
          <p:cNvSpPr>
            <a:spLocks noGrp="1"/>
          </p:cNvSpPr>
          <p:nvPr>
            <p:custDataLst>
              <p:tags r:id="rId31"/>
            </p:custDataLst>
          </p:nvPr>
        </p:nvSpPr>
        <p:spPr bwMode="auto">
          <a:xfrm>
            <a:off x="4502150" y="1293813"/>
            <a:ext cx="927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2" indent="-180002" algn="l" defTabSz="914411" rtl="0" eaLnBrk="1" latinLnBrk="0" hangingPunct="1">
              <a:lnSpc>
                <a:spcPct val="90000"/>
              </a:lnSpc>
              <a:spcBef>
                <a:spcPts val="1001"/>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5" indent="-180002" algn="l" defTabSz="914411"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7" indent="-180002" algn="l" defTabSz="914411"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9" indent="-180002" algn="l" defTabSz="914411"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11" indent="-180002" algn="l" defTabSz="914411"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32"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838"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9044"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6249"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a:lstStyle>
          <a:p>
            <a:pPr marL="0" lvl="0" indent="0">
              <a:spcBef>
                <a:spcPct val="0"/>
              </a:spcBef>
              <a:spcAft>
                <a:spcPct val="0"/>
              </a:spcAft>
              <a:buNone/>
            </a:pPr>
            <a:fld id="{175B466D-C92E-4EF1-BCEC-81CAED7E50DC}" type="datetime'''''''I''''''n''d''''ust''''r''i''''''a''l'' ''''''''CC''''US'">
              <a:rPr lang="en-GB" altLang="en-US" sz="1000" smtClean="0">
                <a:effectLst/>
                <a:cs typeface="Inter" panose="020B0604020202020204" charset="0"/>
              </a:rPr>
              <a:pPr marL="0" lvl="0" indent="0">
                <a:spcBef>
                  <a:spcPct val="0"/>
                </a:spcBef>
                <a:spcAft>
                  <a:spcPct val="0"/>
                </a:spcAft>
                <a:buNone/>
              </a:pPr>
              <a:t>Industrial CCUS</a:t>
            </a:fld>
            <a:endParaRPr lang="en-GB" sz="1000" noProof="0">
              <a:cs typeface="Inter" panose="020B0604020202020204" charset="0"/>
            </a:endParaRPr>
          </a:p>
        </p:txBody>
      </p:sp>
      <p:sp>
        <p:nvSpPr>
          <p:cNvPr id="248" name="Text Placeholder 2">
            <a:extLst>
              <a:ext uri="{FF2B5EF4-FFF2-40B4-BE49-F238E27FC236}">
                <a16:creationId xmlns:a16="http://schemas.microsoft.com/office/drawing/2014/main" id="{B926D567-524F-4499-A030-E098F89DCD34}"/>
              </a:ext>
            </a:extLst>
          </p:cNvPr>
          <p:cNvSpPr>
            <a:spLocks noGrp="1"/>
          </p:cNvSpPr>
          <p:nvPr>
            <p:custDataLst>
              <p:tags r:id="rId32"/>
            </p:custDataLst>
          </p:nvPr>
        </p:nvSpPr>
        <p:spPr bwMode="auto">
          <a:xfrm>
            <a:off x="4502150" y="1489075"/>
            <a:ext cx="12858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2" indent="-180002" algn="l" defTabSz="914411" rtl="0" eaLnBrk="1" latinLnBrk="0" hangingPunct="1">
              <a:lnSpc>
                <a:spcPct val="90000"/>
              </a:lnSpc>
              <a:spcBef>
                <a:spcPts val="1001"/>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5" indent="-180002" algn="l" defTabSz="914411"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7" indent="-180002" algn="l" defTabSz="914411"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9" indent="-180002" algn="l" defTabSz="914411"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11" indent="-180002" algn="l" defTabSz="914411"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32"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838"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9044"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6249"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a:lstStyle>
          <a:p>
            <a:pPr marL="0" lvl="0" indent="0">
              <a:spcBef>
                <a:spcPct val="0"/>
              </a:spcBef>
              <a:spcAft>
                <a:spcPct val="0"/>
              </a:spcAft>
              <a:buNone/>
            </a:pPr>
            <a:fld id="{4422A69A-0B08-4BA6-B493-6E91DA397F38}" type="datetime'P''l''edg''''es o''n ''M''''''''''''''''e''t''''ha''ne'''''">
              <a:rPr lang="en-GB" altLang="en-US" sz="1000" smtClean="0">
                <a:effectLst/>
                <a:cs typeface="Inter" panose="020B0604020202020204" charset="0"/>
              </a:rPr>
              <a:pPr marL="0" lvl="0" indent="0">
                <a:spcBef>
                  <a:spcPct val="0"/>
                </a:spcBef>
                <a:spcAft>
                  <a:spcPct val="0"/>
                </a:spcAft>
                <a:buNone/>
              </a:pPr>
              <a:t>Pledges on Methane</a:t>
            </a:fld>
            <a:endParaRPr lang="en-GB" sz="1000" noProof="0">
              <a:cs typeface="Inter" panose="020B0604020202020204" charset="0"/>
            </a:endParaRPr>
          </a:p>
        </p:txBody>
      </p:sp>
      <p:sp>
        <p:nvSpPr>
          <p:cNvPr id="253" name="Text Placeholder 2">
            <a:extLst>
              <a:ext uri="{FF2B5EF4-FFF2-40B4-BE49-F238E27FC236}">
                <a16:creationId xmlns:a16="http://schemas.microsoft.com/office/drawing/2014/main" id="{B926D567-524F-4499-A030-E098F89DCD34}"/>
              </a:ext>
            </a:extLst>
          </p:cNvPr>
          <p:cNvSpPr>
            <a:spLocks noGrp="1"/>
          </p:cNvSpPr>
          <p:nvPr>
            <p:custDataLst>
              <p:tags r:id="rId33"/>
            </p:custDataLst>
          </p:nvPr>
        </p:nvSpPr>
        <p:spPr bwMode="auto">
          <a:xfrm>
            <a:off x="6119813" y="1293813"/>
            <a:ext cx="16621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2" indent="-180002" algn="l" defTabSz="914411" rtl="0" eaLnBrk="1" latinLnBrk="0" hangingPunct="1">
              <a:lnSpc>
                <a:spcPct val="90000"/>
              </a:lnSpc>
              <a:spcBef>
                <a:spcPts val="1001"/>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5" indent="-180002" algn="l" defTabSz="914411"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7" indent="-180002" algn="l" defTabSz="914411"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9" indent="-180002" algn="l" defTabSz="914411"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11" indent="-180002" algn="l" defTabSz="914411"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32"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838"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9044"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6249"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a:lstStyle>
          <a:p>
            <a:pPr marL="0" lvl="0" indent="0">
              <a:spcBef>
                <a:spcPct val="0"/>
              </a:spcBef>
              <a:spcAft>
                <a:spcPct val="0"/>
              </a:spcAft>
              <a:buNone/>
            </a:pPr>
            <a:fld id="{82B1088E-6716-4922-9F4A-B4F9E6D00628}" type="datetime'''Pl''edges'''' on'' ''F''ood'''', La''nd'''''''''' Us''e'">
              <a:rPr lang="en-US" altLang="en-US" sz="1000" smtClean="0">
                <a:effectLst/>
                <a:cs typeface="Inter" panose="020B0604020202020204" charset="0"/>
              </a:rPr>
              <a:pPr marL="0" lvl="0" indent="0">
                <a:spcBef>
                  <a:spcPct val="0"/>
                </a:spcBef>
                <a:spcAft>
                  <a:spcPct val="0"/>
                </a:spcAft>
                <a:buNone/>
              </a:pPr>
              <a:t>Pledges on Food, Land Use</a:t>
            </a:fld>
            <a:endParaRPr lang="en-GB" sz="1000" noProof="0">
              <a:cs typeface="Inter" panose="020B0604020202020204" charset="0"/>
            </a:endParaRPr>
          </a:p>
        </p:txBody>
      </p:sp>
      <p:sp>
        <p:nvSpPr>
          <p:cNvPr id="315" name="Speech Bubble: Rectangle 314">
            <a:extLst>
              <a:ext uri="{FF2B5EF4-FFF2-40B4-BE49-F238E27FC236}">
                <a16:creationId xmlns:a16="http://schemas.microsoft.com/office/drawing/2014/main" id="{23ACDD67-8103-BF0F-7A9C-C7E335F39690}"/>
              </a:ext>
            </a:extLst>
          </p:cNvPr>
          <p:cNvSpPr/>
          <p:nvPr/>
        </p:nvSpPr>
        <p:spPr>
          <a:xfrm>
            <a:off x="3867037" y="3328912"/>
            <a:ext cx="1848075" cy="847751"/>
          </a:xfrm>
          <a:prstGeom prst="wedgeRectCallout">
            <a:avLst>
              <a:gd name="adj1" fmla="val 53888"/>
              <a:gd name="adj2" fmla="val -74708"/>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000">
                <a:ln>
                  <a:noFill/>
                </a:ln>
                <a:solidFill>
                  <a:schemeClr val="bg1"/>
                </a:solidFill>
                <a:latin typeface="Century Gothic" panose="020B0502020202020204" pitchFamily="34" charset="0"/>
              </a:rPr>
              <a:t>Pledges on </a:t>
            </a:r>
            <a:r>
              <a:rPr lang="en-GB" sz="1000" b="1">
                <a:ln>
                  <a:noFill/>
                </a:ln>
                <a:solidFill>
                  <a:schemeClr val="bg1"/>
                </a:solidFill>
                <a:latin typeface="Century Gothic" panose="020B0502020202020204" pitchFamily="34" charset="0"/>
              </a:rPr>
              <a:t>deforestation, food, land use are highly uncertain and currently lack funding and policies</a:t>
            </a:r>
          </a:p>
        </p:txBody>
      </p:sp>
      <p:sp>
        <p:nvSpPr>
          <p:cNvPr id="8" name="Footer Placeholder 3">
            <a:extLst>
              <a:ext uri="{FF2B5EF4-FFF2-40B4-BE49-F238E27FC236}">
                <a16:creationId xmlns:a16="http://schemas.microsoft.com/office/drawing/2014/main" id="{F3C215D8-3474-4397-8FA4-6DDAE67AFFF7}"/>
              </a:ext>
            </a:extLst>
          </p:cNvPr>
          <p:cNvSpPr txBox="1">
            <a:spLocks/>
          </p:cNvSpPr>
          <p:nvPr/>
        </p:nvSpPr>
        <p:spPr>
          <a:xfrm>
            <a:off x="366779" y="6116638"/>
            <a:ext cx="11446626" cy="639696"/>
          </a:xfrm>
          <a:prstGeom prst="rect">
            <a:avLst/>
          </a:prstGeom>
          <a:solidFill>
            <a:schemeClr val="bg1"/>
          </a:solidFill>
        </p:spPr>
        <p:txBody>
          <a:bodyPr anchor="ctr"/>
          <a:lstStyle>
            <a:defPPr>
              <a:defRPr lang="de-DE"/>
            </a:defPPr>
            <a:lvl1pPr marL="0" algn="l" defTabSz="914400" rtl="0" eaLnBrk="1" latinLnBrk="0" hangingPunct="1">
              <a:defRPr sz="900" kern="1200">
                <a:solidFill>
                  <a:schemeClr val="tx1"/>
                </a:solidFill>
                <a:latin typeface="Century Gothic" panose="020B0502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800"/>
              <a:t>Notes: [</a:t>
            </a:r>
            <a:r>
              <a:rPr lang="en-GB" sz="800" err="1"/>
              <a:t>i</a:t>
            </a:r>
            <a:r>
              <a:rPr lang="en-GB" sz="800"/>
              <a:t>] Estimates are taken from UNEP (2023), </a:t>
            </a:r>
            <a:r>
              <a:rPr lang="en-GB" sz="800" i="1"/>
              <a:t>Emissions Gap Report: Broken Record, </a:t>
            </a:r>
            <a:r>
              <a:rPr lang="en-GB" sz="800"/>
              <a:t>mitigation from renewables and energy efficiency assumes the full implementation of global pledge to triple renewable capacity and double annual energy efficiency improvements by 2030 made at COP28, mitigation from hard-to-abate sectors excludes the decarbonisation of power supply which is considered under “Mature clean energy technologies”. Mitigation from “Pledges on Methane” include the impact of both the Global Methane Pledge (GMP) and the Oil and Gas Decarbonization Charter (OGDC) and overlap, methane emissions from agriculture under GMP are considered in “Pledges on Food, Land Use”. Projections include all GHGs, but estimates of mitigation levers focus on CO</a:t>
            </a:r>
            <a:r>
              <a:rPr lang="en-GB" sz="800" baseline="-25000"/>
              <a:t>2</a:t>
            </a:r>
            <a:r>
              <a:rPr lang="en-GB" sz="800"/>
              <a:t> and CH</a:t>
            </a:r>
            <a:r>
              <a:rPr lang="en-GB" sz="800" baseline="-25000"/>
              <a:t>4</a:t>
            </a:r>
            <a:r>
              <a:rPr lang="en-GB" sz="800"/>
              <a:t> emissions. </a:t>
            </a:r>
          </a:p>
          <a:p>
            <a:r>
              <a:rPr lang="en-GB" sz="800"/>
              <a:t>Sources: Systemiq analysis for the ETC, based on ETC (2023), </a:t>
            </a:r>
            <a:r>
              <a:rPr lang="en-GB" sz="800" i="1"/>
              <a:t>Fossil Fuels in Transition</a:t>
            </a:r>
            <a:r>
              <a:rPr lang="en-GB" sz="800"/>
              <a:t>; ETC (2023), </a:t>
            </a:r>
            <a:r>
              <a:rPr lang="en-GB" sz="800" i="1"/>
              <a:t>COP28: A High-Level Assessment of Mitigation Proposals</a:t>
            </a:r>
            <a:r>
              <a:rPr lang="en-GB" sz="800"/>
              <a:t>; IEA (2023), </a:t>
            </a:r>
            <a:r>
              <a:rPr lang="en-GB" sz="800" i="1"/>
              <a:t>Net Zero Roadmap – Update</a:t>
            </a:r>
            <a:r>
              <a:rPr lang="en-GB" sz="800"/>
              <a:t>; IEA (2023), </a:t>
            </a:r>
            <a:r>
              <a:rPr lang="en-GB" sz="800" i="1"/>
              <a:t>World Energy Outlook</a:t>
            </a:r>
            <a:r>
              <a:rPr lang="en-GB" sz="800"/>
              <a:t>; IEA (2023), </a:t>
            </a:r>
            <a:r>
              <a:rPr lang="en-GB" sz="800" i="1"/>
              <a:t>Global EV Data Explorer</a:t>
            </a:r>
            <a:r>
              <a:rPr lang="en-GB" sz="800"/>
              <a:t>; IEA (2024), </a:t>
            </a:r>
            <a:r>
              <a:rPr lang="en-GB" sz="800" i="1"/>
              <a:t>CCUS Projects </a:t>
            </a:r>
            <a:r>
              <a:rPr lang="en-GB" sz="800"/>
              <a:t>Database; BNEF (2024), </a:t>
            </a:r>
            <a:r>
              <a:rPr lang="en-GB" sz="800" i="1"/>
              <a:t>Interactive Data Tool – Capacity</a:t>
            </a:r>
            <a:r>
              <a:rPr lang="en-GB" sz="800"/>
              <a:t>; BNEF (2023), </a:t>
            </a:r>
            <a:r>
              <a:rPr lang="en-GB" sz="800" i="1"/>
              <a:t>Long-Term Electric Vehicle Outlook</a:t>
            </a:r>
            <a:r>
              <a:rPr lang="en-GB" sz="800"/>
              <a:t>; BNEF (2023), </a:t>
            </a:r>
            <a:r>
              <a:rPr lang="en-GB" sz="800" i="1"/>
              <a:t>CCUS Projects </a:t>
            </a:r>
            <a:r>
              <a:rPr lang="en-GB" sz="800"/>
              <a:t>Database; Mission Possible Partnership Sector Transition Strategies; </a:t>
            </a:r>
            <a:r>
              <a:rPr lang="en-US" sz="800"/>
              <a:t>IPCC (2023), </a:t>
            </a:r>
            <a:r>
              <a:rPr lang="en-US" sz="800" i="1"/>
              <a:t>Synthesis Report Of The IPCC Sixth Assessment Report (AR6)</a:t>
            </a:r>
            <a:r>
              <a:rPr lang="en-GB" sz="800"/>
              <a:t>.</a:t>
            </a:r>
            <a:endParaRPr lang="en-US" sz="800">
              <a:ea typeface="Century Gothic" panose="020B0502020202020204" pitchFamily="34" charset="0"/>
              <a:cs typeface="Times New Roman" panose="02020603050405020304" pitchFamily="18" charset="0"/>
            </a:endParaRPr>
          </a:p>
        </p:txBody>
      </p:sp>
      <p:cxnSp>
        <p:nvCxnSpPr>
          <p:cNvPr id="99" name="Straight Connector 98">
            <a:extLst>
              <a:ext uri="{FF2B5EF4-FFF2-40B4-BE49-F238E27FC236}">
                <a16:creationId xmlns:a16="http://schemas.microsoft.com/office/drawing/2014/main" id="{D3BFE252-5B8D-C7D4-D6B8-7D947687E980}"/>
              </a:ext>
            </a:extLst>
          </p:cNvPr>
          <p:cNvCxnSpPr>
            <a:cxnSpLocks/>
          </p:cNvCxnSpPr>
          <p:nvPr/>
        </p:nvCxnSpPr>
        <p:spPr>
          <a:xfrm flipH="1">
            <a:off x="7435639" y="2357437"/>
            <a:ext cx="595195" cy="0"/>
          </a:xfrm>
          <a:prstGeom prst="line">
            <a:avLst/>
          </a:prstGeom>
          <a:ln w="1905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7644224D-F300-998B-93E9-99112EF5AF4C}"/>
              </a:ext>
            </a:extLst>
          </p:cNvPr>
          <p:cNvCxnSpPr>
            <a:cxnSpLocks/>
          </p:cNvCxnSpPr>
          <p:nvPr/>
        </p:nvCxnSpPr>
        <p:spPr>
          <a:xfrm flipH="1">
            <a:off x="7435639" y="1962227"/>
            <a:ext cx="595195" cy="0"/>
          </a:xfrm>
          <a:prstGeom prst="line">
            <a:avLst/>
          </a:prstGeom>
          <a:ln w="1905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92F81A34-EB6E-CD13-A9E7-471463DAB9BC}"/>
              </a:ext>
            </a:extLst>
          </p:cNvPr>
          <p:cNvCxnSpPr>
            <a:cxnSpLocks/>
          </p:cNvCxnSpPr>
          <p:nvPr/>
        </p:nvCxnSpPr>
        <p:spPr>
          <a:xfrm>
            <a:off x="7640638" y="1962227"/>
            <a:ext cx="0" cy="385686"/>
          </a:xfrm>
          <a:prstGeom prst="straightConnector1">
            <a:avLst/>
          </a:prstGeom>
          <a:ln w="19050">
            <a:solidFill>
              <a:schemeClr val="accent4"/>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C5D35E7E-9EBD-8513-8B0C-F21EB9BA6555}"/>
              </a:ext>
            </a:extLst>
          </p:cNvPr>
          <p:cNvSpPr txBox="1">
            <a:spLocks/>
          </p:cNvSpPr>
          <p:nvPr/>
        </p:nvSpPr>
        <p:spPr>
          <a:xfrm>
            <a:off x="6086870" y="1987004"/>
            <a:ext cx="1329927" cy="338554"/>
          </a:xfrm>
          <a:prstGeom prst="rect">
            <a:avLst/>
          </a:prstGeom>
          <a:noFill/>
        </p:spPr>
        <p:txBody>
          <a:bodyPr wrap="square" lIns="0" tIns="0" rIns="0" bIns="0" rtlCol="0">
            <a:spAutoFit/>
          </a:bodyPr>
          <a:lstStyle/>
          <a:p>
            <a:pPr algn="ctr"/>
            <a:r>
              <a:rPr lang="en-GB" sz="1100" b="1" i="1">
                <a:solidFill>
                  <a:schemeClr val="accent4"/>
                </a:solidFill>
                <a:latin typeface="Century Gothic" panose="020B0502020202020204" pitchFamily="34" charset="0"/>
              </a:rPr>
              <a:t>Delivery of current “NDC 2.0” targets</a:t>
            </a:r>
          </a:p>
        </p:txBody>
      </p:sp>
      <p:sp>
        <p:nvSpPr>
          <p:cNvPr id="21" name="TextBox 20">
            <a:extLst>
              <a:ext uri="{FF2B5EF4-FFF2-40B4-BE49-F238E27FC236}">
                <a16:creationId xmlns:a16="http://schemas.microsoft.com/office/drawing/2014/main" id="{70375E2F-92F8-F29B-85D4-AF2407007966}"/>
              </a:ext>
            </a:extLst>
          </p:cNvPr>
          <p:cNvSpPr txBox="1">
            <a:spLocks/>
          </p:cNvSpPr>
          <p:nvPr/>
        </p:nvSpPr>
        <p:spPr>
          <a:xfrm>
            <a:off x="8631028" y="2084952"/>
            <a:ext cx="1657960" cy="738664"/>
          </a:xfrm>
          <a:prstGeom prst="rect">
            <a:avLst/>
          </a:prstGeom>
          <a:noFill/>
        </p:spPr>
        <p:txBody>
          <a:bodyPr wrap="square" lIns="0" tIns="0" rIns="0" bIns="0" rtlCol="0">
            <a:spAutoFit/>
          </a:bodyPr>
          <a:lstStyle/>
          <a:p>
            <a:pPr algn="ctr"/>
            <a:r>
              <a:rPr lang="en-GB" sz="1600" b="1" i="1">
                <a:solidFill>
                  <a:schemeClr val="accent1"/>
                </a:solidFill>
                <a:latin typeface="Century Gothic" panose="020B0502020202020204" pitchFamily="34" charset="0"/>
              </a:rPr>
              <a:t>Clearly feasible ambition in “NDCs 3.0”</a:t>
            </a:r>
          </a:p>
        </p:txBody>
      </p:sp>
      <p:cxnSp>
        <p:nvCxnSpPr>
          <p:cNvPr id="80" name="Straight Arrow Connector 79">
            <a:extLst>
              <a:ext uri="{FF2B5EF4-FFF2-40B4-BE49-F238E27FC236}">
                <a16:creationId xmlns:a16="http://schemas.microsoft.com/office/drawing/2014/main" id="{895E98DE-14D1-1AA3-67A6-96F19E74167E}"/>
              </a:ext>
            </a:extLst>
          </p:cNvPr>
          <p:cNvCxnSpPr>
            <a:cxnSpLocks/>
          </p:cNvCxnSpPr>
          <p:nvPr/>
        </p:nvCxnSpPr>
        <p:spPr>
          <a:xfrm>
            <a:off x="7883525" y="1962227"/>
            <a:ext cx="0" cy="385686"/>
          </a:xfrm>
          <a:prstGeom prst="straightConnector1">
            <a:avLst/>
          </a:prstGeom>
          <a:ln w="1905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1" name="Straight Arrow Connector 80">
            <a:extLst>
              <a:ext uri="{FF2B5EF4-FFF2-40B4-BE49-F238E27FC236}">
                <a16:creationId xmlns:a16="http://schemas.microsoft.com/office/drawing/2014/main" id="{60CEC56D-1C9C-0E04-9A7A-BAD3780ADE7F}"/>
              </a:ext>
            </a:extLst>
          </p:cNvPr>
          <p:cNvCxnSpPr>
            <a:cxnSpLocks/>
          </p:cNvCxnSpPr>
          <p:nvPr/>
        </p:nvCxnSpPr>
        <p:spPr>
          <a:xfrm>
            <a:off x="7883525" y="2357437"/>
            <a:ext cx="0" cy="385686"/>
          </a:xfrm>
          <a:prstGeom prst="straightConnector1">
            <a:avLst/>
          </a:prstGeom>
          <a:ln w="1905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2" name="Straight Arrow Connector 81">
            <a:extLst>
              <a:ext uri="{FF2B5EF4-FFF2-40B4-BE49-F238E27FC236}">
                <a16:creationId xmlns:a16="http://schemas.microsoft.com/office/drawing/2014/main" id="{4355BE9D-3D11-B35E-7D37-662F5AF93D42}"/>
              </a:ext>
            </a:extLst>
          </p:cNvPr>
          <p:cNvCxnSpPr>
            <a:cxnSpLocks/>
          </p:cNvCxnSpPr>
          <p:nvPr/>
        </p:nvCxnSpPr>
        <p:spPr>
          <a:xfrm>
            <a:off x="7883525" y="2708197"/>
            <a:ext cx="0" cy="385686"/>
          </a:xfrm>
          <a:prstGeom prst="straightConnector1">
            <a:avLst/>
          </a:prstGeom>
          <a:ln w="1905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83" name="Right Brace 82">
            <a:extLst>
              <a:ext uri="{FF2B5EF4-FFF2-40B4-BE49-F238E27FC236}">
                <a16:creationId xmlns:a16="http://schemas.microsoft.com/office/drawing/2014/main" id="{0319662A-0787-2182-A9DD-7D0B7A44AACC}"/>
              </a:ext>
            </a:extLst>
          </p:cNvPr>
          <p:cNvSpPr/>
          <p:nvPr/>
        </p:nvSpPr>
        <p:spPr>
          <a:xfrm>
            <a:off x="8455111" y="1962227"/>
            <a:ext cx="72390" cy="1131811"/>
          </a:xfrm>
          <a:prstGeom prst="rightBrace">
            <a:avLst/>
          </a:prstGeom>
          <a:ln w="190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grpSp>
        <p:nvGrpSpPr>
          <p:cNvPr id="86" name="Group 85">
            <a:extLst>
              <a:ext uri="{FF2B5EF4-FFF2-40B4-BE49-F238E27FC236}">
                <a16:creationId xmlns:a16="http://schemas.microsoft.com/office/drawing/2014/main" id="{6723EF54-9AC3-0B60-975A-924B2519BED9}"/>
              </a:ext>
            </a:extLst>
          </p:cNvPr>
          <p:cNvGrpSpPr/>
          <p:nvPr/>
        </p:nvGrpSpPr>
        <p:grpSpPr>
          <a:xfrm>
            <a:off x="10820082" y="288899"/>
            <a:ext cx="506963" cy="506963"/>
            <a:chOff x="4116364" y="2814323"/>
            <a:chExt cx="725475" cy="725475"/>
          </a:xfrm>
        </p:grpSpPr>
        <p:sp>
          <p:nvSpPr>
            <p:cNvPr id="87" name="Oval 86">
              <a:extLst>
                <a:ext uri="{FF2B5EF4-FFF2-40B4-BE49-F238E27FC236}">
                  <a16:creationId xmlns:a16="http://schemas.microsoft.com/office/drawing/2014/main" id="{49E2EF85-E2A9-5995-7DB9-AC6197487EB0}"/>
                </a:ext>
              </a:extLst>
            </p:cNvPr>
            <p:cNvSpPr/>
            <p:nvPr/>
          </p:nvSpPr>
          <p:spPr>
            <a:xfrm>
              <a:off x="4116364" y="2814323"/>
              <a:ext cx="725475" cy="725475"/>
            </a:xfrm>
            <a:prstGeom prst="ellipse">
              <a:avLst/>
            </a:prstGeom>
            <a:solidFill>
              <a:schemeClr val="bg1">
                <a:lumMod val="95000"/>
              </a:schemeClr>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a:ln>
                  <a:noFill/>
                </a:ln>
                <a:solidFill>
                  <a:schemeClr val="bg1"/>
                </a:solidFill>
                <a:latin typeface="Century Gothic" panose="020B0502020202020204" pitchFamily="34" charset="0"/>
              </a:endParaRPr>
            </a:p>
          </p:txBody>
        </p:sp>
        <p:grpSp>
          <p:nvGrpSpPr>
            <p:cNvPr id="88" name="object 595">
              <a:extLst>
                <a:ext uri="{FF2B5EF4-FFF2-40B4-BE49-F238E27FC236}">
                  <a16:creationId xmlns:a16="http://schemas.microsoft.com/office/drawing/2014/main" id="{A41580E2-0D54-1AD1-82B6-18925EFE5614}"/>
                </a:ext>
              </a:extLst>
            </p:cNvPr>
            <p:cNvGrpSpPr/>
            <p:nvPr/>
          </p:nvGrpSpPr>
          <p:grpSpPr>
            <a:xfrm>
              <a:off x="4229917" y="2943542"/>
              <a:ext cx="498369" cy="422891"/>
              <a:chOff x="592908" y="7980646"/>
              <a:chExt cx="876300" cy="743585"/>
            </a:xfrm>
          </p:grpSpPr>
          <p:sp>
            <p:nvSpPr>
              <p:cNvPr id="90" name="object 596">
                <a:extLst>
                  <a:ext uri="{FF2B5EF4-FFF2-40B4-BE49-F238E27FC236}">
                    <a16:creationId xmlns:a16="http://schemas.microsoft.com/office/drawing/2014/main" id="{226F6146-5883-535A-1964-8631DF614C95}"/>
                  </a:ext>
                </a:extLst>
              </p:cNvPr>
              <p:cNvSpPr/>
              <p:nvPr/>
            </p:nvSpPr>
            <p:spPr>
              <a:xfrm>
                <a:off x="592908" y="7980646"/>
                <a:ext cx="876300" cy="743585"/>
              </a:xfrm>
              <a:custGeom>
                <a:avLst/>
                <a:gdLst/>
                <a:ahLst/>
                <a:cxnLst/>
                <a:rect l="l" t="t" r="r" b="b"/>
                <a:pathLst>
                  <a:path w="876300" h="743584">
                    <a:moveTo>
                      <a:pt x="862864" y="743280"/>
                    </a:moveTo>
                    <a:lnTo>
                      <a:pt x="858519" y="743280"/>
                    </a:lnTo>
                    <a:lnTo>
                      <a:pt x="861009" y="743445"/>
                    </a:lnTo>
                    <a:lnTo>
                      <a:pt x="862864" y="743280"/>
                    </a:lnTo>
                    <a:close/>
                  </a:path>
                  <a:path w="876300" h="743584">
                    <a:moveTo>
                      <a:pt x="33502" y="716726"/>
                    </a:moveTo>
                    <a:lnTo>
                      <a:pt x="14604" y="716813"/>
                    </a:lnTo>
                    <a:lnTo>
                      <a:pt x="6476" y="716991"/>
                    </a:lnTo>
                    <a:lnTo>
                      <a:pt x="444" y="722579"/>
                    </a:lnTo>
                    <a:lnTo>
                      <a:pt x="0" y="737019"/>
                    </a:lnTo>
                    <a:lnTo>
                      <a:pt x="6197" y="742937"/>
                    </a:lnTo>
                    <a:lnTo>
                      <a:pt x="14668" y="743280"/>
                    </a:lnTo>
                    <a:lnTo>
                      <a:pt x="16357" y="743331"/>
                    </a:lnTo>
                    <a:lnTo>
                      <a:pt x="18110" y="743280"/>
                    </a:lnTo>
                    <a:lnTo>
                      <a:pt x="862864" y="743280"/>
                    </a:lnTo>
                    <a:lnTo>
                      <a:pt x="876236" y="723760"/>
                    </a:lnTo>
                    <a:lnTo>
                      <a:pt x="870712" y="717727"/>
                    </a:lnTo>
                    <a:lnTo>
                      <a:pt x="863650" y="716927"/>
                    </a:lnTo>
                    <a:lnTo>
                      <a:pt x="862330" y="716762"/>
                    </a:lnTo>
                    <a:lnTo>
                      <a:pt x="53200" y="716762"/>
                    </a:lnTo>
                    <a:lnTo>
                      <a:pt x="33502" y="716726"/>
                    </a:lnTo>
                    <a:close/>
                  </a:path>
                  <a:path w="876300" h="743584">
                    <a:moveTo>
                      <a:pt x="61264" y="263804"/>
                    </a:moveTo>
                    <a:lnTo>
                      <a:pt x="56870" y="270230"/>
                    </a:lnTo>
                    <a:lnTo>
                      <a:pt x="54444" y="273735"/>
                    </a:lnTo>
                    <a:lnTo>
                      <a:pt x="53365" y="278815"/>
                    </a:lnTo>
                    <a:lnTo>
                      <a:pt x="53322" y="324643"/>
                    </a:lnTo>
                    <a:lnTo>
                      <a:pt x="53200" y="716762"/>
                    </a:lnTo>
                    <a:lnTo>
                      <a:pt x="822693" y="716762"/>
                    </a:lnTo>
                    <a:lnTo>
                      <a:pt x="822528" y="716254"/>
                    </a:lnTo>
                    <a:lnTo>
                      <a:pt x="611898" y="716254"/>
                    </a:lnTo>
                    <a:lnTo>
                      <a:pt x="80060" y="716140"/>
                    </a:lnTo>
                    <a:lnTo>
                      <a:pt x="80060" y="305219"/>
                    </a:lnTo>
                    <a:lnTo>
                      <a:pt x="126384" y="305219"/>
                    </a:lnTo>
                    <a:lnTo>
                      <a:pt x="68491" y="263918"/>
                    </a:lnTo>
                    <a:lnTo>
                      <a:pt x="61264" y="263804"/>
                    </a:lnTo>
                    <a:close/>
                  </a:path>
                  <a:path w="876300" h="743584">
                    <a:moveTo>
                      <a:pt x="861009" y="716597"/>
                    </a:moveTo>
                    <a:lnTo>
                      <a:pt x="858291" y="716762"/>
                    </a:lnTo>
                    <a:lnTo>
                      <a:pt x="862330" y="716762"/>
                    </a:lnTo>
                    <a:lnTo>
                      <a:pt x="861009" y="716597"/>
                    </a:lnTo>
                    <a:close/>
                  </a:path>
                  <a:path w="876300" h="743584">
                    <a:moveTo>
                      <a:pt x="771052" y="27114"/>
                    </a:moveTo>
                    <a:lnTo>
                      <a:pt x="744550" y="27114"/>
                    </a:lnTo>
                    <a:lnTo>
                      <a:pt x="795324" y="716254"/>
                    </a:lnTo>
                    <a:lnTo>
                      <a:pt x="822528" y="716254"/>
                    </a:lnTo>
                    <a:lnTo>
                      <a:pt x="822236" y="715352"/>
                    </a:lnTo>
                    <a:lnTo>
                      <a:pt x="821905" y="714730"/>
                    </a:lnTo>
                    <a:lnTo>
                      <a:pt x="814401" y="614045"/>
                    </a:lnTo>
                    <a:lnTo>
                      <a:pt x="807008" y="514096"/>
                    </a:lnTo>
                    <a:lnTo>
                      <a:pt x="794766" y="345046"/>
                    </a:lnTo>
                    <a:lnTo>
                      <a:pt x="791597" y="302602"/>
                    </a:lnTo>
                    <a:lnTo>
                      <a:pt x="781951" y="175272"/>
                    </a:lnTo>
                    <a:lnTo>
                      <a:pt x="778976" y="135066"/>
                    </a:lnTo>
                    <a:lnTo>
                      <a:pt x="773084" y="54600"/>
                    </a:lnTo>
                    <a:lnTo>
                      <a:pt x="771052" y="27114"/>
                    </a:lnTo>
                    <a:close/>
                  </a:path>
                  <a:path w="876300" h="743584">
                    <a:moveTo>
                      <a:pt x="497370" y="304711"/>
                    </a:moveTo>
                    <a:lnTo>
                      <a:pt x="451434" y="304711"/>
                    </a:lnTo>
                    <a:lnTo>
                      <a:pt x="458891" y="309956"/>
                    </a:lnTo>
                    <a:lnTo>
                      <a:pt x="530113" y="360813"/>
                    </a:lnTo>
                    <a:lnTo>
                      <a:pt x="563431" y="384581"/>
                    </a:lnTo>
                    <a:lnTo>
                      <a:pt x="601624" y="411746"/>
                    </a:lnTo>
                    <a:lnTo>
                      <a:pt x="606031" y="414782"/>
                    </a:lnTo>
                    <a:lnTo>
                      <a:pt x="607275" y="417728"/>
                    </a:lnTo>
                    <a:lnTo>
                      <a:pt x="606783" y="424419"/>
                    </a:lnTo>
                    <a:lnTo>
                      <a:pt x="604415" y="455087"/>
                    </a:lnTo>
                    <a:lnTo>
                      <a:pt x="602060" y="487038"/>
                    </a:lnTo>
                    <a:lnTo>
                      <a:pt x="597458" y="550938"/>
                    </a:lnTo>
                    <a:lnTo>
                      <a:pt x="585266" y="716140"/>
                    </a:lnTo>
                    <a:lnTo>
                      <a:pt x="611907" y="716140"/>
                    </a:lnTo>
                    <a:lnTo>
                      <a:pt x="636386" y="384314"/>
                    </a:lnTo>
                    <a:lnTo>
                      <a:pt x="609409" y="384314"/>
                    </a:lnTo>
                    <a:lnTo>
                      <a:pt x="606374" y="382282"/>
                    </a:lnTo>
                    <a:lnTo>
                      <a:pt x="604342" y="381050"/>
                    </a:lnTo>
                    <a:lnTo>
                      <a:pt x="602424" y="379641"/>
                    </a:lnTo>
                    <a:lnTo>
                      <a:pt x="532095" y="329506"/>
                    </a:lnTo>
                    <a:lnTo>
                      <a:pt x="497370" y="304711"/>
                    </a:lnTo>
                    <a:close/>
                  </a:path>
                  <a:path w="876300" h="743584">
                    <a:moveTo>
                      <a:pt x="126384" y="305219"/>
                    </a:moveTo>
                    <a:lnTo>
                      <a:pt x="80060" y="305219"/>
                    </a:lnTo>
                    <a:lnTo>
                      <a:pt x="82880" y="307022"/>
                    </a:lnTo>
                    <a:lnTo>
                      <a:pt x="85077" y="308368"/>
                    </a:lnTo>
                    <a:lnTo>
                      <a:pt x="87172" y="309956"/>
                    </a:lnTo>
                    <a:lnTo>
                      <a:pt x="114663" y="329539"/>
                    </a:lnTo>
                    <a:lnTo>
                      <a:pt x="241934" y="420370"/>
                    </a:lnTo>
                    <a:lnTo>
                      <a:pt x="248775" y="423855"/>
                    </a:lnTo>
                    <a:lnTo>
                      <a:pt x="265574" y="385622"/>
                    </a:lnTo>
                    <a:lnTo>
                      <a:pt x="239052" y="385622"/>
                    </a:lnTo>
                    <a:lnTo>
                      <a:pt x="204278" y="360789"/>
                    </a:lnTo>
                    <a:lnTo>
                      <a:pt x="160354" y="329506"/>
                    </a:lnTo>
                    <a:lnTo>
                      <a:pt x="126384" y="305219"/>
                    </a:lnTo>
                    <a:close/>
                  </a:path>
                  <a:path w="876300" h="743584">
                    <a:moveTo>
                      <a:pt x="311942" y="304990"/>
                    </a:moveTo>
                    <a:lnTo>
                      <a:pt x="265582" y="304990"/>
                    </a:lnTo>
                    <a:lnTo>
                      <a:pt x="268681" y="307022"/>
                    </a:lnTo>
                    <a:lnTo>
                      <a:pt x="270941" y="308368"/>
                    </a:lnTo>
                    <a:lnTo>
                      <a:pt x="273113" y="309956"/>
                    </a:lnTo>
                    <a:lnTo>
                      <a:pt x="377643" y="384581"/>
                    </a:lnTo>
                    <a:lnTo>
                      <a:pt x="427786" y="420319"/>
                    </a:lnTo>
                    <a:lnTo>
                      <a:pt x="434594" y="423833"/>
                    </a:lnTo>
                    <a:lnTo>
                      <a:pt x="440810" y="424413"/>
                    </a:lnTo>
                    <a:lnTo>
                      <a:pt x="446074" y="422085"/>
                    </a:lnTo>
                    <a:lnTo>
                      <a:pt x="450024" y="416877"/>
                    </a:lnTo>
                    <a:lnTo>
                      <a:pt x="451205" y="414388"/>
                    </a:lnTo>
                    <a:lnTo>
                      <a:pt x="451344" y="411746"/>
                    </a:lnTo>
                    <a:lnTo>
                      <a:pt x="451427" y="385051"/>
                    </a:lnTo>
                    <a:lnTo>
                      <a:pt x="424459" y="385051"/>
                    </a:lnTo>
                    <a:lnTo>
                      <a:pt x="421474" y="383019"/>
                    </a:lnTo>
                    <a:lnTo>
                      <a:pt x="419277" y="381558"/>
                    </a:lnTo>
                    <a:lnTo>
                      <a:pt x="417067" y="380034"/>
                    </a:lnTo>
                    <a:lnTo>
                      <a:pt x="311942" y="304990"/>
                    </a:lnTo>
                    <a:close/>
                  </a:path>
                  <a:path w="876300" h="743584">
                    <a:moveTo>
                      <a:pt x="252488" y="263804"/>
                    </a:moveTo>
                    <a:lnTo>
                      <a:pt x="246621" y="266966"/>
                    </a:lnTo>
                    <a:lnTo>
                      <a:pt x="240690" y="270116"/>
                    </a:lnTo>
                    <a:lnTo>
                      <a:pt x="238959" y="275082"/>
                    </a:lnTo>
                    <a:lnTo>
                      <a:pt x="239052" y="385622"/>
                    </a:lnTo>
                    <a:lnTo>
                      <a:pt x="265574" y="385622"/>
                    </a:lnTo>
                    <a:lnTo>
                      <a:pt x="265582" y="304990"/>
                    </a:lnTo>
                    <a:lnTo>
                      <a:pt x="311942" y="304990"/>
                    </a:lnTo>
                    <a:lnTo>
                      <a:pt x="262305" y="269557"/>
                    </a:lnTo>
                    <a:lnTo>
                      <a:pt x="257454" y="266052"/>
                    </a:lnTo>
                    <a:lnTo>
                      <a:pt x="252488" y="263804"/>
                    </a:lnTo>
                    <a:close/>
                  </a:path>
                  <a:path w="876300" h="743584">
                    <a:moveTo>
                      <a:pt x="438403" y="263804"/>
                    </a:moveTo>
                    <a:lnTo>
                      <a:pt x="432405" y="266966"/>
                    </a:lnTo>
                    <a:lnTo>
                      <a:pt x="426605" y="270065"/>
                    </a:lnTo>
                    <a:lnTo>
                      <a:pt x="424802" y="275082"/>
                    </a:lnTo>
                    <a:lnTo>
                      <a:pt x="424853" y="379641"/>
                    </a:lnTo>
                    <a:lnTo>
                      <a:pt x="424679" y="381558"/>
                    </a:lnTo>
                    <a:lnTo>
                      <a:pt x="424459" y="385051"/>
                    </a:lnTo>
                    <a:lnTo>
                      <a:pt x="451427" y="385051"/>
                    </a:lnTo>
                    <a:lnTo>
                      <a:pt x="451434" y="304711"/>
                    </a:lnTo>
                    <a:lnTo>
                      <a:pt x="497370" y="304711"/>
                    </a:lnTo>
                    <a:lnTo>
                      <a:pt x="448150" y="269557"/>
                    </a:lnTo>
                    <a:lnTo>
                      <a:pt x="443369" y="266115"/>
                    </a:lnTo>
                    <a:lnTo>
                      <a:pt x="438403" y="263804"/>
                    </a:lnTo>
                    <a:close/>
                  </a:path>
                  <a:path w="876300" h="743584">
                    <a:moveTo>
                      <a:pt x="703473" y="0"/>
                    </a:moveTo>
                    <a:lnTo>
                      <a:pt x="642988" y="139"/>
                    </a:lnTo>
                    <a:lnTo>
                      <a:pt x="636054" y="30378"/>
                    </a:lnTo>
                    <a:lnTo>
                      <a:pt x="635431" y="38227"/>
                    </a:lnTo>
                    <a:lnTo>
                      <a:pt x="629057" y="122002"/>
                    </a:lnTo>
                    <a:lnTo>
                      <a:pt x="622731" y="205740"/>
                    </a:lnTo>
                    <a:lnTo>
                      <a:pt x="611725" y="357195"/>
                    </a:lnTo>
                    <a:lnTo>
                      <a:pt x="611249" y="363183"/>
                    </a:lnTo>
                    <a:lnTo>
                      <a:pt x="609409" y="384314"/>
                    </a:lnTo>
                    <a:lnTo>
                      <a:pt x="636386" y="384314"/>
                    </a:lnTo>
                    <a:lnTo>
                      <a:pt x="662736" y="27114"/>
                    </a:lnTo>
                    <a:lnTo>
                      <a:pt x="771052" y="27114"/>
                    </a:lnTo>
                    <a:lnTo>
                      <a:pt x="769429" y="5156"/>
                    </a:lnTo>
                    <a:lnTo>
                      <a:pt x="764120" y="139"/>
                    </a:lnTo>
                    <a:lnTo>
                      <a:pt x="703473" y="0"/>
                    </a:lnTo>
                    <a:close/>
                  </a:path>
                </a:pathLst>
              </a:custGeom>
              <a:solidFill>
                <a:srgbClr val="004876"/>
              </a:solidFill>
            </p:spPr>
            <p:txBody>
              <a:bodyPr wrap="square" lIns="0" tIns="0" rIns="0" bIns="0" rtlCol="0"/>
              <a:lstStyle/>
              <a:p>
                <a:endParaRPr/>
              </a:p>
            </p:txBody>
          </p:sp>
          <p:pic>
            <p:nvPicPr>
              <p:cNvPr id="91" name="object 597">
                <a:extLst>
                  <a:ext uri="{FF2B5EF4-FFF2-40B4-BE49-F238E27FC236}">
                    <a16:creationId xmlns:a16="http://schemas.microsoft.com/office/drawing/2014/main" id="{4DD11E34-7CCF-23A1-5521-BBB6E70045B6}"/>
                  </a:ext>
                </a:extLst>
              </p:cNvPr>
              <p:cNvPicPr/>
              <p:nvPr/>
            </p:nvPicPr>
            <p:blipFill>
              <a:blip r:embed="rId39" cstate="print"/>
              <a:stretch>
                <a:fillRect/>
              </a:stretch>
            </p:blipFill>
            <p:spPr>
              <a:xfrm>
                <a:off x="672998" y="8007743"/>
                <a:ext cx="715263" cy="689152"/>
              </a:xfrm>
              <a:prstGeom prst="rect">
                <a:avLst/>
              </a:prstGeom>
            </p:spPr>
          </p:pic>
          <p:sp>
            <p:nvSpPr>
              <p:cNvPr id="92" name="object 598">
                <a:extLst>
                  <a:ext uri="{FF2B5EF4-FFF2-40B4-BE49-F238E27FC236}">
                    <a16:creationId xmlns:a16="http://schemas.microsoft.com/office/drawing/2014/main" id="{5CB99B64-9024-7130-FCB9-21D523D769BF}"/>
                  </a:ext>
                </a:extLst>
              </p:cNvPr>
              <p:cNvSpPr/>
              <p:nvPr/>
            </p:nvSpPr>
            <p:spPr>
              <a:xfrm>
                <a:off x="765568" y="8484882"/>
                <a:ext cx="332105" cy="133350"/>
              </a:xfrm>
              <a:custGeom>
                <a:avLst/>
                <a:gdLst/>
                <a:ahLst/>
                <a:cxnLst/>
                <a:rect l="l" t="t" r="r" b="b"/>
                <a:pathLst>
                  <a:path w="332105" h="133350">
                    <a:moveTo>
                      <a:pt x="66382" y="20307"/>
                    </a:moveTo>
                    <a:lnTo>
                      <a:pt x="66217" y="6362"/>
                    </a:lnTo>
                    <a:lnTo>
                      <a:pt x="60172" y="381"/>
                    </a:lnTo>
                    <a:lnTo>
                      <a:pt x="52222" y="215"/>
                    </a:lnTo>
                    <a:lnTo>
                      <a:pt x="33096" y="50"/>
                    </a:lnTo>
                    <a:lnTo>
                      <a:pt x="6007" y="381"/>
                    </a:lnTo>
                    <a:lnTo>
                      <a:pt x="38" y="6477"/>
                    </a:lnTo>
                    <a:lnTo>
                      <a:pt x="139" y="20701"/>
                    </a:lnTo>
                    <a:lnTo>
                      <a:pt x="6184" y="26390"/>
                    </a:lnTo>
                    <a:lnTo>
                      <a:pt x="20345" y="26898"/>
                    </a:lnTo>
                    <a:lnTo>
                      <a:pt x="26441" y="26733"/>
                    </a:lnTo>
                    <a:lnTo>
                      <a:pt x="32588" y="26733"/>
                    </a:lnTo>
                    <a:lnTo>
                      <a:pt x="50977" y="26733"/>
                    </a:lnTo>
                    <a:lnTo>
                      <a:pt x="60350" y="26111"/>
                    </a:lnTo>
                    <a:lnTo>
                      <a:pt x="66382" y="20307"/>
                    </a:lnTo>
                    <a:close/>
                  </a:path>
                  <a:path w="332105" h="133350">
                    <a:moveTo>
                      <a:pt x="66408" y="126695"/>
                    </a:moveTo>
                    <a:lnTo>
                      <a:pt x="66179" y="112483"/>
                    </a:lnTo>
                    <a:lnTo>
                      <a:pt x="60147" y="106553"/>
                    </a:lnTo>
                    <a:lnTo>
                      <a:pt x="42608" y="106286"/>
                    </a:lnTo>
                    <a:lnTo>
                      <a:pt x="23482" y="106286"/>
                    </a:lnTo>
                    <a:lnTo>
                      <a:pt x="5930" y="106616"/>
                    </a:lnTo>
                    <a:lnTo>
                      <a:pt x="0" y="112699"/>
                    </a:lnTo>
                    <a:lnTo>
                      <a:pt x="165" y="126923"/>
                    </a:lnTo>
                    <a:lnTo>
                      <a:pt x="6210" y="132562"/>
                    </a:lnTo>
                    <a:lnTo>
                      <a:pt x="20370" y="133070"/>
                    </a:lnTo>
                    <a:lnTo>
                      <a:pt x="26517" y="132905"/>
                    </a:lnTo>
                    <a:lnTo>
                      <a:pt x="32613" y="132905"/>
                    </a:lnTo>
                    <a:lnTo>
                      <a:pt x="51739" y="132905"/>
                    </a:lnTo>
                    <a:lnTo>
                      <a:pt x="60147" y="132448"/>
                    </a:lnTo>
                    <a:lnTo>
                      <a:pt x="66408" y="126695"/>
                    </a:lnTo>
                    <a:close/>
                  </a:path>
                  <a:path w="332105" h="133350">
                    <a:moveTo>
                      <a:pt x="199072" y="112649"/>
                    </a:moveTo>
                    <a:lnTo>
                      <a:pt x="192976" y="106616"/>
                    </a:lnTo>
                    <a:lnTo>
                      <a:pt x="165925" y="106222"/>
                    </a:lnTo>
                    <a:lnTo>
                      <a:pt x="138811" y="106553"/>
                    </a:lnTo>
                    <a:lnTo>
                      <a:pt x="132829" y="112598"/>
                    </a:lnTo>
                    <a:lnTo>
                      <a:pt x="132829" y="126758"/>
                    </a:lnTo>
                    <a:lnTo>
                      <a:pt x="138861" y="132511"/>
                    </a:lnTo>
                    <a:lnTo>
                      <a:pt x="152971" y="133070"/>
                    </a:lnTo>
                    <a:lnTo>
                      <a:pt x="159118" y="132905"/>
                    </a:lnTo>
                    <a:lnTo>
                      <a:pt x="165214" y="132905"/>
                    </a:lnTo>
                    <a:lnTo>
                      <a:pt x="185077" y="132905"/>
                    </a:lnTo>
                    <a:lnTo>
                      <a:pt x="192976" y="132346"/>
                    </a:lnTo>
                    <a:lnTo>
                      <a:pt x="199072" y="126644"/>
                    </a:lnTo>
                    <a:lnTo>
                      <a:pt x="199072" y="112649"/>
                    </a:lnTo>
                    <a:close/>
                  </a:path>
                  <a:path w="332105" h="133350">
                    <a:moveTo>
                      <a:pt x="199072" y="6540"/>
                    </a:moveTo>
                    <a:lnTo>
                      <a:pt x="193040" y="558"/>
                    </a:lnTo>
                    <a:lnTo>
                      <a:pt x="178765" y="0"/>
                    </a:lnTo>
                    <a:lnTo>
                      <a:pt x="172389" y="165"/>
                    </a:lnTo>
                    <a:lnTo>
                      <a:pt x="166014" y="165"/>
                    </a:lnTo>
                    <a:lnTo>
                      <a:pt x="159639" y="165"/>
                    </a:lnTo>
                    <a:lnTo>
                      <a:pt x="153263" y="0"/>
                    </a:lnTo>
                    <a:lnTo>
                      <a:pt x="138938" y="508"/>
                    </a:lnTo>
                    <a:lnTo>
                      <a:pt x="132892" y="6261"/>
                    </a:lnTo>
                    <a:lnTo>
                      <a:pt x="132778" y="20421"/>
                    </a:lnTo>
                    <a:lnTo>
                      <a:pt x="138760" y="26454"/>
                    </a:lnTo>
                    <a:lnTo>
                      <a:pt x="156311" y="26797"/>
                    </a:lnTo>
                    <a:lnTo>
                      <a:pt x="175412" y="26797"/>
                    </a:lnTo>
                    <a:lnTo>
                      <a:pt x="192989" y="26454"/>
                    </a:lnTo>
                    <a:lnTo>
                      <a:pt x="198970" y="20472"/>
                    </a:lnTo>
                    <a:lnTo>
                      <a:pt x="199072" y="6540"/>
                    </a:lnTo>
                    <a:close/>
                  </a:path>
                  <a:path w="332105" h="133350">
                    <a:moveTo>
                      <a:pt x="331825" y="20345"/>
                    </a:moveTo>
                    <a:lnTo>
                      <a:pt x="331774" y="6413"/>
                    </a:lnTo>
                    <a:lnTo>
                      <a:pt x="325678" y="381"/>
                    </a:lnTo>
                    <a:lnTo>
                      <a:pt x="317728" y="203"/>
                    </a:lnTo>
                    <a:lnTo>
                      <a:pt x="298589" y="50"/>
                    </a:lnTo>
                    <a:lnTo>
                      <a:pt x="271513" y="381"/>
                    </a:lnTo>
                    <a:lnTo>
                      <a:pt x="265531" y="6477"/>
                    </a:lnTo>
                    <a:lnTo>
                      <a:pt x="265645" y="20637"/>
                    </a:lnTo>
                    <a:lnTo>
                      <a:pt x="271627" y="26327"/>
                    </a:lnTo>
                    <a:lnTo>
                      <a:pt x="285788" y="26898"/>
                    </a:lnTo>
                    <a:lnTo>
                      <a:pt x="298030" y="26670"/>
                    </a:lnTo>
                    <a:lnTo>
                      <a:pt x="304634" y="26670"/>
                    </a:lnTo>
                    <a:lnTo>
                      <a:pt x="311238" y="26898"/>
                    </a:lnTo>
                    <a:lnTo>
                      <a:pt x="325793" y="26327"/>
                    </a:lnTo>
                    <a:lnTo>
                      <a:pt x="331825" y="20345"/>
                    </a:lnTo>
                    <a:close/>
                  </a:path>
                  <a:path w="332105" h="133350">
                    <a:moveTo>
                      <a:pt x="331889" y="126530"/>
                    </a:moveTo>
                    <a:lnTo>
                      <a:pt x="331774" y="112598"/>
                    </a:lnTo>
                    <a:lnTo>
                      <a:pt x="325678" y="106553"/>
                    </a:lnTo>
                    <a:lnTo>
                      <a:pt x="298589" y="106222"/>
                    </a:lnTo>
                    <a:lnTo>
                      <a:pt x="271513" y="106553"/>
                    </a:lnTo>
                    <a:lnTo>
                      <a:pt x="265531" y="112649"/>
                    </a:lnTo>
                    <a:lnTo>
                      <a:pt x="265645" y="126809"/>
                    </a:lnTo>
                    <a:lnTo>
                      <a:pt x="271627" y="132562"/>
                    </a:lnTo>
                    <a:lnTo>
                      <a:pt x="285788" y="133070"/>
                    </a:lnTo>
                    <a:lnTo>
                      <a:pt x="291884" y="132905"/>
                    </a:lnTo>
                    <a:lnTo>
                      <a:pt x="298030" y="132905"/>
                    </a:lnTo>
                    <a:lnTo>
                      <a:pt x="317893" y="132905"/>
                    </a:lnTo>
                    <a:lnTo>
                      <a:pt x="325793" y="132346"/>
                    </a:lnTo>
                    <a:lnTo>
                      <a:pt x="331889" y="126530"/>
                    </a:lnTo>
                    <a:close/>
                  </a:path>
                </a:pathLst>
              </a:custGeom>
              <a:solidFill>
                <a:srgbClr val="004876"/>
              </a:solidFill>
            </p:spPr>
            <p:txBody>
              <a:bodyPr wrap="square" lIns="0" tIns="0" rIns="0" bIns="0" rtlCol="0"/>
              <a:lstStyle/>
              <a:p>
                <a:endParaRPr/>
              </a:p>
            </p:txBody>
          </p:sp>
        </p:grpSp>
      </p:grpSp>
      <p:grpSp>
        <p:nvGrpSpPr>
          <p:cNvPr id="93" name="Group 92">
            <a:extLst>
              <a:ext uri="{FF2B5EF4-FFF2-40B4-BE49-F238E27FC236}">
                <a16:creationId xmlns:a16="http://schemas.microsoft.com/office/drawing/2014/main" id="{41CD707C-111E-09C7-1057-8A832C71CC0A}"/>
              </a:ext>
            </a:extLst>
          </p:cNvPr>
          <p:cNvGrpSpPr/>
          <p:nvPr/>
        </p:nvGrpSpPr>
        <p:grpSpPr>
          <a:xfrm>
            <a:off x="10177882" y="288899"/>
            <a:ext cx="506963" cy="506963"/>
            <a:chOff x="2106774" y="4511186"/>
            <a:chExt cx="976789" cy="976789"/>
          </a:xfrm>
        </p:grpSpPr>
        <p:sp>
          <p:nvSpPr>
            <p:cNvPr id="94" name="Oval 93">
              <a:extLst>
                <a:ext uri="{FF2B5EF4-FFF2-40B4-BE49-F238E27FC236}">
                  <a16:creationId xmlns:a16="http://schemas.microsoft.com/office/drawing/2014/main" id="{B3BB2794-1390-37A9-A4B6-1D36985753CD}"/>
                </a:ext>
              </a:extLst>
            </p:cNvPr>
            <p:cNvSpPr/>
            <p:nvPr/>
          </p:nvSpPr>
          <p:spPr>
            <a:xfrm>
              <a:off x="2106774" y="4511186"/>
              <a:ext cx="976789" cy="976789"/>
            </a:xfrm>
            <a:prstGeom prst="ellipse">
              <a:avLst/>
            </a:prstGeom>
            <a:solidFill>
              <a:schemeClr val="bg1">
                <a:lumMod val="95000"/>
              </a:schemeClr>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a:ln>
                  <a:noFill/>
                </a:ln>
                <a:solidFill>
                  <a:schemeClr val="bg1"/>
                </a:solidFill>
                <a:latin typeface="Century Gothic" panose="020B0502020202020204" pitchFamily="34" charset="0"/>
              </a:endParaRPr>
            </a:p>
          </p:txBody>
        </p:sp>
        <p:grpSp>
          <p:nvGrpSpPr>
            <p:cNvPr id="96" name="Group 95">
              <a:extLst>
                <a:ext uri="{FF2B5EF4-FFF2-40B4-BE49-F238E27FC236}">
                  <a16:creationId xmlns:a16="http://schemas.microsoft.com/office/drawing/2014/main" id="{9151E297-A4C4-5BFB-6530-4934F1B9CC93}"/>
                </a:ext>
              </a:extLst>
            </p:cNvPr>
            <p:cNvGrpSpPr/>
            <p:nvPr/>
          </p:nvGrpSpPr>
          <p:grpSpPr>
            <a:xfrm>
              <a:off x="2320848" y="4725260"/>
              <a:ext cx="548640" cy="548640"/>
              <a:chOff x="566978" y="542842"/>
              <a:chExt cx="904113" cy="914891"/>
            </a:xfrm>
          </p:grpSpPr>
          <p:grpSp>
            <p:nvGrpSpPr>
              <p:cNvPr id="98" name="object 60">
                <a:extLst>
                  <a:ext uri="{FF2B5EF4-FFF2-40B4-BE49-F238E27FC236}">
                    <a16:creationId xmlns:a16="http://schemas.microsoft.com/office/drawing/2014/main" id="{DC52B974-EFAE-7640-A6AB-8F4FCE2CA863}"/>
                  </a:ext>
                </a:extLst>
              </p:cNvPr>
              <p:cNvGrpSpPr/>
              <p:nvPr/>
            </p:nvGrpSpPr>
            <p:grpSpPr>
              <a:xfrm>
                <a:off x="854377" y="1000533"/>
                <a:ext cx="569595" cy="457200"/>
                <a:chOff x="854377" y="1000533"/>
                <a:chExt cx="569595" cy="457200"/>
              </a:xfrm>
            </p:grpSpPr>
            <p:pic>
              <p:nvPicPr>
                <p:cNvPr id="121" name="object 61">
                  <a:extLst>
                    <a:ext uri="{FF2B5EF4-FFF2-40B4-BE49-F238E27FC236}">
                      <a16:creationId xmlns:a16="http://schemas.microsoft.com/office/drawing/2014/main" id="{240D7EEC-0A93-EE06-1743-29592E180DB1}"/>
                    </a:ext>
                  </a:extLst>
                </p:cNvPr>
                <p:cNvPicPr/>
                <p:nvPr/>
              </p:nvPicPr>
              <p:blipFill>
                <a:blip r:embed="rId40" cstate="print"/>
                <a:stretch>
                  <a:fillRect/>
                </a:stretch>
              </p:blipFill>
              <p:spPr>
                <a:xfrm>
                  <a:off x="862939" y="1007123"/>
                  <a:ext cx="554774" cy="441959"/>
                </a:xfrm>
                <a:prstGeom prst="rect">
                  <a:avLst/>
                </a:prstGeom>
              </p:spPr>
            </p:pic>
            <p:sp>
              <p:nvSpPr>
                <p:cNvPr id="122" name="object 62">
                  <a:extLst>
                    <a:ext uri="{FF2B5EF4-FFF2-40B4-BE49-F238E27FC236}">
                      <a16:creationId xmlns:a16="http://schemas.microsoft.com/office/drawing/2014/main" id="{F66993FF-DC24-72F6-233F-96F385FD4C02}"/>
                    </a:ext>
                  </a:extLst>
                </p:cNvPr>
                <p:cNvSpPr/>
                <p:nvPr/>
              </p:nvSpPr>
              <p:spPr>
                <a:xfrm>
                  <a:off x="854377" y="1000533"/>
                  <a:ext cx="569595" cy="457200"/>
                </a:xfrm>
                <a:custGeom>
                  <a:avLst/>
                  <a:gdLst/>
                  <a:ahLst/>
                  <a:cxnLst/>
                  <a:rect l="l" t="t" r="r" b="b"/>
                  <a:pathLst>
                    <a:path w="569594" h="457200">
                      <a:moveTo>
                        <a:pt x="282549" y="358140"/>
                      </a:moveTo>
                      <a:lnTo>
                        <a:pt x="251840" y="358140"/>
                      </a:lnTo>
                      <a:lnTo>
                        <a:pt x="251790" y="363220"/>
                      </a:lnTo>
                      <a:lnTo>
                        <a:pt x="165468" y="378460"/>
                      </a:lnTo>
                      <a:lnTo>
                        <a:pt x="139192" y="383540"/>
                      </a:lnTo>
                      <a:lnTo>
                        <a:pt x="128092" y="386080"/>
                      </a:lnTo>
                      <a:lnTo>
                        <a:pt x="126314" y="393700"/>
                      </a:lnTo>
                      <a:lnTo>
                        <a:pt x="126085" y="397510"/>
                      </a:lnTo>
                      <a:lnTo>
                        <a:pt x="125463" y="405130"/>
                      </a:lnTo>
                      <a:lnTo>
                        <a:pt x="129793" y="411480"/>
                      </a:lnTo>
                      <a:lnTo>
                        <a:pt x="137706" y="412750"/>
                      </a:lnTo>
                      <a:lnTo>
                        <a:pt x="144775" y="415290"/>
                      </a:lnTo>
                      <a:lnTo>
                        <a:pt x="158960" y="419100"/>
                      </a:lnTo>
                      <a:lnTo>
                        <a:pt x="214667" y="435610"/>
                      </a:lnTo>
                      <a:lnTo>
                        <a:pt x="240744" y="441960"/>
                      </a:lnTo>
                      <a:lnTo>
                        <a:pt x="266826" y="449580"/>
                      </a:lnTo>
                      <a:lnTo>
                        <a:pt x="295402" y="457200"/>
                      </a:lnTo>
                      <a:lnTo>
                        <a:pt x="305015" y="457200"/>
                      </a:lnTo>
                      <a:lnTo>
                        <a:pt x="403618" y="427990"/>
                      </a:lnTo>
                      <a:lnTo>
                        <a:pt x="299605" y="427990"/>
                      </a:lnTo>
                      <a:lnTo>
                        <a:pt x="277368" y="421640"/>
                      </a:lnTo>
                      <a:lnTo>
                        <a:pt x="283540" y="419100"/>
                      </a:lnTo>
                      <a:lnTo>
                        <a:pt x="294096" y="414020"/>
                      </a:lnTo>
                      <a:lnTo>
                        <a:pt x="251040" y="414020"/>
                      </a:lnTo>
                      <a:lnTo>
                        <a:pt x="208064" y="401320"/>
                      </a:lnTo>
                      <a:lnTo>
                        <a:pt x="250786" y="393700"/>
                      </a:lnTo>
                      <a:lnTo>
                        <a:pt x="442100" y="393700"/>
                      </a:lnTo>
                      <a:lnTo>
                        <a:pt x="441998" y="392430"/>
                      </a:lnTo>
                      <a:lnTo>
                        <a:pt x="410777" y="386080"/>
                      </a:lnTo>
                      <a:lnTo>
                        <a:pt x="281571" y="386080"/>
                      </a:lnTo>
                      <a:lnTo>
                        <a:pt x="282549" y="358140"/>
                      </a:lnTo>
                      <a:close/>
                    </a:path>
                    <a:path w="569594" h="457200">
                      <a:moveTo>
                        <a:pt x="442407" y="397510"/>
                      </a:moveTo>
                      <a:lnTo>
                        <a:pt x="317601" y="397510"/>
                      </a:lnTo>
                      <a:lnTo>
                        <a:pt x="366585" y="407670"/>
                      </a:lnTo>
                      <a:lnTo>
                        <a:pt x="317390" y="422910"/>
                      </a:lnTo>
                      <a:lnTo>
                        <a:pt x="300990" y="426720"/>
                      </a:lnTo>
                      <a:lnTo>
                        <a:pt x="300761" y="427990"/>
                      </a:lnTo>
                      <a:lnTo>
                        <a:pt x="403618" y="427990"/>
                      </a:lnTo>
                      <a:lnTo>
                        <a:pt x="429856" y="420370"/>
                      </a:lnTo>
                      <a:lnTo>
                        <a:pt x="439153" y="416560"/>
                      </a:lnTo>
                      <a:lnTo>
                        <a:pt x="443534" y="411480"/>
                      </a:lnTo>
                      <a:lnTo>
                        <a:pt x="442407" y="397510"/>
                      </a:lnTo>
                      <a:close/>
                    </a:path>
                    <a:path w="569594" h="457200">
                      <a:moveTo>
                        <a:pt x="442100" y="393700"/>
                      </a:moveTo>
                      <a:lnTo>
                        <a:pt x="250786" y="393700"/>
                      </a:lnTo>
                      <a:lnTo>
                        <a:pt x="250363" y="405130"/>
                      </a:lnTo>
                      <a:lnTo>
                        <a:pt x="250240" y="408940"/>
                      </a:lnTo>
                      <a:lnTo>
                        <a:pt x="250469" y="411480"/>
                      </a:lnTo>
                      <a:lnTo>
                        <a:pt x="251040" y="414020"/>
                      </a:lnTo>
                      <a:lnTo>
                        <a:pt x="294096" y="414020"/>
                      </a:lnTo>
                      <a:lnTo>
                        <a:pt x="296735" y="412750"/>
                      </a:lnTo>
                      <a:lnTo>
                        <a:pt x="310908" y="407670"/>
                      </a:lnTo>
                      <a:lnTo>
                        <a:pt x="315645" y="403860"/>
                      </a:lnTo>
                      <a:lnTo>
                        <a:pt x="317601" y="397510"/>
                      </a:lnTo>
                      <a:lnTo>
                        <a:pt x="442407" y="397510"/>
                      </a:lnTo>
                      <a:lnTo>
                        <a:pt x="442100" y="393700"/>
                      </a:lnTo>
                      <a:close/>
                    </a:path>
                    <a:path w="569594" h="457200">
                      <a:moveTo>
                        <a:pt x="318663" y="351790"/>
                      </a:moveTo>
                      <a:lnTo>
                        <a:pt x="287985" y="351790"/>
                      </a:lnTo>
                      <a:lnTo>
                        <a:pt x="287921" y="383540"/>
                      </a:lnTo>
                      <a:lnTo>
                        <a:pt x="285838" y="384810"/>
                      </a:lnTo>
                      <a:lnTo>
                        <a:pt x="281571" y="386080"/>
                      </a:lnTo>
                      <a:lnTo>
                        <a:pt x="410777" y="386080"/>
                      </a:lnTo>
                      <a:lnTo>
                        <a:pt x="318668" y="367030"/>
                      </a:lnTo>
                      <a:lnTo>
                        <a:pt x="318663" y="351790"/>
                      </a:lnTo>
                      <a:close/>
                    </a:path>
                    <a:path w="569594" h="457200">
                      <a:moveTo>
                        <a:pt x="22059" y="0"/>
                      </a:moveTo>
                      <a:lnTo>
                        <a:pt x="15633" y="0"/>
                      </a:lnTo>
                      <a:lnTo>
                        <a:pt x="13766" y="1270"/>
                      </a:lnTo>
                      <a:lnTo>
                        <a:pt x="5359" y="2540"/>
                      </a:lnTo>
                      <a:lnTo>
                        <a:pt x="2870" y="7620"/>
                      </a:lnTo>
                      <a:lnTo>
                        <a:pt x="0" y="12700"/>
                      </a:lnTo>
                      <a:lnTo>
                        <a:pt x="1193" y="20320"/>
                      </a:lnTo>
                      <a:lnTo>
                        <a:pt x="4038" y="24130"/>
                      </a:lnTo>
                      <a:lnTo>
                        <a:pt x="9375" y="33020"/>
                      </a:lnTo>
                      <a:lnTo>
                        <a:pt x="14795" y="40640"/>
                      </a:lnTo>
                      <a:lnTo>
                        <a:pt x="25781" y="55880"/>
                      </a:lnTo>
                      <a:lnTo>
                        <a:pt x="201154" y="302260"/>
                      </a:lnTo>
                      <a:lnTo>
                        <a:pt x="234772" y="350520"/>
                      </a:lnTo>
                      <a:lnTo>
                        <a:pt x="241376" y="359410"/>
                      </a:lnTo>
                      <a:lnTo>
                        <a:pt x="251840" y="358140"/>
                      </a:lnTo>
                      <a:lnTo>
                        <a:pt x="282549" y="358140"/>
                      </a:lnTo>
                      <a:lnTo>
                        <a:pt x="282727" y="353060"/>
                      </a:lnTo>
                      <a:lnTo>
                        <a:pt x="287985" y="351790"/>
                      </a:lnTo>
                      <a:lnTo>
                        <a:pt x="318663" y="351790"/>
                      </a:lnTo>
                      <a:lnTo>
                        <a:pt x="318744" y="346710"/>
                      </a:lnTo>
                      <a:lnTo>
                        <a:pt x="440188" y="326390"/>
                      </a:lnTo>
                      <a:lnTo>
                        <a:pt x="255460" y="326390"/>
                      </a:lnTo>
                      <a:lnTo>
                        <a:pt x="248557" y="317500"/>
                      </a:lnTo>
                      <a:lnTo>
                        <a:pt x="241687" y="307340"/>
                      </a:lnTo>
                      <a:lnTo>
                        <a:pt x="227596" y="287020"/>
                      </a:lnTo>
                      <a:lnTo>
                        <a:pt x="294313" y="279400"/>
                      </a:lnTo>
                      <a:lnTo>
                        <a:pt x="315912" y="275590"/>
                      </a:lnTo>
                      <a:lnTo>
                        <a:pt x="355092" y="275590"/>
                      </a:lnTo>
                      <a:lnTo>
                        <a:pt x="351967" y="271780"/>
                      </a:lnTo>
                      <a:lnTo>
                        <a:pt x="420370" y="264160"/>
                      </a:lnTo>
                      <a:lnTo>
                        <a:pt x="463261" y="264160"/>
                      </a:lnTo>
                      <a:lnTo>
                        <a:pt x="459401" y="260350"/>
                      </a:lnTo>
                      <a:lnTo>
                        <a:pt x="207797" y="260350"/>
                      </a:lnTo>
                      <a:lnTo>
                        <a:pt x="202255" y="251460"/>
                      </a:lnTo>
                      <a:lnTo>
                        <a:pt x="191095" y="236220"/>
                      </a:lnTo>
                      <a:lnTo>
                        <a:pt x="169138" y="204470"/>
                      </a:lnTo>
                      <a:lnTo>
                        <a:pt x="174561" y="204470"/>
                      </a:lnTo>
                      <a:lnTo>
                        <a:pt x="214275" y="201930"/>
                      </a:lnTo>
                      <a:lnTo>
                        <a:pt x="234245" y="201930"/>
                      </a:lnTo>
                      <a:lnTo>
                        <a:pt x="254342" y="200660"/>
                      </a:lnTo>
                      <a:lnTo>
                        <a:pt x="293114" y="200660"/>
                      </a:lnTo>
                      <a:lnTo>
                        <a:pt x="291007" y="198120"/>
                      </a:lnTo>
                      <a:lnTo>
                        <a:pt x="323654" y="195580"/>
                      </a:lnTo>
                      <a:lnTo>
                        <a:pt x="339162" y="195580"/>
                      </a:lnTo>
                      <a:lnTo>
                        <a:pt x="354711" y="194310"/>
                      </a:lnTo>
                      <a:lnTo>
                        <a:pt x="396064" y="194310"/>
                      </a:lnTo>
                      <a:lnTo>
                        <a:pt x="393649" y="191770"/>
                      </a:lnTo>
                      <a:lnTo>
                        <a:pt x="400418" y="191770"/>
                      </a:lnTo>
                      <a:lnTo>
                        <a:pt x="407390" y="190500"/>
                      </a:lnTo>
                      <a:lnTo>
                        <a:pt x="423875" y="187960"/>
                      </a:lnTo>
                      <a:lnTo>
                        <a:pt x="467627" y="187960"/>
                      </a:lnTo>
                      <a:lnTo>
                        <a:pt x="455735" y="176530"/>
                      </a:lnTo>
                      <a:lnTo>
                        <a:pt x="148551" y="176530"/>
                      </a:lnTo>
                      <a:lnTo>
                        <a:pt x="140137" y="163830"/>
                      </a:lnTo>
                      <a:lnTo>
                        <a:pt x="131732" y="152400"/>
                      </a:lnTo>
                      <a:lnTo>
                        <a:pt x="114807" y="128270"/>
                      </a:lnTo>
                      <a:lnTo>
                        <a:pt x="405631" y="128270"/>
                      </a:lnTo>
                      <a:lnTo>
                        <a:pt x="376668" y="100330"/>
                      </a:lnTo>
                      <a:lnTo>
                        <a:pt x="306463" y="100330"/>
                      </a:lnTo>
                      <a:lnTo>
                        <a:pt x="306095" y="99060"/>
                      </a:lnTo>
                      <a:lnTo>
                        <a:pt x="210489" y="99060"/>
                      </a:lnTo>
                      <a:lnTo>
                        <a:pt x="209413" y="97790"/>
                      </a:lnTo>
                      <a:lnTo>
                        <a:pt x="92506" y="97790"/>
                      </a:lnTo>
                      <a:lnTo>
                        <a:pt x="83223" y="83820"/>
                      </a:lnTo>
                      <a:lnTo>
                        <a:pt x="64590" y="58420"/>
                      </a:lnTo>
                      <a:lnTo>
                        <a:pt x="49021" y="35560"/>
                      </a:lnTo>
                      <a:lnTo>
                        <a:pt x="227866" y="35560"/>
                      </a:lnTo>
                      <a:lnTo>
                        <a:pt x="22059" y="0"/>
                      </a:lnTo>
                      <a:close/>
                    </a:path>
                    <a:path w="569594" h="457200">
                      <a:moveTo>
                        <a:pt x="355092" y="275590"/>
                      </a:moveTo>
                      <a:lnTo>
                        <a:pt x="315912" y="275590"/>
                      </a:lnTo>
                      <a:lnTo>
                        <a:pt x="319023" y="279400"/>
                      </a:lnTo>
                      <a:lnTo>
                        <a:pt x="324840" y="287020"/>
                      </a:lnTo>
                      <a:lnTo>
                        <a:pt x="345046" y="311150"/>
                      </a:lnTo>
                      <a:lnTo>
                        <a:pt x="282378" y="322580"/>
                      </a:lnTo>
                      <a:lnTo>
                        <a:pt x="268889" y="323850"/>
                      </a:lnTo>
                      <a:lnTo>
                        <a:pt x="255460" y="326390"/>
                      </a:lnTo>
                      <a:lnTo>
                        <a:pt x="440188" y="326390"/>
                      </a:lnTo>
                      <a:lnTo>
                        <a:pt x="552272" y="307340"/>
                      </a:lnTo>
                      <a:lnTo>
                        <a:pt x="554393" y="306070"/>
                      </a:lnTo>
                      <a:lnTo>
                        <a:pt x="562190" y="304800"/>
                      </a:lnTo>
                      <a:lnTo>
                        <a:pt x="379564" y="304800"/>
                      </a:lnTo>
                      <a:lnTo>
                        <a:pt x="374697" y="299720"/>
                      </a:lnTo>
                      <a:lnTo>
                        <a:pt x="369874" y="293370"/>
                      </a:lnTo>
                      <a:lnTo>
                        <a:pt x="360298" y="281940"/>
                      </a:lnTo>
                      <a:lnTo>
                        <a:pt x="355092" y="275590"/>
                      </a:lnTo>
                      <a:close/>
                    </a:path>
                    <a:path w="569594" h="457200">
                      <a:moveTo>
                        <a:pt x="463261" y="264160"/>
                      </a:moveTo>
                      <a:lnTo>
                        <a:pt x="420370" y="264160"/>
                      </a:lnTo>
                      <a:lnTo>
                        <a:pt x="449275" y="293370"/>
                      </a:lnTo>
                      <a:lnTo>
                        <a:pt x="414158" y="299720"/>
                      </a:lnTo>
                      <a:lnTo>
                        <a:pt x="379564" y="304800"/>
                      </a:lnTo>
                      <a:lnTo>
                        <a:pt x="562190" y="304800"/>
                      </a:lnTo>
                      <a:lnTo>
                        <a:pt x="566458" y="300990"/>
                      </a:lnTo>
                      <a:lnTo>
                        <a:pt x="569417" y="290830"/>
                      </a:lnTo>
                      <a:lnTo>
                        <a:pt x="568853" y="288290"/>
                      </a:lnTo>
                      <a:lnTo>
                        <a:pt x="487426" y="288290"/>
                      </a:lnTo>
                      <a:lnTo>
                        <a:pt x="483400" y="287020"/>
                      </a:lnTo>
                      <a:lnTo>
                        <a:pt x="477761" y="279400"/>
                      </a:lnTo>
                      <a:lnTo>
                        <a:pt x="473093" y="274320"/>
                      </a:lnTo>
                      <a:lnTo>
                        <a:pt x="468256" y="269240"/>
                      </a:lnTo>
                      <a:lnTo>
                        <a:pt x="463261" y="264160"/>
                      </a:lnTo>
                      <a:close/>
                    </a:path>
                    <a:path w="569594" h="457200">
                      <a:moveTo>
                        <a:pt x="536338" y="254000"/>
                      </a:moveTo>
                      <a:lnTo>
                        <a:pt x="493267" y="254000"/>
                      </a:lnTo>
                      <a:lnTo>
                        <a:pt x="521106" y="281940"/>
                      </a:lnTo>
                      <a:lnTo>
                        <a:pt x="514635" y="281940"/>
                      </a:lnTo>
                      <a:lnTo>
                        <a:pt x="495147" y="285750"/>
                      </a:lnTo>
                      <a:lnTo>
                        <a:pt x="487426" y="288290"/>
                      </a:lnTo>
                      <a:lnTo>
                        <a:pt x="568853" y="288290"/>
                      </a:lnTo>
                      <a:lnTo>
                        <a:pt x="568007" y="284480"/>
                      </a:lnTo>
                      <a:lnTo>
                        <a:pt x="561174" y="278130"/>
                      </a:lnTo>
                      <a:lnTo>
                        <a:pt x="554837" y="271780"/>
                      </a:lnTo>
                      <a:lnTo>
                        <a:pt x="536338" y="254000"/>
                      </a:lnTo>
                      <a:close/>
                    </a:path>
                    <a:path w="569594" h="457200">
                      <a:moveTo>
                        <a:pt x="293114" y="200660"/>
                      </a:moveTo>
                      <a:lnTo>
                        <a:pt x="254342" y="200660"/>
                      </a:lnTo>
                      <a:lnTo>
                        <a:pt x="260829" y="208280"/>
                      </a:lnTo>
                      <a:lnTo>
                        <a:pt x="267268" y="217170"/>
                      </a:lnTo>
                      <a:lnTo>
                        <a:pt x="293700" y="248920"/>
                      </a:lnTo>
                      <a:lnTo>
                        <a:pt x="256451" y="254000"/>
                      </a:lnTo>
                      <a:lnTo>
                        <a:pt x="240225" y="255270"/>
                      </a:lnTo>
                      <a:lnTo>
                        <a:pt x="207797" y="260350"/>
                      </a:lnTo>
                      <a:lnTo>
                        <a:pt x="459401" y="260350"/>
                      </a:lnTo>
                      <a:lnTo>
                        <a:pt x="458114" y="259080"/>
                      </a:lnTo>
                      <a:lnTo>
                        <a:pt x="493267" y="254000"/>
                      </a:lnTo>
                      <a:lnTo>
                        <a:pt x="536338" y="254000"/>
                      </a:lnTo>
                      <a:lnTo>
                        <a:pt x="525767" y="243840"/>
                      </a:lnTo>
                      <a:lnTo>
                        <a:pt x="329387" y="243840"/>
                      </a:lnTo>
                      <a:lnTo>
                        <a:pt x="326288" y="241300"/>
                      </a:lnTo>
                      <a:lnTo>
                        <a:pt x="320497" y="233680"/>
                      </a:lnTo>
                      <a:lnTo>
                        <a:pt x="293114" y="200660"/>
                      </a:lnTo>
                      <a:close/>
                    </a:path>
                    <a:path w="569594" h="457200">
                      <a:moveTo>
                        <a:pt x="396064" y="194310"/>
                      </a:moveTo>
                      <a:lnTo>
                        <a:pt x="354711" y="194310"/>
                      </a:lnTo>
                      <a:lnTo>
                        <a:pt x="363766" y="204470"/>
                      </a:lnTo>
                      <a:lnTo>
                        <a:pt x="372787" y="213360"/>
                      </a:lnTo>
                      <a:lnTo>
                        <a:pt x="394589" y="236220"/>
                      </a:lnTo>
                      <a:lnTo>
                        <a:pt x="361556" y="240030"/>
                      </a:lnTo>
                      <a:lnTo>
                        <a:pt x="345322" y="242570"/>
                      </a:lnTo>
                      <a:lnTo>
                        <a:pt x="329387" y="243840"/>
                      </a:lnTo>
                      <a:lnTo>
                        <a:pt x="525767" y="243840"/>
                      </a:lnTo>
                      <a:lnTo>
                        <a:pt x="512554" y="231140"/>
                      </a:lnTo>
                      <a:lnTo>
                        <a:pt x="431228" y="231140"/>
                      </a:lnTo>
                      <a:lnTo>
                        <a:pt x="420216" y="219710"/>
                      </a:lnTo>
                      <a:lnTo>
                        <a:pt x="396064" y="194310"/>
                      </a:lnTo>
                      <a:close/>
                    </a:path>
                    <a:path w="569594" h="457200">
                      <a:moveTo>
                        <a:pt x="467627" y="187960"/>
                      </a:moveTo>
                      <a:lnTo>
                        <a:pt x="423875" y="187960"/>
                      </a:lnTo>
                      <a:lnTo>
                        <a:pt x="429298" y="190500"/>
                      </a:lnTo>
                      <a:lnTo>
                        <a:pt x="433616" y="196850"/>
                      </a:lnTo>
                      <a:lnTo>
                        <a:pt x="465416" y="227330"/>
                      </a:lnTo>
                      <a:lnTo>
                        <a:pt x="448395" y="229870"/>
                      </a:lnTo>
                      <a:lnTo>
                        <a:pt x="440498" y="231140"/>
                      </a:lnTo>
                      <a:lnTo>
                        <a:pt x="512554" y="231140"/>
                      </a:lnTo>
                      <a:lnTo>
                        <a:pt x="467627" y="187960"/>
                      </a:lnTo>
                      <a:close/>
                    </a:path>
                    <a:path w="569594" h="457200">
                      <a:moveTo>
                        <a:pt x="235254" y="129540"/>
                      </a:moveTo>
                      <a:lnTo>
                        <a:pt x="195961" y="129540"/>
                      </a:lnTo>
                      <a:lnTo>
                        <a:pt x="202566" y="138430"/>
                      </a:lnTo>
                      <a:lnTo>
                        <a:pt x="222199" y="161290"/>
                      </a:lnTo>
                      <a:lnTo>
                        <a:pt x="229958" y="171450"/>
                      </a:lnTo>
                      <a:lnTo>
                        <a:pt x="218897" y="171450"/>
                      </a:lnTo>
                      <a:lnTo>
                        <a:pt x="148551" y="176530"/>
                      </a:lnTo>
                      <a:lnTo>
                        <a:pt x="455735" y="176530"/>
                      </a:lnTo>
                      <a:lnTo>
                        <a:pt x="447807" y="168910"/>
                      </a:lnTo>
                      <a:lnTo>
                        <a:pt x="267398" y="168910"/>
                      </a:lnTo>
                      <a:lnTo>
                        <a:pt x="261630" y="161290"/>
                      </a:lnTo>
                      <a:lnTo>
                        <a:pt x="255914" y="154940"/>
                      </a:lnTo>
                      <a:lnTo>
                        <a:pt x="235254" y="129540"/>
                      </a:lnTo>
                      <a:close/>
                    </a:path>
                    <a:path w="569594" h="457200">
                      <a:moveTo>
                        <a:pt x="335927" y="130810"/>
                      </a:moveTo>
                      <a:lnTo>
                        <a:pt x="293827" y="130810"/>
                      </a:lnTo>
                      <a:lnTo>
                        <a:pt x="298399" y="135890"/>
                      </a:lnTo>
                      <a:lnTo>
                        <a:pt x="326796" y="165100"/>
                      </a:lnTo>
                      <a:lnTo>
                        <a:pt x="296521" y="167640"/>
                      </a:lnTo>
                      <a:lnTo>
                        <a:pt x="281810" y="167640"/>
                      </a:lnTo>
                      <a:lnTo>
                        <a:pt x="267398" y="168910"/>
                      </a:lnTo>
                      <a:lnTo>
                        <a:pt x="447807" y="168910"/>
                      </a:lnTo>
                      <a:lnTo>
                        <a:pt x="441200" y="162560"/>
                      </a:lnTo>
                      <a:lnTo>
                        <a:pt x="365925" y="162560"/>
                      </a:lnTo>
                      <a:lnTo>
                        <a:pt x="365620" y="161290"/>
                      </a:lnTo>
                      <a:lnTo>
                        <a:pt x="345967" y="142240"/>
                      </a:lnTo>
                      <a:lnTo>
                        <a:pt x="335927" y="130810"/>
                      </a:lnTo>
                      <a:close/>
                    </a:path>
                    <a:path w="569594" h="457200">
                      <a:moveTo>
                        <a:pt x="405631" y="128270"/>
                      </a:moveTo>
                      <a:lnTo>
                        <a:pt x="135176" y="128270"/>
                      </a:lnTo>
                      <a:lnTo>
                        <a:pt x="155513" y="129540"/>
                      </a:lnTo>
                      <a:lnTo>
                        <a:pt x="362381" y="129540"/>
                      </a:lnTo>
                      <a:lnTo>
                        <a:pt x="369176" y="132080"/>
                      </a:lnTo>
                      <a:lnTo>
                        <a:pt x="374472" y="139700"/>
                      </a:lnTo>
                      <a:lnTo>
                        <a:pt x="375602" y="140970"/>
                      </a:lnTo>
                      <a:lnTo>
                        <a:pt x="378688" y="143510"/>
                      </a:lnTo>
                      <a:lnTo>
                        <a:pt x="379018" y="143510"/>
                      </a:lnTo>
                      <a:lnTo>
                        <a:pt x="394538" y="161290"/>
                      </a:lnTo>
                      <a:lnTo>
                        <a:pt x="387758" y="161290"/>
                      </a:lnTo>
                      <a:lnTo>
                        <a:pt x="380982" y="162560"/>
                      </a:lnTo>
                      <a:lnTo>
                        <a:pt x="441200" y="162560"/>
                      </a:lnTo>
                      <a:lnTo>
                        <a:pt x="405631" y="128270"/>
                      </a:lnTo>
                      <a:close/>
                    </a:path>
                    <a:path w="569594" h="457200">
                      <a:moveTo>
                        <a:pt x="362381" y="129540"/>
                      </a:moveTo>
                      <a:lnTo>
                        <a:pt x="265023" y="129540"/>
                      </a:lnTo>
                      <a:lnTo>
                        <a:pt x="279438" y="130810"/>
                      </a:lnTo>
                      <a:lnTo>
                        <a:pt x="346532" y="130810"/>
                      </a:lnTo>
                      <a:lnTo>
                        <a:pt x="362381" y="129540"/>
                      </a:lnTo>
                      <a:close/>
                    </a:path>
                    <a:path w="569594" h="457200">
                      <a:moveTo>
                        <a:pt x="351645" y="76200"/>
                      </a:moveTo>
                      <a:lnTo>
                        <a:pt x="283222" y="76200"/>
                      </a:lnTo>
                      <a:lnTo>
                        <a:pt x="313588" y="81280"/>
                      </a:lnTo>
                      <a:lnTo>
                        <a:pt x="323454" y="90170"/>
                      </a:lnTo>
                      <a:lnTo>
                        <a:pt x="333349" y="100330"/>
                      </a:lnTo>
                      <a:lnTo>
                        <a:pt x="376668" y="100330"/>
                      </a:lnTo>
                      <a:lnTo>
                        <a:pt x="351645" y="76200"/>
                      </a:lnTo>
                      <a:close/>
                    </a:path>
                    <a:path w="569594" h="457200">
                      <a:moveTo>
                        <a:pt x="331168" y="57150"/>
                      </a:moveTo>
                      <a:lnTo>
                        <a:pt x="176009" y="57150"/>
                      </a:lnTo>
                      <a:lnTo>
                        <a:pt x="232575" y="67310"/>
                      </a:lnTo>
                      <a:lnTo>
                        <a:pt x="233210" y="67310"/>
                      </a:lnTo>
                      <a:lnTo>
                        <a:pt x="233946" y="68580"/>
                      </a:lnTo>
                      <a:lnTo>
                        <a:pt x="263829" y="99060"/>
                      </a:lnTo>
                      <a:lnTo>
                        <a:pt x="306095" y="99060"/>
                      </a:lnTo>
                      <a:lnTo>
                        <a:pt x="283222" y="76200"/>
                      </a:lnTo>
                      <a:lnTo>
                        <a:pt x="351645" y="76200"/>
                      </a:lnTo>
                      <a:lnTo>
                        <a:pt x="346341" y="71120"/>
                      </a:lnTo>
                      <a:lnTo>
                        <a:pt x="343204" y="68580"/>
                      </a:lnTo>
                      <a:lnTo>
                        <a:pt x="340525" y="64770"/>
                      </a:lnTo>
                      <a:lnTo>
                        <a:pt x="333642" y="58420"/>
                      </a:lnTo>
                      <a:lnTo>
                        <a:pt x="331168" y="57150"/>
                      </a:lnTo>
                      <a:close/>
                    </a:path>
                    <a:path w="569594" h="457200">
                      <a:moveTo>
                        <a:pt x="227866" y="35560"/>
                      </a:moveTo>
                      <a:lnTo>
                        <a:pt x="49021" y="35560"/>
                      </a:lnTo>
                      <a:lnTo>
                        <a:pt x="89312" y="43180"/>
                      </a:lnTo>
                      <a:lnTo>
                        <a:pt x="109436" y="45720"/>
                      </a:lnTo>
                      <a:lnTo>
                        <a:pt x="129527" y="49530"/>
                      </a:lnTo>
                      <a:lnTo>
                        <a:pt x="129844" y="49530"/>
                      </a:lnTo>
                      <a:lnTo>
                        <a:pt x="130670" y="50800"/>
                      </a:lnTo>
                      <a:lnTo>
                        <a:pt x="136371" y="57150"/>
                      </a:lnTo>
                      <a:lnTo>
                        <a:pt x="141408" y="63500"/>
                      </a:lnTo>
                      <a:lnTo>
                        <a:pt x="151409" y="74930"/>
                      </a:lnTo>
                      <a:lnTo>
                        <a:pt x="170014" y="97790"/>
                      </a:lnTo>
                      <a:lnTo>
                        <a:pt x="209413" y="97790"/>
                      </a:lnTo>
                      <a:lnTo>
                        <a:pt x="206184" y="93980"/>
                      </a:lnTo>
                      <a:lnTo>
                        <a:pt x="194602" y="80010"/>
                      </a:lnTo>
                      <a:lnTo>
                        <a:pt x="176009" y="57150"/>
                      </a:lnTo>
                      <a:lnTo>
                        <a:pt x="331168" y="57150"/>
                      </a:lnTo>
                      <a:lnTo>
                        <a:pt x="326221" y="54610"/>
                      </a:lnTo>
                      <a:lnTo>
                        <a:pt x="318615" y="50800"/>
                      </a:lnTo>
                      <a:lnTo>
                        <a:pt x="311175" y="49530"/>
                      </a:lnTo>
                      <a:lnTo>
                        <a:pt x="276868" y="44450"/>
                      </a:lnTo>
                      <a:lnTo>
                        <a:pt x="242566" y="38100"/>
                      </a:lnTo>
                      <a:lnTo>
                        <a:pt x="227866" y="35560"/>
                      </a:lnTo>
                      <a:close/>
                    </a:path>
                  </a:pathLst>
                </a:custGeom>
                <a:solidFill>
                  <a:srgbClr val="004876"/>
                </a:solidFill>
              </p:spPr>
              <p:txBody>
                <a:bodyPr wrap="square" lIns="0" tIns="0" rIns="0" bIns="0" rtlCol="0"/>
                <a:lstStyle/>
                <a:p>
                  <a:endParaRPr/>
                </a:p>
              </p:txBody>
            </p:sp>
          </p:grpSp>
          <p:grpSp>
            <p:nvGrpSpPr>
              <p:cNvPr id="100" name="object 63">
                <a:extLst>
                  <a:ext uri="{FF2B5EF4-FFF2-40B4-BE49-F238E27FC236}">
                    <a16:creationId xmlns:a16="http://schemas.microsoft.com/office/drawing/2014/main" id="{1296F36B-C7B3-693F-2F1E-AE20961AE687}"/>
                  </a:ext>
                </a:extLst>
              </p:cNvPr>
              <p:cNvGrpSpPr/>
              <p:nvPr/>
            </p:nvGrpSpPr>
            <p:grpSpPr>
              <a:xfrm>
                <a:off x="887526" y="709024"/>
                <a:ext cx="583565" cy="725170"/>
                <a:chOff x="887526" y="709024"/>
                <a:chExt cx="583565" cy="725170"/>
              </a:xfrm>
            </p:grpSpPr>
            <p:pic>
              <p:nvPicPr>
                <p:cNvPr id="113" name="object 64">
                  <a:extLst>
                    <a:ext uri="{FF2B5EF4-FFF2-40B4-BE49-F238E27FC236}">
                      <a16:creationId xmlns:a16="http://schemas.microsoft.com/office/drawing/2014/main" id="{56ACC111-4F13-D94B-096E-01F459C355DC}"/>
                    </a:ext>
                  </a:extLst>
                </p:cNvPr>
                <p:cNvPicPr/>
                <p:nvPr/>
              </p:nvPicPr>
              <p:blipFill>
                <a:blip r:embed="rId41" cstate="print"/>
                <a:stretch>
                  <a:fillRect/>
                </a:stretch>
              </p:blipFill>
              <p:spPr>
                <a:xfrm>
                  <a:off x="1237615" y="797382"/>
                  <a:ext cx="144894" cy="142494"/>
                </a:xfrm>
                <a:prstGeom prst="rect">
                  <a:avLst/>
                </a:prstGeom>
              </p:spPr>
            </p:pic>
            <p:pic>
              <p:nvPicPr>
                <p:cNvPr id="114" name="object 65">
                  <a:extLst>
                    <a:ext uri="{FF2B5EF4-FFF2-40B4-BE49-F238E27FC236}">
                      <a16:creationId xmlns:a16="http://schemas.microsoft.com/office/drawing/2014/main" id="{1EC8F4FE-F7B4-8B9B-5B6A-D0D1F2175BF9}"/>
                    </a:ext>
                  </a:extLst>
                </p:cNvPr>
                <p:cNvPicPr/>
                <p:nvPr/>
              </p:nvPicPr>
              <p:blipFill>
                <a:blip r:embed="rId42" cstate="print"/>
                <a:stretch>
                  <a:fillRect/>
                </a:stretch>
              </p:blipFill>
              <p:spPr>
                <a:xfrm>
                  <a:off x="1149350" y="709024"/>
                  <a:ext cx="321428" cy="317442"/>
                </a:xfrm>
                <a:prstGeom prst="rect">
                  <a:avLst/>
                </a:prstGeom>
              </p:spPr>
            </p:pic>
            <p:pic>
              <p:nvPicPr>
                <p:cNvPr id="116" name="object 66">
                  <a:extLst>
                    <a:ext uri="{FF2B5EF4-FFF2-40B4-BE49-F238E27FC236}">
                      <a16:creationId xmlns:a16="http://schemas.microsoft.com/office/drawing/2014/main" id="{9532B01F-5306-94BF-94B6-50D36FB81839}"/>
                    </a:ext>
                  </a:extLst>
                </p:cNvPr>
                <p:cNvPicPr/>
                <p:nvPr/>
              </p:nvPicPr>
              <p:blipFill>
                <a:blip r:embed="rId43" cstate="print"/>
                <a:stretch>
                  <a:fillRect/>
                </a:stretch>
              </p:blipFill>
              <p:spPr>
                <a:xfrm>
                  <a:off x="1259484" y="819277"/>
                  <a:ext cx="100444" cy="98602"/>
                </a:xfrm>
                <a:prstGeom prst="rect">
                  <a:avLst/>
                </a:prstGeom>
              </p:spPr>
            </p:pic>
            <p:pic>
              <p:nvPicPr>
                <p:cNvPr id="117" name="object 67">
                  <a:extLst>
                    <a:ext uri="{FF2B5EF4-FFF2-40B4-BE49-F238E27FC236}">
                      <a16:creationId xmlns:a16="http://schemas.microsoft.com/office/drawing/2014/main" id="{35EAA8B7-37E5-068D-B0D7-AAA3AEC879FC}"/>
                    </a:ext>
                  </a:extLst>
                </p:cNvPr>
                <p:cNvPicPr/>
                <p:nvPr/>
              </p:nvPicPr>
              <p:blipFill>
                <a:blip r:embed="rId44" cstate="print"/>
                <a:stretch>
                  <a:fillRect/>
                </a:stretch>
              </p:blipFill>
              <p:spPr>
                <a:xfrm>
                  <a:off x="887526" y="1024433"/>
                  <a:ext cx="248272" cy="81087"/>
                </a:xfrm>
                <a:prstGeom prst="rect">
                  <a:avLst/>
                </a:prstGeom>
              </p:spPr>
            </p:pic>
            <p:pic>
              <p:nvPicPr>
                <p:cNvPr id="118" name="object 68">
                  <a:extLst>
                    <a:ext uri="{FF2B5EF4-FFF2-40B4-BE49-F238E27FC236}">
                      <a16:creationId xmlns:a16="http://schemas.microsoft.com/office/drawing/2014/main" id="{F926E6AD-167E-A575-7E6F-D520834C1448}"/>
                    </a:ext>
                  </a:extLst>
                </p:cNvPr>
                <p:cNvPicPr/>
                <p:nvPr/>
              </p:nvPicPr>
              <p:blipFill>
                <a:blip r:embed="rId45" cstate="print"/>
                <a:stretch>
                  <a:fillRect/>
                </a:stretch>
              </p:blipFill>
              <p:spPr>
                <a:xfrm>
                  <a:off x="954951" y="1119416"/>
                  <a:ext cx="436156" cy="213601"/>
                </a:xfrm>
                <a:prstGeom prst="rect">
                  <a:avLst/>
                </a:prstGeom>
              </p:spPr>
            </p:pic>
            <p:pic>
              <p:nvPicPr>
                <p:cNvPr id="119" name="object 69">
                  <a:extLst>
                    <a:ext uri="{FF2B5EF4-FFF2-40B4-BE49-F238E27FC236}">
                      <a16:creationId xmlns:a16="http://schemas.microsoft.com/office/drawing/2014/main" id="{B7C34568-F17C-17FF-57D4-004383F49209}"/>
                    </a:ext>
                  </a:extLst>
                </p:cNvPr>
                <p:cNvPicPr/>
                <p:nvPr/>
              </p:nvPicPr>
              <p:blipFill>
                <a:blip r:embed="rId46" cstate="print"/>
                <a:stretch>
                  <a:fillRect/>
                </a:stretch>
              </p:blipFill>
              <p:spPr>
                <a:xfrm>
                  <a:off x="1031176" y="1341856"/>
                  <a:ext cx="219748" cy="91911"/>
                </a:xfrm>
                <a:prstGeom prst="rect">
                  <a:avLst/>
                </a:prstGeom>
              </p:spPr>
            </p:pic>
            <p:pic>
              <p:nvPicPr>
                <p:cNvPr id="120" name="object 70">
                  <a:extLst>
                    <a:ext uri="{FF2B5EF4-FFF2-40B4-BE49-F238E27FC236}">
                      <a16:creationId xmlns:a16="http://schemas.microsoft.com/office/drawing/2014/main" id="{D4F2BDBF-1164-23B1-DF31-BE40345940D9}"/>
                    </a:ext>
                  </a:extLst>
                </p:cNvPr>
                <p:cNvPicPr/>
                <p:nvPr/>
              </p:nvPicPr>
              <p:blipFill>
                <a:blip r:embed="rId47" cstate="print"/>
                <a:stretch>
                  <a:fillRect/>
                </a:stretch>
              </p:blipFill>
              <p:spPr>
                <a:xfrm>
                  <a:off x="1117142" y="1063079"/>
                  <a:ext cx="150495" cy="105599"/>
                </a:xfrm>
                <a:prstGeom prst="rect">
                  <a:avLst/>
                </a:prstGeom>
              </p:spPr>
            </p:pic>
          </p:grpSp>
          <p:grpSp>
            <p:nvGrpSpPr>
              <p:cNvPr id="101" name="object 71">
                <a:extLst>
                  <a:ext uri="{FF2B5EF4-FFF2-40B4-BE49-F238E27FC236}">
                    <a16:creationId xmlns:a16="http://schemas.microsoft.com/office/drawing/2014/main" id="{96F0E99D-78FA-144E-2A94-62840886BB57}"/>
                  </a:ext>
                </a:extLst>
              </p:cNvPr>
              <p:cNvGrpSpPr/>
              <p:nvPr/>
            </p:nvGrpSpPr>
            <p:grpSpPr>
              <a:xfrm>
                <a:off x="566978" y="542842"/>
                <a:ext cx="516890" cy="744220"/>
                <a:chOff x="566978" y="542842"/>
                <a:chExt cx="516890" cy="744220"/>
              </a:xfrm>
            </p:grpSpPr>
            <p:pic>
              <p:nvPicPr>
                <p:cNvPr id="103" name="object 72">
                  <a:extLst>
                    <a:ext uri="{FF2B5EF4-FFF2-40B4-BE49-F238E27FC236}">
                      <a16:creationId xmlns:a16="http://schemas.microsoft.com/office/drawing/2014/main" id="{BB80BC4F-A524-BC8F-CA2E-F7EC738F2EF8}"/>
                    </a:ext>
                  </a:extLst>
                </p:cNvPr>
                <p:cNvPicPr/>
                <p:nvPr/>
              </p:nvPicPr>
              <p:blipFill>
                <a:blip r:embed="rId48" cstate="print"/>
                <a:stretch>
                  <a:fillRect/>
                </a:stretch>
              </p:blipFill>
              <p:spPr>
                <a:xfrm>
                  <a:off x="730669" y="929704"/>
                  <a:ext cx="88887" cy="349745"/>
                </a:xfrm>
                <a:prstGeom prst="rect">
                  <a:avLst/>
                </a:prstGeom>
              </p:spPr>
            </p:pic>
            <p:sp>
              <p:nvSpPr>
                <p:cNvPr id="104" name="object 73">
                  <a:extLst>
                    <a:ext uri="{FF2B5EF4-FFF2-40B4-BE49-F238E27FC236}">
                      <a16:creationId xmlns:a16="http://schemas.microsoft.com/office/drawing/2014/main" id="{2A49A88B-CC89-902E-82AA-9FA5CE1235B2}"/>
                    </a:ext>
                  </a:extLst>
                </p:cNvPr>
                <p:cNvSpPr/>
                <p:nvPr/>
              </p:nvSpPr>
              <p:spPr>
                <a:xfrm>
                  <a:off x="722500" y="908581"/>
                  <a:ext cx="105410" cy="378460"/>
                </a:xfrm>
                <a:custGeom>
                  <a:avLst/>
                  <a:gdLst/>
                  <a:ahLst/>
                  <a:cxnLst/>
                  <a:rect l="l" t="t" r="r" b="b"/>
                  <a:pathLst>
                    <a:path w="105409" h="378459">
                      <a:moveTo>
                        <a:pt x="74714" y="0"/>
                      </a:moveTo>
                      <a:lnTo>
                        <a:pt x="60706" y="19405"/>
                      </a:lnTo>
                      <a:lnTo>
                        <a:pt x="57264" y="24803"/>
                      </a:lnTo>
                      <a:lnTo>
                        <a:pt x="51219" y="34213"/>
                      </a:lnTo>
                      <a:lnTo>
                        <a:pt x="24286" y="74643"/>
                      </a:lnTo>
                      <a:lnTo>
                        <a:pt x="21277" y="111975"/>
                      </a:lnTo>
                      <a:lnTo>
                        <a:pt x="19730" y="134480"/>
                      </a:lnTo>
                      <a:lnTo>
                        <a:pt x="17971" y="156062"/>
                      </a:lnTo>
                      <a:lnTo>
                        <a:pt x="14578" y="194703"/>
                      </a:lnTo>
                      <a:lnTo>
                        <a:pt x="13220" y="210781"/>
                      </a:lnTo>
                      <a:lnTo>
                        <a:pt x="4706" y="316166"/>
                      </a:lnTo>
                      <a:lnTo>
                        <a:pt x="3365" y="333438"/>
                      </a:lnTo>
                      <a:lnTo>
                        <a:pt x="0" y="378434"/>
                      </a:lnTo>
                      <a:lnTo>
                        <a:pt x="105270" y="378434"/>
                      </a:lnTo>
                      <a:lnTo>
                        <a:pt x="104046" y="363283"/>
                      </a:lnTo>
                      <a:lnTo>
                        <a:pt x="16332" y="363283"/>
                      </a:lnTo>
                      <a:lnTo>
                        <a:pt x="19998" y="314960"/>
                      </a:lnTo>
                      <a:lnTo>
                        <a:pt x="29044" y="203352"/>
                      </a:lnTo>
                      <a:lnTo>
                        <a:pt x="29893" y="193425"/>
                      </a:lnTo>
                      <a:lnTo>
                        <a:pt x="33279" y="154871"/>
                      </a:lnTo>
                      <a:lnTo>
                        <a:pt x="34937" y="134480"/>
                      </a:lnTo>
                      <a:lnTo>
                        <a:pt x="36416" y="112783"/>
                      </a:lnTo>
                      <a:lnTo>
                        <a:pt x="37465" y="91097"/>
                      </a:lnTo>
                      <a:lnTo>
                        <a:pt x="39004" y="78358"/>
                      </a:lnTo>
                      <a:lnTo>
                        <a:pt x="42740" y="67322"/>
                      </a:lnTo>
                      <a:lnTo>
                        <a:pt x="48864" y="57582"/>
                      </a:lnTo>
                      <a:lnTo>
                        <a:pt x="57569" y="48729"/>
                      </a:lnTo>
                      <a:lnTo>
                        <a:pt x="59563" y="47028"/>
                      </a:lnTo>
                      <a:lnTo>
                        <a:pt x="61353" y="45123"/>
                      </a:lnTo>
                      <a:lnTo>
                        <a:pt x="62979" y="43103"/>
                      </a:lnTo>
                      <a:lnTo>
                        <a:pt x="78194" y="43103"/>
                      </a:lnTo>
                      <a:lnTo>
                        <a:pt x="74714" y="0"/>
                      </a:lnTo>
                      <a:close/>
                    </a:path>
                    <a:path w="105409" h="378459">
                      <a:moveTo>
                        <a:pt x="78194" y="43103"/>
                      </a:moveTo>
                      <a:lnTo>
                        <a:pt x="62979" y="43103"/>
                      </a:lnTo>
                      <a:lnTo>
                        <a:pt x="88836" y="363283"/>
                      </a:lnTo>
                      <a:lnTo>
                        <a:pt x="104046" y="363283"/>
                      </a:lnTo>
                      <a:lnTo>
                        <a:pt x="78194" y="43103"/>
                      </a:lnTo>
                      <a:close/>
                    </a:path>
                  </a:pathLst>
                </a:custGeom>
                <a:solidFill>
                  <a:srgbClr val="004876"/>
                </a:solidFill>
              </p:spPr>
              <p:txBody>
                <a:bodyPr wrap="square" lIns="0" tIns="0" rIns="0" bIns="0" rtlCol="0"/>
                <a:lstStyle/>
                <a:p>
                  <a:endParaRPr/>
                </a:p>
              </p:txBody>
            </p:sp>
            <p:pic>
              <p:nvPicPr>
                <p:cNvPr id="105" name="object 74">
                  <a:extLst>
                    <a:ext uri="{FF2B5EF4-FFF2-40B4-BE49-F238E27FC236}">
                      <a16:creationId xmlns:a16="http://schemas.microsoft.com/office/drawing/2014/main" id="{4B92D07F-D968-C993-31CF-10DF1FE265DB}"/>
                    </a:ext>
                  </a:extLst>
                </p:cNvPr>
                <p:cNvPicPr/>
                <p:nvPr/>
              </p:nvPicPr>
              <p:blipFill>
                <a:blip r:embed="rId49" cstate="print"/>
                <a:stretch>
                  <a:fillRect/>
                </a:stretch>
              </p:blipFill>
              <p:spPr>
                <a:xfrm>
                  <a:off x="576198" y="845565"/>
                  <a:ext cx="203085" cy="229552"/>
                </a:xfrm>
                <a:prstGeom prst="rect">
                  <a:avLst/>
                </a:prstGeom>
              </p:spPr>
            </p:pic>
            <p:pic>
              <p:nvPicPr>
                <p:cNvPr id="106" name="object 75">
                  <a:extLst>
                    <a:ext uri="{FF2B5EF4-FFF2-40B4-BE49-F238E27FC236}">
                      <a16:creationId xmlns:a16="http://schemas.microsoft.com/office/drawing/2014/main" id="{7C341AC2-2085-22E6-1AC5-FA0722C107B2}"/>
                    </a:ext>
                  </a:extLst>
                </p:cNvPr>
                <p:cNvPicPr/>
                <p:nvPr/>
              </p:nvPicPr>
              <p:blipFill>
                <a:blip r:embed="rId50" cstate="print"/>
                <a:stretch>
                  <a:fillRect/>
                </a:stretch>
              </p:blipFill>
              <p:spPr>
                <a:xfrm>
                  <a:off x="566978" y="834692"/>
                  <a:ext cx="222110" cy="251460"/>
                </a:xfrm>
                <a:prstGeom prst="rect">
                  <a:avLst/>
                </a:prstGeom>
              </p:spPr>
            </p:pic>
            <p:pic>
              <p:nvPicPr>
                <p:cNvPr id="107" name="object 76">
                  <a:extLst>
                    <a:ext uri="{FF2B5EF4-FFF2-40B4-BE49-F238E27FC236}">
                      <a16:creationId xmlns:a16="http://schemas.microsoft.com/office/drawing/2014/main" id="{41908517-A6DD-962C-3CD0-4D43018A2ED4}"/>
                    </a:ext>
                  </a:extLst>
                </p:cNvPr>
                <p:cNvPicPr/>
                <p:nvPr/>
              </p:nvPicPr>
              <p:blipFill>
                <a:blip r:embed="rId51" cstate="print"/>
                <a:stretch>
                  <a:fillRect/>
                </a:stretch>
              </p:blipFill>
              <p:spPr>
                <a:xfrm>
                  <a:off x="811326" y="799172"/>
                  <a:ext cx="252539" cy="108661"/>
                </a:xfrm>
                <a:prstGeom prst="rect">
                  <a:avLst/>
                </a:prstGeom>
              </p:spPr>
            </p:pic>
            <p:sp>
              <p:nvSpPr>
                <p:cNvPr id="108" name="object 77">
                  <a:extLst>
                    <a:ext uri="{FF2B5EF4-FFF2-40B4-BE49-F238E27FC236}">
                      <a16:creationId xmlns:a16="http://schemas.microsoft.com/office/drawing/2014/main" id="{A0B3CB76-A8D7-CC0A-4AD0-EBD4D462AB4C}"/>
                    </a:ext>
                  </a:extLst>
                </p:cNvPr>
                <p:cNvSpPr/>
                <p:nvPr/>
              </p:nvSpPr>
              <p:spPr>
                <a:xfrm>
                  <a:off x="799136" y="791736"/>
                  <a:ext cx="285115" cy="124460"/>
                </a:xfrm>
                <a:custGeom>
                  <a:avLst/>
                  <a:gdLst/>
                  <a:ahLst/>
                  <a:cxnLst/>
                  <a:rect l="l" t="t" r="r" b="b"/>
                  <a:pathLst>
                    <a:path w="285115" h="124459">
                      <a:moveTo>
                        <a:pt x="49930" y="0"/>
                      </a:moveTo>
                      <a:lnTo>
                        <a:pt x="39435" y="1463"/>
                      </a:lnTo>
                      <a:lnTo>
                        <a:pt x="28397" y="4519"/>
                      </a:lnTo>
                      <a:lnTo>
                        <a:pt x="20345" y="7275"/>
                      </a:lnTo>
                      <a:lnTo>
                        <a:pt x="24015" y="14971"/>
                      </a:lnTo>
                      <a:lnTo>
                        <a:pt x="31249" y="36861"/>
                      </a:lnTo>
                      <a:lnTo>
                        <a:pt x="30919" y="56807"/>
                      </a:lnTo>
                      <a:lnTo>
                        <a:pt x="22953" y="75145"/>
                      </a:lnTo>
                      <a:lnTo>
                        <a:pt x="7277" y="92213"/>
                      </a:lnTo>
                      <a:lnTo>
                        <a:pt x="0" y="98372"/>
                      </a:lnTo>
                      <a:lnTo>
                        <a:pt x="7645" y="104074"/>
                      </a:lnTo>
                      <a:lnTo>
                        <a:pt x="47409" y="121809"/>
                      </a:lnTo>
                      <a:lnTo>
                        <a:pt x="74104" y="124115"/>
                      </a:lnTo>
                      <a:lnTo>
                        <a:pt x="80175" y="124115"/>
                      </a:lnTo>
                      <a:lnTo>
                        <a:pt x="124897" y="122058"/>
                      </a:lnTo>
                      <a:lnTo>
                        <a:pt x="166798" y="117476"/>
                      </a:lnTo>
                      <a:lnTo>
                        <a:pt x="212598" y="110285"/>
                      </a:lnTo>
                      <a:lnTo>
                        <a:pt x="219022" y="108532"/>
                      </a:lnTo>
                      <a:lnTo>
                        <a:pt x="63284" y="108532"/>
                      </a:lnTo>
                      <a:lnTo>
                        <a:pt x="52758" y="107372"/>
                      </a:lnTo>
                      <a:lnTo>
                        <a:pt x="42795" y="105082"/>
                      </a:lnTo>
                      <a:lnTo>
                        <a:pt x="33351" y="101647"/>
                      </a:lnTo>
                      <a:lnTo>
                        <a:pt x="24384" y="97051"/>
                      </a:lnTo>
                      <a:lnTo>
                        <a:pt x="38336" y="79017"/>
                      </a:lnTo>
                      <a:lnTo>
                        <a:pt x="45800" y="59561"/>
                      </a:lnTo>
                      <a:lnTo>
                        <a:pt x="46767" y="38733"/>
                      </a:lnTo>
                      <a:lnTo>
                        <a:pt x="41224" y="16584"/>
                      </a:lnTo>
                      <a:lnTo>
                        <a:pt x="50088" y="14552"/>
                      </a:lnTo>
                      <a:lnTo>
                        <a:pt x="109928" y="14514"/>
                      </a:lnTo>
                      <a:lnTo>
                        <a:pt x="69138" y="1890"/>
                      </a:lnTo>
                      <a:lnTo>
                        <a:pt x="59843" y="138"/>
                      </a:lnTo>
                      <a:lnTo>
                        <a:pt x="49930" y="0"/>
                      </a:lnTo>
                      <a:close/>
                    </a:path>
                    <a:path w="285115" h="124459">
                      <a:moveTo>
                        <a:pt x="109928" y="14514"/>
                      </a:moveTo>
                      <a:lnTo>
                        <a:pt x="58077" y="14514"/>
                      </a:lnTo>
                      <a:lnTo>
                        <a:pt x="64998" y="16470"/>
                      </a:lnTo>
                      <a:lnTo>
                        <a:pt x="114939" y="31795"/>
                      </a:lnTo>
                      <a:lnTo>
                        <a:pt x="161339" y="48406"/>
                      </a:lnTo>
                      <a:lnTo>
                        <a:pt x="204449" y="66399"/>
                      </a:lnTo>
                      <a:lnTo>
                        <a:pt x="244525" y="85875"/>
                      </a:lnTo>
                      <a:lnTo>
                        <a:pt x="209207" y="95527"/>
                      </a:lnTo>
                      <a:lnTo>
                        <a:pt x="194320" y="98074"/>
                      </a:lnTo>
                      <a:lnTo>
                        <a:pt x="157986" y="103277"/>
                      </a:lnTo>
                      <a:lnTo>
                        <a:pt x="110782" y="107857"/>
                      </a:lnTo>
                      <a:lnTo>
                        <a:pt x="63284" y="108532"/>
                      </a:lnTo>
                      <a:lnTo>
                        <a:pt x="219022" y="108532"/>
                      </a:lnTo>
                      <a:lnTo>
                        <a:pt x="284619" y="90638"/>
                      </a:lnTo>
                      <a:lnTo>
                        <a:pt x="268439" y="81595"/>
                      </a:lnTo>
                      <a:lnTo>
                        <a:pt x="224431" y="58931"/>
                      </a:lnTo>
                      <a:lnTo>
                        <a:pt x="176776" y="38185"/>
                      </a:lnTo>
                      <a:lnTo>
                        <a:pt x="125127" y="19218"/>
                      </a:lnTo>
                      <a:lnTo>
                        <a:pt x="109928" y="14514"/>
                      </a:lnTo>
                      <a:close/>
                    </a:path>
                  </a:pathLst>
                </a:custGeom>
                <a:solidFill>
                  <a:srgbClr val="004876"/>
                </a:solidFill>
              </p:spPr>
              <p:txBody>
                <a:bodyPr wrap="square" lIns="0" tIns="0" rIns="0" bIns="0" rtlCol="0"/>
                <a:lstStyle/>
                <a:p>
                  <a:endParaRPr/>
                </a:p>
              </p:txBody>
            </p:sp>
            <p:pic>
              <p:nvPicPr>
                <p:cNvPr id="109" name="object 78">
                  <a:extLst>
                    <a:ext uri="{FF2B5EF4-FFF2-40B4-BE49-F238E27FC236}">
                      <a16:creationId xmlns:a16="http://schemas.microsoft.com/office/drawing/2014/main" id="{817BB93D-D663-745C-8140-75A7C3EE864B}"/>
                    </a:ext>
                  </a:extLst>
                </p:cNvPr>
                <p:cNvPicPr/>
                <p:nvPr/>
              </p:nvPicPr>
              <p:blipFill>
                <a:blip r:embed="rId52" cstate="print"/>
                <a:stretch>
                  <a:fillRect/>
                </a:stretch>
              </p:blipFill>
              <p:spPr>
                <a:xfrm>
                  <a:off x="664354" y="551752"/>
                  <a:ext cx="136371" cy="259283"/>
                </a:xfrm>
                <a:prstGeom prst="rect">
                  <a:avLst/>
                </a:prstGeom>
              </p:spPr>
            </p:pic>
            <p:sp>
              <p:nvSpPr>
                <p:cNvPr id="110" name="object 79">
                  <a:extLst>
                    <a:ext uri="{FF2B5EF4-FFF2-40B4-BE49-F238E27FC236}">
                      <a16:creationId xmlns:a16="http://schemas.microsoft.com/office/drawing/2014/main" id="{D05C06FC-B6B0-0DCE-71A8-20AE792C7B0B}"/>
                    </a:ext>
                  </a:extLst>
                </p:cNvPr>
                <p:cNvSpPr/>
                <p:nvPr/>
              </p:nvSpPr>
              <p:spPr>
                <a:xfrm>
                  <a:off x="656781" y="542842"/>
                  <a:ext cx="151765" cy="281940"/>
                </a:xfrm>
                <a:custGeom>
                  <a:avLst/>
                  <a:gdLst/>
                  <a:ahLst/>
                  <a:cxnLst/>
                  <a:rect l="l" t="t" r="r" b="b"/>
                  <a:pathLst>
                    <a:path w="151765" h="281940">
                      <a:moveTo>
                        <a:pt x="9576" y="0"/>
                      </a:moveTo>
                      <a:lnTo>
                        <a:pt x="6604" y="5105"/>
                      </a:lnTo>
                      <a:lnTo>
                        <a:pt x="2777" y="13250"/>
                      </a:lnTo>
                      <a:lnTo>
                        <a:pt x="639" y="22009"/>
                      </a:lnTo>
                      <a:lnTo>
                        <a:pt x="0" y="32546"/>
                      </a:lnTo>
                      <a:lnTo>
                        <a:pt x="787" y="45542"/>
                      </a:lnTo>
                      <a:lnTo>
                        <a:pt x="6050" y="98771"/>
                      </a:lnTo>
                      <a:lnTo>
                        <a:pt x="14650" y="156111"/>
                      </a:lnTo>
                      <a:lnTo>
                        <a:pt x="23988" y="202678"/>
                      </a:lnTo>
                      <a:lnTo>
                        <a:pt x="34587" y="246216"/>
                      </a:lnTo>
                      <a:lnTo>
                        <a:pt x="62014" y="281368"/>
                      </a:lnTo>
                      <a:lnTo>
                        <a:pt x="66865" y="271551"/>
                      </a:lnTo>
                      <a:lnTo>
                        <a:pt x="72831" y="261475"/>
                      </a:lnTo>
                      <a:lnTo>
                        <a:pt x="78108" y="255346"/>
                      </a:lnTo>
                      <a:lnTo>
                        <a:pt x="58674" y="255346"/>
                      </a:lnTo>
                      <a:lnTo>
                        <a:pt x="54321" y="249872"/>
                      </a:lnTo>
                      <a:lnTo>
                        <a:pt x="38843" y="199633"/>
                      </a:lnTo>
                      <a:lnTo>
                        <a:pt x="29574" y="153436"/>
                      </a:lnTo>
                      <a:lnTo>
                        <a:pt x="23116" y="113675"/>
                      </a:lnTo>
                      <a:lnTo>
                        <a:pt x="15862" y="44043"/>
                      </a:lnTo>
                      <a:lnTo>
                        <a:pt x="15213" y="28681"/>
                      </a:lnTo>
                      <a:lnTo>
                        <a:pt x="15771" y="23271"/>
                      </a:lnTo>
                      <a:lnTo>
                        <a:pt x="16878" y="18834"/>
                      </a:lnTo>
                      <a:lnTo>
                        <a:pt x="38032" y="18834"/>
                      </a:lnTo>
                      <a:lnTo>
                        <a:pt x="36961" y="17384"/>
                      </a:lnTo>
                      <a:lnTo>
                        <a:pt x="31288" y="11061"/>
                      </a:lnTo>
                      <a:lnTo>
                        <a:pt x="24198" y="5548"/>
                      </a:lnTo>
                      <a:lnTo>
                        <a:pt x="15253" y="1625"/>
                      </a:lnTo>
                      <a:lnTo>
                        <a:pt x="9576" y="0"/>
                      </a:lnTo>
                      <a:close/>
                    </a:path>
                    <a:path w="151765" h="281940">
                      <a:moveTo>
                        <a:pt x="113867" y="222732"/>
                      </a:moveTo>
                      <a:lnTo>
                        <a:pt x="73376" y="238810"/>
                      </a:lnTo>
                      <a:lnTo>
                        <a:pt x="58674" y="255346"/>
                      </a:lnTo>
                      <a:lnTo>
                        <a:pt x="78108" y="255346"/>
                      </a:lnTo>
                      <a:lnTo>
                        <a:pt x="79923" y="253237"/>
                      </a:lnTo>
                      <a:lnTo>
                        <a:pt x="88273" y="246705"/>
                      </a:lnTo>
                      <a:lnTo>
                        <a:pt x="98018" y="241744"/>
                      </a:lnTo>
                      <a:lnTo>
                        <a:pt x="108182" y="238736"/>
                      </a:lnTo>
                      <a:lnTo>
                        <a:pt x="118643" y="237804"/>
                      </a:lnTo>
                      <a:lnTo>
                        <a:pt x="150712" y="237804"/>
                      </a:lnTo>
                      <a:lnTo>
                        <a:pt x="150914" y="235788"/>
                      </a:lnTo>
                      <a:lnTo>
                        <a:pt x="151438" y="224942"/>
                      </a:lnTo>
                      <a:lnTo>
                        <a:pt x="136360" y="224942"/>
                      </a:lnTo>
                      <a:lnTo>
                        <a:pt x="124960" y="222942"/>
                      </a:lnTo>
                      <a:lnTo>
                        <a:pt x="113867" y="222732"/>
                      </a:lnTo>
                      <a:close/>
                    </a:path>
                    <a:path w="151765" h="281940">
                      <a:moveTo>
                        <a:pt x="150712" y="237804"/>
                      </a:moveTo>
                      <a:lnTo>
                        <a:pt x="118643" y="237804"/>
                      </a:lnTo>
                      <a:lnTo>
                        <a:pt x="129476" y="238944"/>
                      </a:lnTo>
                      <a:lnTo>
                        <a:pt x="140754" y="242150"/>
                      </a:lnTo>
                      <a:lnTo>
                        <a:pt x="149936" y="245529"/>
                      </a:lnTo>
                      <a:lnTo>
                        <a:pt x="150712" y="237804"/>
                      </a:lnTo>
                      <a:close/>
                    </a:path>
                    <a:path w="151765" h="281940">
                      <a:moveTo>
                        <a:pt x="38032" y="18834"/>
                      </a:moveTo>
                      <a:lnTo>
                        <a:pt x="16878" y="18834"/>
                      </a:lnTo>
                      <a:lnTo>
                        <a:pt x="21806" y="22009"/>
                      </a:lnTo>
                      <a:lnTo>
                        <a:pt x="31737" y="35890"/>
                      </a:lnTo>
                      <a:lnTo>
                        <a:pt x="60405" y="76571"/>
                      </a:lnTo>
                      <a:lnTo>
                        <a:pt x="86403" y="117120"/>
                      </a:lnTo>
                      <a:lnTo>
                        <a:pt x="109902" y="157825"/>
                      </a:lnTo>
                      <a:lnTo>
                        <a:pt x="131077" y="198970"/>
                      </a:lnTo>
                      <a:lnTo>
                        <a:pt x="136360" y="224942"/>
                      </a:lnTo>
                      <a:lnTo>
                        <a:pt x="151438" y="224942"/>
                      </a:lnTo>
                      <a:lnTo>
                        <a:pt x="123223" y="150603"/>
                      </a:lnTo>
                      <a:lnTo>
                        <a:pt x="99374" y="109300"/>
                      </a:lnTo>
                      <a:lnTo>
                        <a:pt x="73006" y="68167"/>
                      </a:lnTo>
                      <a:lnTo>
                        <a:pt x="43942" y="26911"/>
                      </a:lnTo>
                      <a:lnTo>
                        <a:pt x="41656" y="23736"/>
                      </a:lnTo>
                      <a:lnTo>
                        <a:pt x="38032" y="18834"/>
                      </a:lnTo>
                      <a:close/>
                    </a:path>
                  </a:pathLst>
                </a:custGeom>
                <a:solidFill>
                  <a:srgbClr val="004876"/>
                </a:solidFill>
              </p:spPr>
              <p:txBody>
                <a:bodyPr wrap="square" lIns="0" tIns="0" rIns="0" bIns="0" rtlCol="0"/>
                <a:lstStyle/>
                <a:p>
                  <a:endParaRPr/>
                </a:p>
              </p:txBody>
            </p:sp>
            <p:pic>
              <p:nvPicPr>
                <p:cNvPr id="111" name="object 80">
                  <a:extLst>
                    <a:ext uri="{FF2B5EF4-FFF2-40B4-BE49-F238E27FC236}">
                      <a16:creationId xmlns:a16="http://schemas.microsoft.com/office/drawing/2014/main" id="{31C60AE8-A9DF-768D-1606-9F6016A3146F}"/>
                    </a:ext>
                  </a:extLst>
                </p:cNvPr>
                <p:cNvPicPr/>
                <p:nvPr/>
              </p:nvPicPr>
              <p:blipFill>
                <a:blip r:embed="rId53" cstate="print"/>
                <a:stretch>
                  <a:fillRect/>
                </a:stretch>
              </p:blipFill>
              <p:spPr>
                <a:xfrm>
                  <a:off x="731405" y="792861"/>
                  <a:ext cx="87160" cy="87680"/>
                </a:xfrm>
                <a:prstGeom prst="rect">
                  <a:avLst/>
                </a:prstGeom>
              </p:spPr>
            </p:pic>
            <p:pic>
              <p:nvPicPr>
                <p:cNvPr id="112" name="object 81">
                  <a:extLst>
                    <a:ext uri="{FF2B5EF4-FFF2-40B4-BE49-F238E27FC236}">
                      <a16:creationId xmlns:a16="http://schemas.microsoft.com/office/drawing/2014/main" id="{703EE02A-CD23-E51D-8028-62D04A357FC3}"/>
                    </a:ext>
                  </a:extLst>
                </p:cNvPr>
                <p:cNvPicPr/>
                <p:nvPr/>
              </p:nvPicPr>
              <p:blipFill>
                <a:blip r:embed="rId54" cstate="print"/>
                <a:stretch>
                  <a:fillRect/>
                </a:stretch>
              </p:blipFill>
              <p:spPr>
                <a:xfrm>
                  <a:off x="723835" y="785375"/>
                  <a:ext cx="102311" cy="102793"/>
                </a:xfrm>
                <a:prstGeom prst="rect">
                  <a:avLst/>
                </a:prstGeom>
              </p:spPr>
            </p:pic>
          </p:grpSp>
        </p:grpSp>
      </p:grpSp>
      <p:grpSp>
        <p:nvGrpSpPr>
          <p:cNvPr id="194" name="Group 193">
            <a:extLst>
              <a:ext uri="{FF2B5EF4-FFF2-40B4-BE49-F238E27FC236}">
                <a16:creationId xmlns:a16="http://schemas.microsoft.com/office/drawing/2014/main" id="{72556F90-D48D-D832-FB61-98399E4D474B}"/>
              </a:ext>
            </a:extLst>
          </p:cNvPr>
          <p:cNvGrpSpPr/>
          <p:nvPr/>
        </p:nvGrpSpPr>
        <p:grpSpPr>
          <a:xfrm>
            <a:off x="11462282" y="288899"/>
            <a:ext cx="506963" cy="506963"/>
            <a:chOff x="4922326" y="4454848"/>
            <a:chExt cx="725475" cy="725475"/>
          </a:xfrm>
        </p:grpSpPr>
        <p:sp>
          <p:nvSpPr>
            <p:cNvPr id="195" name="Oval 194">
              <a:extLst>
                <a:ext uri="{FF2B5EF4-FFF2-40B4-BE49-F238E27FC236}">
                  <a16:creationId xmlns:a16="http://schemas.microsoft.com/office/drawing/2014/main" id="{45F733B6-06B8-B190-9521-E14CDFC5BE1F}"/>
                </a:ext>
              </a:extLst>
            </p:cNvPr>
            <p:cNvSpPr/>
            <p:nvPr/>
          </p:nvSpPr>
          <p:spPr>
            <a:xfrm>
              <a:off x="4922326" y="4454848"/>
              <a:ext cx="725475" cy="725475"/>
            </a:xfrm>
            <a:prstGeom prst="ellipse">
              <a:avLst/>
            </a:prstGeom>
            <a:solidFill>
              <a:schemeClr val="bg1">
                <a:lumMod val="95000"/>
              </a:schemeClr>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a:ln>
                  <a:noFill/>
                </a:ln>
                <a:solidFill>
                  <a:schemeClr val="bg1"/>
                </a:solidFill>
                <a:latin typeface="Century Gothic" panose="020B0502020202020204" pitchFamily="34" charset="0"/>
              </a:endParaRPr>
            </a:p>
          </p:txBody>
        </p:sp>
        <p:grpSp>
          <p:nvGrpSpPr>
            <p:cNvPr id="196" name="object 2">
              <a:extLst>
                <a:ext uri="{FF2B5EF4-FFF2-40B4-BE49-F238E27FC236}">
                  <a16:creationId xmlns:a16="http://schemas.microsoft.com/office/drawing/2014/main" id="{87EFBAEA-022D-9ABE-A13F-A2B7786EF8EC}"/>
                </a:ext>
              </a:extLst>
            </p:cNvPr>
            <p:cNvGrpSpPr/>
            <p:nvPr/>
          </p:nvGrpSpPr>
          <p:grpSpPr>
            <a:xfrm>
              <a:off x="5100497" y="4595933"/>
              <a:ext cx="369133" cy="443304"/>
              <a:chOff x="8161240" y="7944367"/>
              <a:chExt cx="679450" cy="815975"/>
            </a:xfrm>
          </p:grpSpPr>
          <p:sp>
            <p:nvSpPr>
              <p:cNvPr id="197" name="object 3">
                <a:extLst>
                  <a:ext uri="{FF2B5EF4-FFF2-40B4-BE49-F238E27FC236}">
                    <a16:creationId xmlns:a16="http://schemas.microsoft.com/office/drawing/2014/main" id="{F7CF37DC-7481-4885-2AA7-F199009A7D59}"/>
                  </a:ext>
                </a:extLst>
              </p:cNvPr>
              <p:cNvSpPr/>
              <p:nvPr/>
            </p:nvSpPr>
            <p:spPr>
              <a:xfrm>
                <a:off x="8248916" y="8019110"/>
                <a:ext cx="591820" cy="741045"/>
              </a:xfrm>
              <a:custGeom>
                <a:avLst/>
                <a:gdLst/>
                <a:ahLst/>
                <a:cxnLst/>
                <a:rect l="l" t="t" r="r" b="b"/>
                <a:pathLst>
                  <a:path w="591820" h="741045">
                    <a:moveTo>
                      <a:pt x="486765" y="65062"/>
                    </a:moveTo>
                    <a:lnTo>
                      <a:pt x="486346" y="57759"/>
                    </a:lnTo>
                    <a:lnTo>
                      <a:pt x="483463" y="8407"/>
                    </a:lnTo>
                    <a:lnTo>
                      <a:pt x="482968" y="0"/>
                    </a:lnTo>
                    <a:lnTo>
                      <a:pt x="0" y="26784"/>
                    </a:lnTo>
                    <a:lnTo>
                      <a:pt x="37350" y="700100"/>
                    </a:lnTo>
                    <a:lnTo>
                      <a:pt x="65887" y="698715"/>
                    </a:lnTo>
                    <a:lnTo>
                      <a:pt x="65544" y="691730"/>
                    </a:lnTo>
                    <a:lnTo>
                      <a:pt x="65316" y="687095"/>
                    </a:lnTo>
                    <a:lnTo>
                      <a:pt x="64935" y="679132"/>
                    </a:lnTo>
                    <a:lnTo>
                      <a:pt x="64909" y="678713"/>
                    </a:lnTo>
                    <a:lnTo>
                      <a:pt x="56210" y="679132"/>
                    </a:lnTo>
                    <a:lnTo>
                      <a:pt x="21069" y="45618"/>
                    </a:lnTo>
                    <a:lnTo>
                      <a:pt x="464159" y="21069"/>
                    </a:lnTo>
                    <a:lnTo>
                      <a:pt x="466737" y="66217"/>
                    </a:lnTo>
                    <a:lnTo>
                      <a:pt x="486765" y="65062"/>
                    </a:lnTo>
                    <a:close/>
                  </a:path>
                  <a:path w="591820" h="741045">
                    <a:moveTo>
                      <a:pt x="551472" y="66382"/>
                    </a:moveTo>
                    <a:lnTo>
                      <a:pt x="543483" y="66382"/>
                    </a:lnTo>
                    <a:lnTo>
                      <a:pt x="543483" y="725131"/>
                    </a:lnTo>
                    <a:lnTo>
                      <a:pt x="543483" y="725512"/>
                    </a:lnTo>
                    <a:lnTo>
                      <a:pt x="539445" y="725512"/>
                    </a:lnTo>
                    <a:lnTo>
                      <a:pt x="539445" y="725131"/>
                    </a:lnTo>
                    <a:lnTo>
                      <a:pt x="543483" y="725131"/>
                    </a:lnTo>
                    <a:lnTo>
                      <a:pt x="543483" y="66382"/>
                    </a:lnTo>
                    <a:lnTo>
                      <a:pt x="535444" y="66382"/>
                    </a:lnTo>
                    <a:lnTo>
                      <a:pt x="535444" y="86702"/>
                    </a:lnTo>
                    <a:lnTo>
                      <a:pt x="531456" y="86728"/>
                    </a:lnTo>
                    <a:lnTo>
                      <a:pt x="531456" y="721144"/>
                    </a:lnTo>
                    <a:lnTo>
                      <a:pt x="535444" y="721144"/>
                    </a:lnTo>
                    <a:lnTo>
                      <a:pt x="535444" y="721702"/>
                    </a:lnTo>
                    <a:lnTo>
                      <a:pt x="87757" y="721702"/>
                    </a:lnTo>
                    <a:lnTo>
                      <a:pt x="87757" y="86702"/>
                    </a:lnTo>
                    <a:lnTo>
                      <a:pt x="535444" y="86702"/>
                    </a:lnTo>
                    <a:lnTo>
                      <a:pt x="535444" y="66382"/>
                    </a:lnTo>
                    <a:lnTo>
                      <a:pt x="67754" y="66382"/>
                    </a:lnTo>
                    <a:lnTo>
                      <a:pt x="67754" y="75272"/>
                    </a:lnTo>
                    <a:lnTo>
                      <a:pt x="67754" y="733132"/>
                    </a:lnTo>
                    <a:lnTo>
                      <a:pt x="67754" y="740752"/>
                    </a:lnTo>
                    <a:lnTo>
                      <a:pt x="551472" y="740752"/>
                    </a:lnTo>
                    <a:lnTo>
                      <a:pt x="551472" y="733183"/>
                    </a:lnTo>
                    <a:lnTo>
                      <a:pt x="551472" y="75272"/>
                    </a:lnTo>
                    <a:lnTo>
                      <a:pt x="551472" y="74714"/>
                    </a:lnTo>
                    <a:lnTo>
                      <a:pt x="551472" y="66382"/>
                    </a:lnTo>
                    <a:close/>
                  </a:path>
                  <a:path w="591820" h="741045">
                    <a:moveTo>
                      <a:pt x="591515" y="100190"/>
                    </a:moveTo>
                    <a:lnTo>
                      <a:pt x="553466" y="100190"/>
                    </a:lnTo>
                    <a:lnTo>
                      <a:pt x="553466" y="107810"/>
                    </a:lnTo>
                    <a:lnTo>
                      <a:pt x="553466" y="111620"/>
                    </a:lnTo>
                    <a:lnTo>
                      <a:pt x="553466" y="120510"/>
                    </a:lnTo>
                    <a:lnTo>
                      <a:pt x="571487" y="120510"/>
                    </a:lnTo>
                    <a:lnTo>
                      <a:pt x="571487" y="688200"/>
                    </a:lnTo>
                    <a:lnTo>
                      <a:pt x="553466" y="688200"/>
                    </a:lnTo>
                    <a:lnTo>
                      <a:pt x="553466" y="695820"/>
                    </a:lnTo>
                    <a:lnTo>
                      <a:pt x="553466" y="699630"/>
                    </a:lnTo>
                    <a:lnTo>
                      <a:pt x="553466" y="707250"/>
                    </a:lnTo>
                    <a:lnTo>
                      <a:pt x="591515" y="707250"/>
                    </a:lnTo>
                    <a:lnTo>
                      <a:pt x="591515" y="699706"/>
                    </a:lnTo>
                    <a:lnTo>
                      <a:pt x="591515" y="108178"/>
                    </a:lnTo>
                    <a:lnTo>
                      <a:pt x="587489" y="108178"/>
                    </a:lnTo>
                    <a:lnTo>
                      <a:pt x="587489" y="107810"/>
                    </a:lnTo>
                    <a:lnTo>
                      <a:pt x="591515" y="107810"/>
                    </a:lnTo>
                    <a:lnTo>
                      <a:pt x="591515" y="100190"/>
                    </a:lnTo>
                    <a:close/>
                  </a:path>
                </a:pathLst>
              </a:custGeom>
              <a:solidFill>
                <a:srgbClr val="004876"/>
              </a:solidFill>
            </p:spPr>
            <p:txBody>
              <a:bodyPr wrap="square" lIns="0" tIns="0" rIns="0" bIns="0" rtlCol="0"/>
              <a:lstStyle/>
              <a:p>
                <a:endParaRPr/>
              </a:p>
            </p:txBody>
          </p:sp>
          <p:pic>
            <p:nvPicPr>
              <p:cNvPr id="198" name="object 4">
                <a:extLst>
                  <a:ext uri="{FF2B5EF4-FFF2-40B4-BE49-F238E27FC236}">
                    <a16:creationId xmlns:a16="http://schemas.microsoft.com/office/drawing/2014/main" id="{554E4286-DEE0-F7A5-B753-3EFE13942081}"/>
                  </a:ext>
                </a:extLst>
              </p:cNvPr>
              <p:cNvPicPr/>
              <p:nvPr/>
            </p:nvPicPr>
            <p:blipFill>
              <a:blip r:embed="rId55" cstate="print"/>
              <a:stretch>
                <a:fillRect/>
              </a:stretch>
            </p:blipFill>
            <p:spPr>
              <a:xfrm>
                <a:off x="8576839" y="8551730"/>
                <a:ext cx="159664" cy="159677"/>
              </a:xfrm>
              <a:prstGeom prst="rect">
                <a:avLst/>
              </a:prstGeom>
            </p:spPr>
          </p:pic>
          <p:sp>
            <p:nvSpPr>
              <p:cNvPr id="199" name="object 5">
                <a:extLst>
                  <a:ext uri="{FF2B5EF4-FFF2-40B4-BE49-F238E27FC236}">
                    <a16:creationId xmlns:a16="http://schemas.microsoft.com/office/drawing/2014/main" id="{24E9009D-49F8-86AE-AA47-70099C56F73B}"/>
                  </a:ext>
                </a:extLst>
              </p:cNvPr>
              <p:cNvSpPr/>
              <p:nvPr/>
            </p:nvSpPr>
            <p:spPr>
              <a:xfrm>
                <a:off x="8386559" y="8162963"/>
                <a:ext cx="342900" cy="501650"/>
              </a:xfrm>
              <a:custGeom>
                <a:avLst/>
                <a:gdLst/>
                <a:ahLst/>
                <a:cxnLst/>
                <a:rect l="l" t="t" r="r" b="b"/>
                <a:pathLst>
                  <a:path w="342900" h="501650">
                    <a:moveTo>
                      <a:pt x="102908" y="481330"/>
                    </a:moveTo>
                    <a:lnTo>
                      <a:pt x="0" y="481330"/>
                    </a:lnTo>
                    <a:lnTo>
                      <a:pt x="0" y="490220"/>
                    </a:lnTo>
                    <a:lnTo>
                      <a:pt x="0" y="494030"/>
                    </a:lnTo>
                    <a:lnTo>
                      <a:pt x="0" y="501650"/>
                    </a:lnTo>
                    <a:lnTo>
                      <a:pt x="102908" y="501650"/>
                    </a:lnTo>
                    <a:lnTo>
                      <a:pt x="102908" y="494030"/>
                    </a:lnTo>
                    <a:lnTo>
                      <a:pt x="98907" y="494030"/>
                    </a:lnTo>
                    <a:lnTo>
                      <a:pt x="98907" y="493877"/>
                    </a:lnTo>
                    <a:lnTo>
                      <a:pt x="102908" y="493877"/>
                    </a:lnTo>
                    <a:lnTo>
                      <a:pt x="102908" y="490220"/>
                    </a:lnTo>
                    <a:lnTo>
                      <a:pt x="102908" y="489851"/>
                    </a:lnTo>
                    <a:lnTo>
                      <a:pt x="102908" y="481330"/>
                    </a:lnTo>
                    <a:close/>
                  </a:path>
                  <a:path w="342900" h="501650">
                    <a:moveTo>
                      <a:pt x="158369" y="388620"/>
                    </a:moveTo>
                    <a:lnTo>
                      <a:pt x="0" y="388620"/>
                    </a:lnTo>
                    <a:lnTo>
                      <a:pt x="0" y="396240"/>
                    </a:lnTo>
                    <a:lnTo>
                      <a:pt x="0" y="401320"/>
                    </a:lnTo>
                    <a:lnTo>
                      <a:pt x="0" y="408940"/>
                    </a:lnTo>
                    <a:lnTo>
                      <a:pt x="158369" y="408940"/>
                    </a:lnTo>
                    <a:lnTo>
                      <a:pt x="158369" y="401320"/>
                    </a:lnTo>
                    <a:lnTo>
                      <a:pt x="154368" y="401320"/>
                    </a:lnTo>
                    <a:lnTo>
                      <a:pt x="154368" y="400824"/>
                    </a:lnTo>
                    <a:lnTo>
                      <a:pt x="158369" y="400824"/>
                    </a:lnTo>
                    <a:lnTo>
                      <a:pt x="158369" y="396760"/>
                    </a:lnTo>
                    <a:lnTo>
                      <a:pt x="154368" y="396760"/>
                    </a:lnTo>
                    <a:lnTo>
                      <a:pt x="154368" y="396240"/>
                    </a:lnTo>
                    <a:lnTo>
                      <a:pt x="158369" y="396240"/>
                    </a:lnTo>
                    <a:lnTo>
                      <a:pt x="158369" y="388620"/>
                    </a:lnTo>
                    <a:close/>
                  </a:path>
                  <a:path w="342900" h="501650">
                    <a:moveTo>
                      <a:pt x="186677" y="0"/>
                    </a:moveTo>
                    <a:lnTo>
                      <a:pt x="84023" y="0"/>
                    </a:lnTo>
                    <a:lnTo>
                      <a:pt x="84023" y="8890"/>
                    </a:lnTo>
                    <a:lnTo>
                      <a:pt x="84023" y="12700"/>
                    </a:lnTo>
                    <a:lnTo>
                      <a:pt x="84023" y="20320"/>
                    </a:lnTo>
                    <a:lnTo>
                      <a:pt x="186677" y="20320"/>
                    </a:lnTo>
                    <a:lnTo>
                      <a:pt x="186677" y="12700"/>
                    </a:lnTo>
                    <a:lnTo>
                      <a:pt x="182689" y="12700"/>
                    </a:lnTo>
                    <a:lnTo>
                      <a:pt x="186677" y="12598"/>
                    </a:lnTo>
                    <a:lnTo>
                      <a:pt x="186677" y="8890"/>
                    </a:lnTo>
                    <a:lnTo>
                      <a:pt x="186677" y="8572"/>
                    </a:lnTo>
                    <a:lnTo>
                      <a:pt x="186677" y="0"/>
                    </a:lnTo>
                    <a:close/>
                  </a:path>
                  <a:path w="342900" h="501650">
                    <a:moveTo>
                      <a:pt x="242392" y="596"/>
                    </a:moveTo>
                    <a:lnTo>
                      <a:pt x="201574" y="596"/>
                    </a:lnTo>
                    <a:lnTo>
                      <a:pt x="201574" y="20586"/>
                    </a:lnTo>
                    <a:lnTo>
                      <a:pt x="242392" y="20586"/>
                    </a:lnTo>
                    <a:lnTo>
                      <a:pt x="242392" y="12598"/>
                    </a:lnTo>
                    <a:lnTo>
                      <a:pt x="242392" y="8572"/>
                    </a:lnTo>
                    <a:lnTo>
                      <a:pt x="242392" y="596"/>
                    </a:lnTo>
                    <a:close/>
                  </a:path>
                  <a:path w="342900" h="501650">
                    <a:moveTo>
                      <a:pt x="309753" y="231140"/>
                    </a:moveTo>
                    <a:lnTo>
                      <a:pt x="16002" y="231140"/>
                    </a:lnTo>
                    <a:lnTo>
                      <a:pt x="16002" y="238760"/>
                    </a:lnTo>
                    <a:lnTo>
                      <a:pt x="16002" y="242570"/>
                    </a:lnTo>
                    <a:lnTo>
                      <a:pt x="16002" y="251460"/>
                    </a:lnTo>
                    <a:lnTo>
                      <a:pt x="309753" y="251460"/>
                    </a:lnTo>
                    <a:lnTo>
                      <a:pt x="309753" y="243078"/>
                    </a:lnTo>
                    <a:lnTo>
                      <a:pt x="309753" y="242570"/>
                    </a:lnTo>
                    <a:lnTo>
                      <a:pt x="309753" y="239026"/>
                    </a:lnTo>
                    <a:lnTo>
                      <a:pt x="305765" y="239026"/>
                    </a:lnTo>
                    <a:lnTo>
                      <a:pt x="305765" y="238760"/>
                    </a:lnTo>
                    <a:lnTo>
                      <a:pt x="309753" y="238760"/>
                    </a:lnTo>
                    <a:lnTo>
                      <a:pt x="309753" y="231140"/>
                    </a:lnTo>
                    <a:close/>
                  </a:path>
                  <a:path w="342900" h="501650">
                    <a:moveTo>
                      <a:pt x="309753" y="173990"/>
                    </a:moveTo>
                    <a:lnTo>
                      <a:pt x="16002" y="173990"/>
                    </a:lnTo>
                    <a:lnTo>
                      <a:pt x="16002" y="181610"/>
                    </a:lnTo>
                    <a:lnTo>
                      <a:pt x="16002" y="185420"/>
                    </a:lnTo>
                    <a:lnTo>
                      <a:pt x="16002" y="193040"/>
                    </a:lnTo>
                    <a:lnTo>
                      <a:pt x="309753" y="193040"/>
                    </a:lnTo>
                    <a:lnTo>
                      <a:pt x="309753" y="185458"/>
                    </a:lnTo>
                    <a:lnTo>
                      <a:pt x="309753" y="181610"/>
                    </a:lnTo>
                    <a:lnTo>
                      <a:pt x="309753" y="181394"/>
                    </a:lnTo>
                    <a:lnTo>
                      <a:pt x="309753" y="173990"/>
                    </a:lnTo>
                    <a:close/>
                  </a:path>
                  <a:path w="342900" h="501650">
                    <a:moveTo>
                      <a:pt x="310400" y="58420"/>
                    </a:moveTo>
                    <a:lnTo>
                      <a:pt x="16002" y="58420"/>
                    </a:lnTo>
                    <a:lnTo>
                      <a:pt x="16002" y="66040"/>
                    </a:lnTo>
                    <a:lnTo>
                      <a:pt x="16002" y="69850"/>
                    </a:lnTo>
                    <a:lnTo>
                      <a:pt x="16002" y="78740"/>
                    </a:lnTo>
                    <a:lnTo>
                      <a:pt x="310400" y="78740"/>
                    </a:lnTo>
                    <a:lnTo>
                      <a:pt x="310400" y="70231"/>
                    </a:lnTo>
                    <a:lnTo>
                      <a:pt x="310400" y="69850"/>
                    </a:lnTo>
                    <a:lnTo>
                      <a:pt x="310400" y="66205"/>
                    </a:lnTo>
                    <a:lnTo>
                      <a:pt x="306362" y="66205"/>
                    </a:lnTo>
                    <a:lnTo>
                      <a:pt x="306362" y="66040"/>
                    </a:lnTo>
                    <a:lnTo>
                      <a:pt x="310400" y="66040"/>
                    </a:lnTo>
                    <a:lnTo>
                      <a:pt x="310400" y="58420"/>
                    </a:lnTo>
                    <a:close/>
                  </a:path>
                  <a:path w="342900" h="501650">
                    <a:moveTo>
                      <a:pt x="342506" y="288290"/>
                    </a:moveTo>
                    <a:lnTo>
                      <a:pt x="100774" y="288290"/>
                    </a:lnTo>
                    <a:lnTo>
                      <a:pt x="100774" y="297180"/>
                    </a:lnTo>
                    <a:lnTo>
                      <a:pt x="100774" y="300990"/>
                    </a:lnTo>
                    <a:lnTo>
                      <a:pt x="100774" y="308610"/>
                    </a:lnTo>
                    <a:lnTo>
                      <a:pt x="342506" y="308610"/>
                    </a:lnTo>
                    <a:lnTo>
                      <a:pt x="342506" y="300990"/>
                    </a:lnTo>
                    <a:lnTo>
                      <a:pt x="338480" y="300990"/>
                    </a:lnTo>
                    <a:lnTo>
                      <a:pt x="338480" y="300672"/>
                    </a:lnTo>
                    <a:lnTo>
                      <a:pt x="342506" y="300672"/>
                    </a:lnTo>
                    <a:lnTo>
                      <a:pt x="342506" y="297180"/>
                    </a:lnTo>
                    <a:lnTo>
                      <a:pt x="342506" y="296621"/>
                    </a:lnTo>
                    <a:lnTo>
                      <a:pt x="342506" y="288290"/>
                    </a:lnTo>
                    <a:close/>
                  </a:path>
                  <a:path w="342900" h="501650">
                    <a:moveTo>
                      <a:pt x="342506" y="115570"/>
                    </a:moveTo>
                    <a:lnTo>
                      <a:pt x="37020" y="115570"/>
                    </a:lnTo>
                    <a:lnTo>
                      <a:pt x="37020" y="123190"/>
                    </a:lnTo>
                    <a:lnTo>
                      <a:pt x="37020" y="128270"/>
                    </a:lnTo>
                    <a:lnTo>
                      <a:pt x="37020" y="135890"/>
                    </a:lnTo>
                    <a:lnTo>
                      <a:pt x="342506" y="135890"/>
                    </a:lnTo>
                    <a:lnTo>
                      <a:pt x="342506" y="128270"/>
                    </a:lnTo>
                    <a:lnTo>
                      <a:pt x="338518" y="128270"/>
                    </a:lnTo>
                    <a:lnTo>
                      <a:pt x="338518" y="127850"/>
                    </a:lnTo>
                    <a:lnTo>
                      <a:pt x="342506" y="127850"/>
                    </a:lnTo>
                    <a:lnTo>
                      <a:pt x="342506" y="123799"/>
                    </a:lnTo>
                    <a:lnTo>
                      <a:pt x="338518" y="123799"/>
                    </a:lnTo>
                    <a:lnTo>
                      <a:pt x="338518" y="123190"/>
                    </a:lnTo>
                    <a:lnTo>
                      <a:pt x="342506" y="123190"/>
                    </a:lnTo>
                    <a:lnTo>
                      <a:pt x="342506" y="115570"/>
                    </a:lnTo>
                    <a:close/>
                  </a:path>
                </a:pathLst>
              </a:custGeom>
              <a:solidFill>
                <a:srgbClr val="004876"/>
              </a:solidFill>
            </p:spPr>
            <p:txBody>
              <a:bodyPr wrap="square" lIns="0" tIns="0" rIns="0" bIns="0" rtlCol="0"/>
              <a:lstStyle/>
              <a:p>
                <a:endParaRPr/>
              </a:p>
            </p:txBody>
          </p:sp>
          <p:pic>
            <p:nvPicPr>
              <p:cNvPr id="200" name="object 6">
                <a:extLst>
                  <a:ext uri="{FF2B5EF4-FFF2-40B4-BE49-F238E27FC236}">
                    <a16:creationId xmlns:a16="http://schemas.microsoft.com/office/drawing/2014/main" id="{A86A303F-A559-CDFF-C6C6-725BE5D058B3}"/>
                  </a:ext>
                </a:extLst>
              </p:cNvPr>
              <p:cNvPicPr/>
              <p:nvPr/>
            </p:nvPicPr>
            <p:blipFill>
              <a:blip r:embed="rId56" cstate="print"/>
              <a:stretch>
                <a:fillRect/>
              </a:stretch>
            </p:blipFill>
            <p:spPr>
              <a:xfrm>
                <a:off x="8161240" y="7944367"/>
                <a:ext cx="110150" cy="116442"/>
              </a:xfrm>
              <a:prstGeom prst="rect">
                <a:avLst/>
              </a:prstGeom>
            </p:spPr>
          </p:pic>
        </p:grpSp>
      </p:grpSp>
      <p:sp>
        <p:nvSpPr>
          <p:cNvPr id="202" name="Oval 201">
            <a:extLst>
              <a:ext uri="{FF2B5EF4-FFF2-40B4-BE49-F238E27FC236}">
                <a16:creationId xmlns:a16="http://schemas.microsoft.com/office/drawing/2014/main" id="{E8B215DA-8967-B664-BF70-B705CE2CBBE0}"/>
              </a:ext>
            </a:extLst>
          </p:cNvPr>
          <p:cNvSpPr/>
          <p:nvPr/>
        </p:nvSpPr>
        <p:spPr>
          <a:xfrm>
            <a:off x="8030834" y="2576513"/>
            <a:ext cx="360845" cy="360845"/>
          </a:xfrm>
          <a:prstGeom prst="ellipse">
            <a:avLst/>
          </a:prstGeom>
          <a:solidFill>
            <a:schemeClr val="bg1">
              <a:lumMod val="95000"/>
            </a:schemeClr>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a:ln>
                <a:noFill/>
              </a:ln>
              <a:solidFill>
                <a:schemeClr val="bg1"/>
              </a:solidFill>
              <a:latin typeface="Century Gothic" panose="020B0502020202020204" pitchFamily="34" charset="0"/>
            </a:endParaRPr>
          </a:p>
        </p:txBody>
      </p:sp>
      <p:sp>
        <p:nvSpPr>
          <p:cNvPr id="201" name="TextBox 200">
            <a:extLst>
              <a:ext uri="{FF2B5EF4-FFF2-40B4-BE49-F238E27FC236}">
                <a16:creationId xmlns:a16="http://schemas.microsoft.com/office/drawing/2014/main" id="{0C1364C5-882B-AE49-707A-897ECBBF96B8}"/>
              </a:ext>
            </a:extLst>
          </p:cNvPr>
          <p:cNvSpPr txBox="1">
            <a:spLocks/>
          </p:cNvSpPr>
          <p:nvPr/>
        </p:nvSpPr>
        <p:spPr>
          <a:xfrm>
            <a:off x="8037307" y="2672297"/>
            <a:ext cx="347898" cy="169277"/>
          </a:xfrm>
          <a:prstGeom prst="rect">
            <a:avLst/>
          </a:prstGeom>
          <a:noFill/>
        </p:spPr>
        <p:txBody>
          <a:bodyPr wrap="square" lIns="0" tIns="0" rIns="0" bIns="0" rtlCol="0">
            <a:spAutoFit/>
          </a:bodyPr>
          <a:lstStyle/>
          <a:p>
            <a:pPr algn="ctr"/>
            <a:r>
              <a:rPr lang="en-GB" sz="1100" b="1" i="1">
                <a:solidFill>
                  <a:schemeClr val="accent1"/>
                </a:solidFill>
                <a:latin typeface="Century Gothic" panose="020B0502020202020204" pitchFamily="34" charset="0"/>
              </a:rPr>
              <a:t>3X</a:t>
            </a:r>
          </a:p>
        </p:txBody>
      </p:sp>
    </p:spTree>
    <p:extLst>
      <p:ext uri="{BB962C8B-B14F-4D97-AF65-F5344CB8AC3E}">
        <p14:creationId xmlns:p14="http://schemas.microsoft.com/office/powerpoint/2010/main" val="40274653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1EABC86-5A72-4793-82A5-A6A26A1B8109}"/>
              </a:ext>
            </a:extLst>
          </p:cNvPr>
          <p:cNvGraphicFramePr>
            <a:graphicFrameLocks noChangeAspect="1"/>
          </p:cNvGraphicFramePr>
          <p:nvPr>
            <p:custDataLst>
              <p:tags r:id="rId1"/>
            </p:custDataLst>
            <p:extLst>
              <p:ext uri="{D42A27DB-BD31-4B8C-83A1-F6EECF244321}">
                <p14:modId xmlns:p14="http://schemas.microsoft.com/office/powerpoint/2010/main" val="4934079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395" imgH="394" progId="TCLayout.ActiveDocument.1">
                  <p:embed/>
                </p:oleObj>
              </mc:Choice>
              <mc:Fallback>
                <p:oleObj name="think-cell Slide" r:id="rId17" imgW="395" imgH="394" progId="TCLayout.ActiveDocument.1">
                  <p:embed/>
                  <p:pic>
                    <p:nvPicPr>
                      <p:cNvPr id="7" name="Object 6" hidden="1">
                        <a:extLst>
                          <a:ext uri="{FF2B5EF4-FFF2-40B4-BE49-F238E27FC236}">
                            <a16:creationId xmlns:a16="http://schemas.microsoft.com/office/drawing/2014/main" id="{41EABC86-5A72-4793-82A5-A6A26A1B8109}"/>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95" name="Freeform: Shape 94">
            <a:extLst>
              <a:ext uri="{FF2B5EF4-FFF2-40B4-BE49-F238E27FC236}">
                <a16:creationId xmlns:a16="http://schemas.microsoft.com/office/drawing/2014/main" id="{D19489C9-8145-F0D5-5DD5-06FBAF3B3AF5}"/>
              </a:ext>
            </a:extLst>
          </p:cNvPr>
          <p:cNvSpPr/>
          <p:nvPr/>
        </p:nvSpPr>
        <p:spPr>
          <a:xfrm>
            <a:off x="4784726" y="1776412"/>
            <a:ext cx="2234536" cy="2603500"/>
          </a:xfrm>
          <a:custGeom>
            <a:avLst/>
            <a:gdLst>
              <a:gd name="connsiteX0" fmla="*/ 0 w 2652713"/>
              <a:gd name="connsiteY0" fmla="*/ 0 h 3810000"/>
              <a:gd name="connsiteX1" fmla="*/ 433388 w 2652713"/>
              <a:gd name="connsiteY1" fmla="*/ 1919287 h 3810000"/>
              <a:gd name="connsiteX2" fmla="*/ 1519238 w 2652713"/>
              <a:gd name="connsiteY2" fmla="*/ 3152775 h 3810000"/>
              <a:gd name="connsiteX3" fmla="*/ 2633663 w 2652713"/>
              <a:gd name="connsiteY3" fmla="*/ 3810000 h 3810000"/>
              <a:gd name="connsiteX4" fmla="*/ 2652713 w 2652713"/>
              <a:gd name="connsiteY4" fmla="*/ 3124200 h 3810000"/>
              <a:gd name="connsiteX5" fmla="*/ 1566863 w 2652713"/>
              <a:gd name="connsiteY5" fmla="*/ 2424112 h 3810000"/>
              <a:gd name="connsiteX6" fmla="*/ 452438 w 2652713"/>
              <a:gd name="connsiteY6" fmla="*/ 1319212 h 3810000"/>
              <a:gd name="connsiteX7" fmla="*/ 0 w 2652713"/>
              <a:gd name="connsiteY7" fmla="*/ 0 h 38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52713" h="3810000">
                <a:moveTo>
                  <a:pt x="0" y="0"/>
                </a:moveTo>
                <a:lnTo>
                  <a:pt x="433388" y="1919287"/>
                </a:lnTo>
                <a:lnTo>
                  <a:pt x="1519238" y="3152775"/>
                </a:lnTo>
                <a:lnTo>
                  <a:pt x="2633663" y="3810000"/>
                </a:lnTo>
                <a:lnTo>
                  <a:pt x="2652713" y="3124200"/>
                </a:lnTo>
                <a:lnTo>
                  <a:pt x="1566863" y="2424112"/>
                </a:lnTo>
                <a:lnTo>
                  <a:pt x="452438" y="1319212"/>
                </a:lnTo>
                <a:lnTo>
                  <a:pt x="0" y="0"/>
                </a:lnTo>
                <a:close/>
              </a:path>
            </a:pathLst>
          </a:custGeom>
          <a:solidFill>
            <a:srgbClr val="EDFFC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a:ln>
                <a:noFill/>
              </a:ln>
              <a:solidFill>
                <a:schemeClr val="bg1"/>
              </a:solidFill>
              <a:latin typeface="Century Gothic" panose="020B0502020202020204" pitchFamily="34" charset="0"/>
            </a:endParaRPr>
          </a:p>
        </p:txBody>
      </p:sp>
      <p:sp>
        <p:nvSpPr>
          <p:cNvPr id="94" name="Freeform: Shape 93">
            <a:extLst>
              <a:ext uri="{FF2B5EF4-FFF2-40B4-BE49-F238E27FC236}">
                <a16:creationId xmlns:a16="http://schemas.microsoft.com/office/drawing/2014/main" id="{31230233-1BDB-2634-5118-A96794BE4D9A}"/>
              </a:ext>
            </a:extLst>
          </p:cNvPr>
          <p:cNvSpPr/>
          <p:nvPr/>
        </p:nvSpPr>
        <p:spPr>
          <a:xfrm>
            <a:off x="4803776" y="1717675"/>
            <a:ext cx="2222500" cy="1860550"/>
          </a:xfrm>
          <a:custGeom>
            <a:avLst/>
            <a:gdLst>
              <a:gd name="connsiteX0" fmla="*/ 61913 w 2638425"/>
              <a:gd name="connsiteY0" fmla="*/ 214313 h 2724150"/>
              <a:gd name="connsiteX1" fmla="*/ 404813 w 2638425"/>
              <a:gd name="connsiteY1" fmla="*/ 1376363 h 2724150"/>
              <a:gd name="connsiteX2" fmla="*/ 1514475 w 2638425"/>
              <a:gd name="connsiteY2" fmla="*/ 2143125 h 2724150"/>
              <a:gd name="connsiteX3" fmla="*/ 2638425 w 2638425"/>
              <a:gd name="connsiteY3" fmla="*/ 2724150 h 2724150"/>
              <a:gd name="connsiteX4" fmla="*/ 2619375 w 2638425"/>
              <a:gd name="connsiteY4" fmla="*/ 1943100 h 2724150"/>
              <a:gd name="connsiteX5" fmla="*/ 1514475 w 2638425"/>
              <a:gd name="connsiteY5" fmla="*/ 1233488 h 2724150"/>
              <a:gd name="connsiteX6" fmla="*/ 414338 w 2638425"/>
              <a:gd name="connsiteY6" fmla="*/ 700088 h 2724150"/>
              <a:gd name="connsiteX7" fmla="*/ 0 w 2638425"/>
              <a:gd name="connsiteY7" fmla="*/ 0 h 2724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38425" h="2724150">
                <a:moveTo>
                  <a:pt x="61913" y="214313"/>
                </a:moveTo>
                <a:lnTo>
                  <a:pt x="404813" y="1376363"/>
                </a:lnTo>
                <a:lnTo>
                  <a:pt x="1514475" y="2143125"/>
                </a:lnTo>
                <a:lnTo>
                  <a:pt x="2638425" y="2724150"/>
                </a:lnTo>
                <a:lnTo>
                  <a:pt x="2619375" y="1943100"/>
                </a:lnTo>
                <a:lnTo>
                  <a:pt x="1514475" y="1233488"/>
                </a:lnTo>
                <a:lnTo>
                  <a:pt x="414338" y="700088"/>
                </a:lnTo>
                <a:lnTo>
                  <a:pt x="0" y="0"/>
                </a:lnTo>
              </a:path>
            </a:pathLst>
          </a:custGeom>
          <a:solidFill>
            <a:srgbClr val="FFF5CC"/>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Rectangle 8">
            <a:extLst>
              <a:ext uri="{FF2B5EF4-FFF2-40B4-BE49-F238E27FC236}">
                <a16:creationId xmlns:a16="http://schemas.microsoft.com/office/drawing/2014/main" id="{70F238B3-84FB-84C7-2D0B-D69BD7727C80}"/>
              </a:ext>
            </a:extLst>
          </p:cNvPr>
          <p:cNvSpPr/>
          <p:nvPr/>
        </p:nvSpPr>
        <p:spPr>
          <a:xfrm>
            <a:off x="203200" y="6248400"/>
            <a:ext cx="1259840" cy="589385"/>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US" sz="1400">
              <a:ln>
                <a:noFill/>
              </a:ln>
              <a:solidFill>
                <a:schemeClr val="bg1"/>
              </a:solidFill>
              <a:latin typeface="Century Gothic" panose="020B0502020202020204" pitchFamily="34" charset="0"/>
            </a:endParaRPr>
          </a:p>
        </p:txBody>
      </p:sp>
      <p:sp>
        <p:nvSpPr>
          <p:cNvPr id="2" name="Title 1">
            <a:extLst>
              <a:ext uri="{FF2B5EF4-FFF2-40B4-BE49-F238E27FC236}">
                <a16:creationId xmlns:a16="http://schemas.microsoft.com/office/drawing/2014/main" id="{84E13208-AA70-4116-9C35-A3E9EE4F8C77}"/>
              </a:ext>
            </a:extLst>
          </p:cNvPr>
          <p:cNvSpPr>
            <a:spLocks noGrp="1"/>
          </p:cNvSpPr>
          <p:nvPr>
            <p:ph type="title"/>
          </p:nvPr>
        </p:nvSpPr>
        <p:spPr>
          <a:xfrm>
            <a:off x="366779" y="179388"/>
            <a:ext cx="11677583" cy="708715"/>
          </a:xfrm>
        </p:spPr>
        <p:txBody>
          <a:bodyPr vert="horz"/>
          <a:lstStyle/>
          <a:p>
            <a:r>
              <a:rPr lang="en-GB" sz="2000"/>
              <a:t>This would put the world on track for 2°C</a:t>
            </a:r>
          </a:p>
        </p:txBody>
      </p:sp>
      <p:sp>
        <p:nvSpPr>
          <p:cNvPr id="4" name="Slide Number Placeholder 3">
            <a:extLst>
              <a:ext uri="{FF2B5EF4-FFF2-40B4-BE49-F238E27FC236}">
                <a16:creationId xmlns:a16="http://schemas.microsoft.com/office/drawing/2014/main" id="{5B2E696E-88B1-482D-B29E-10A2D5F7E884}"/>
              </a:ext>
            </a:extLst>
          </p:cNvPr>
          <p:cNvSpPr>
            <a:spLocks noGrp="1"/>
          </p:cNvSpPr>
          <p:nvPr>
            <p:ph type="sldNum" sz="quarter" idx="12"/>
          </p:nvPr>
        </p:nvSpPr>
        <p:spPr>
          <a:xfrm>
            <a:off x="11523663" y="6342890"/>
            <a:ext cx="506413" cy="374690"/>
          </a:xfrm>
        </p:spPr>
        <p:txBody>
          <a:bodyPr/>
          <a:lstStyle/>
          <a:p>
            <a:fld id="{ABB6D191-819E-455F-BC39-F2381519C0C1}" type="slidenum">
              <a:rPr lang="en-GB" sz="1100" noProof="0" smtClean="0"/>
              <a:pPr/>
              <a:t>16</a:t>
            </a:fld>
            <a:endParaRPr lang="en-GB" sz="1100" noProof="0"/>
          </a:p>
        </p:txBody>
      </p:sp>
      <p:sp>
        <p:nvSpPr>
          <p:cNvPr id="431" name="Footer Placeholder 3">
            <a:extLst>
              <a:ext uri="{FF2B5EF4-FFF2-40B4-BE49-F238E27FC236}">
                <a16:creationId xmlns:a16="http://schemas.microsoft.com/office/drawing/2014/main" id="{7EAE2B14-5C89-816D-62A1-2FCB9EFFFEFA}"/>
              </a:ext>
            </a:extLst>
          </p:cNvPr>
          <p:cNvSpPr txBox="1">
            <a:spLocks/>
          </p:cNvSpPr>
          <p:nvPr/>
        </p:nvSpPr>
        <p:spPr>
          <a:xfrm>
            <a:off x="366779" y="6151821"/>
            <a:ext cx="11677583" cy="605857"/>
          </a:xfrm>
          <a:prstGeom prst="rect">
            <a:avLst/>
          </a:prstGeom>
          <a:solidFill>
            <a:schemeClr val="bg1"/>
          </a:solidFill>
        </p:spPr>
        <p:txBody>
          <a:bodyPr lIns="0" tIns="0" rIns="0" bIns="0" anchor="b"/>
          <a:lstStyle>
            <a:defPPr>
              <a:defRPr lang="de-DE"/>
            </a:defPPr>
            <a:lvl1pPr marL="0" algn="l" defTabSz="914400" rtl="0" eaLnBrk="1" latinLnBrk="0" hangingPunct="1">
              <a:defRPr sz="900" kern="1200">
                <a:solidFill>
                  <a:schemeClr val="tx1"/>
                </a:solidFill>
                <a:latin typeface="Century Gothic" panose="020B0502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Notes: [</a:t>
            </a:r>
            <a:r>
              <a:rPr lang="en-US" err="1"/>
              <a:t>i</a:t>
            </a:r>
            <a:r>
              <a:rPr lang="en-US"/>
              <a:t>] Based on IPCC Working Group III Sixth Assessment Report scenario class c1 (limit warming to 1.5°C (&gt;50%) with no or limited overshoot). [ii] Based on IPCC Working Group III Sixth Assessment Report scenario class c3 (limit warming to 2°C (&gt;67%)). [iii] Range corresponds to range between tenth and ninetieth percentile, central line corresponds to median. </a:t>
            </a:r>
          </a:p>
          <a:p>
            <a:r>
              <a:rPr lang="en-US"/>
              <a:t>Sources: Systemiq analysis for the ETC based on [1] IPCC (2022), </a:t>
            </a:r>
            <a:r>
              <a:rPr lang="en-US" i="1"/>
              <a:t>Metadata Browser: Data for Figure SPM.5 - Summary for Policymakers of the WGIII Contribution to the IPCC AR6</a:t>
            </a:r>
            <a:r>
              <a:rPr lang="en-US"/>
              <a:t>, [2] UNEP (2023), </a:t>
            </a:r>
            <a:r>
              <a:rPr lang="en-US" i="1"/>
              <a:t>Emissions Gap Report: Broken Record.</a:t>
            </a:r>
          </a:p>
        </p:txBody>
      </p:sp>
      <p:sp>
        <p:nvSpPr>
          <p:cNvPr id="10" name="Rectangle 9">
            <a:extLst>
              <a:ext uri="{FF2B5EF4-FFF2-40B4-BE49-F238E27FC236}">
                <a16:creationId xmlns:a16="http://schemas.microsoft.com/office/drawing/2014/main" id="{8528CD1A-E219-8C40-772D-2F0CC7186B01}"/>
              </a:ext>
            </a:extLst>
          </p:cNvPr>
          <p:cNvSpPr>
            <a:spLocks/>
          </p:cNvSpPr>
          <p:nvPr/>
        </p:nvSpPr>
        <p:spPr>
          <a:xfrm>
            <a:off x="160338" y="919021"/>
            <a:ext cx="5499893" cy="4651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b" anchorCtr="0" forceAA="0" compatLnSpc="1">
            <a:prstTxWarp prst="textNoShape">
              <a:avLst/>
            </a:prstTxWarp>
            <a:noAutofit/>
          </a:bodyPr>
          <a:lstStyle/>
          <a:p>
            <a:r>
              <a:rPr lang="en-GB" sz="1401" b="1">
                <a:solidFill>
                  <a:schemeClr val="tx2"/>
                </a:solidFill>
                <a:latin typeface="Century Gothic" panose="020B0502020202020204" pitchFamily="34" charset="0"/>
              </a:rPr>
              <a:t>Global GHG emissions</a:t>
            </a:r>
            <a:endParaRPr lang="en-US" sz="1100" b="1">
              <a:solidFill>
                <a:schemeClr val="tx2"/>
              </a:solidFill>
              <a:latin typeface="Century Gothic" panose="020B0502020202020204" pitchFamily="34" charset="0"/>
            </a:endParaRPr>
          </a:p>
          <a:p>
            <a:r>
              <a:rPr lang="en-US" sz="1100">
                <a:solidFill>
                  <a:schemeClr val="bg1">
                    <a:lumMod val="50000"/>
                  </a:schemeClr>
                </a:solidFill>
                <a:latin typeface="Century Gothic" panose="020B0502020202020204" pitchFamily="34" charset="0"/>
              </a:rPr>
              <a:t>GtCO</a:t>
            </a:r>
            <a:r>
              <a:rPr lang="en-US" sz="1100" baseline="-25000">
                <a:solidFill>
                  <a:schemeClr val="bg1">
                    <a:lumMod val="50000"/>
                  </a:schemeClr>
                </a:solidFill>
                <a:latin typeface="Century Gothic" panose="020B0502020202020204" pitchFamily="34" charset="0"/>
              </a:rPr>
              <a:t>2</a:t>
            </a:r>
            <a:r>
              <a:rPr lang="en-US" sz="1100">
                <a:solidFill>
                  <a:schemeClr val="bg1">
                    <a:lumMod val="50000"/>
                  </a:schemeClr>
                </a:solidFill>
                <a:latin typeface="Century Gothic" panose="020B0502020202020204" pitchFamily="34" charset="0"/>
              </a:rPr>
              <a:t>e p.a. </a:t>
            </a:r>
          </a:p>
        </p:txBody>
      </p:sp>
      <p:cxnSp>
        <p:nvCxnSpPr>
          <p:cNvPr id="54" name="Straight Connector 53">
            <a:extLst>
              <a:ext uri="{FF2B5EF4-FFF2-40B4-BE49-F238E27FC236}">
                <a16:creationId xmlns:a16="http://schemas.microsoft.com/office/drawing/2014/main" id="{BEB63B41-1BF4-4994-DF5E-E2375D61CEDC}"/>
              </a:ext>
            </a:extLst>
          </p:cNvPr>
          <p:cNvCxnSpPr/>
          <p:nvPr>
            <p:custDataLst>
              <p:tags r:id="rId2"/>
            </p:custDataLst>
          </p:nvPr>
        </p:nvCxnSpPr>
        <p:spPr bwMode="gray">
          <a:xfrm>
            <a:off x="3028950" y="881063"/>
            <a:ext cx="160338" cy="0"/>
          </a:xfrm>
          <a:prstGeom prst="line">
            <a:avLst/>
          </a:prstGeom>
          <a:ln w="19050" cap="rnd" cmpd="sng" algn="ctr">
            <a:solidFill>
              <a:srgbClr val="000000"/>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5" name="Straight Connector 54">
            <a:extLst>
              <a:ext uri="{FF2B5EF4-FFF2-40B4-BE49-F238E27FC236}">
                <a16:creationId xmlns:a16="http://schemas.microsoft.com/office/drawing/2014/main" id="{7FE4E388-07F6-F29A-598A-1FA49803B695}"/>
              </a:ext>
            </a:extLst>
          </p:cNvPr>
          <p:cNvCxnSpPr/>
          <p:nvPr>
            <p:custDataLst>
              <p:tags r:id="rId3"/>
            </p:custDataLst>
          </p:nvPr>
        </p:nvCxnSpPr>
        <p:spPr bwMode="gray">
          <a:xfrm>
            <a:off x="3033713" y="1076325"/>
            <a:ext cx="150813" cy="0"/>
          </a:xfrm>
          <a:prstGeom prst="line">
            <a:avLst/>
          </a:prstGeom>
          <a:ln w="28575" cap="rnd" cmpd="sng" algn="ctr">
            <a:solidFill>
              <a:schemeClr val="accent4"/>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6" name="Straight Connector 55">
            <a:extLst>
              <a:ext uri="{FF2B5EF4-FFF2-40B4-BE49-F238E27FC236}">
                <a16:creationId xmlns:a16="http://schemas.microsoft.com/office/drawing/2014/main" id="{A9C927F5-ACC1-FCD5-E9E8-5630852B6384}"/>
              </a:ext>
            </a:extLst>
          </p:cNvPr>
          <p:cNvCxnSpPr/>
          <p:nvPr>
            <p:custDataLst>
              <p:tags r:id="rId4"/>
            </p:custDataLst>
          </p:nvPr>
        </p:nvCxnSpPr>
        <p:spPr bwMode="gray">
          <a:xfrm>
            <a:off x="3033713" y="1271588"/>
            <a:ext cx="150813" cy="0"/>
          </a:xfrm>
          <a:prstGeom prst="line">
            <a:avLst/>
          </a:prstGeom>
          <a:ln w="28575" cap="rnd" cmpd="sng" algn="ctr">
            <a:solidFill>
              <a:schemeClr val="accent5"/>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7" name="Straight Connector 56">
            <a:extLst>
              <a:ext uri="{FF2B5EF4-FFF2-40B4-BE49-F238E27FC236}">
                <a16:creationId xmlns:a16="http://schemas.microsoft.com/office/drawing/2014/main" id="{78F36FB3-9990-2C99-2816-2A8A076CA06E}"/>
              </a:ext>
            </a:extLst>
          </p:cNvPr>
          <p:cNvCxnSpPr/>
          <p:nvPr>
            <p:custDataLst>
              <p:tags r:id="rId5"/>
            </p:custDataLst>
          </p:nvPr>
        </p:nvCxnSpPr>
        <p:spPr bwMode="gray">
          <a:xfrm>
            <a:off x="5440363" y="881063"/>
            <a:ext cx="150813" cy="0"/>
          </a:xfrm>
          <a:prstGeom prst="line">
            <a:avLst/>
          </a:prstGeom>
          <a:ln w="28575" cap="rnd" cmpd="sng" algn="ctr">
            <a:solidFill>
              <a:srgbClr val="E59E6D"/>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8" name="Straight Connector 57">
            <a:extLst>
              <a:ext uri="{FF2B5EF4-FFF2-40B4-BE49-F238E27FC236}">
                <a16:creationId xmlns:a16="http://schemas.microsoft.com/office/drawing/2014/main" id="{5F9DCB7C-59A8-F16E-AAF9-EDDE13A5169C}"/>
              </a:ext>
            </a:extLst>
          </p:cNvPr>
          <p:cNvCxnSpPr/>
          <p:nvPr>
            <p:custDataLst>
              <p:tags r:id="rId6"/>
            </p:custDataLst>
          </p:nvPr>
        </p:nvCxnSpPr>
        <p:spPr bwMode="gray">
          <a:xfrm>
            <a:off x="5440363" y="1076325"/>
            <a:ext cx="150813" cy="0"/>
          </a:xfrm>
          <a:prstGeom prst="line">
            <a:avLst/>
          </a:prstGeom>
          <a:ln w="28575" cap="rnd" cmpd="sng" algn="ctr">
            <a:solidFill>
              <a:schemeClr val="accent3"/>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9" name="Straight Connector 58">
            <a:extLst>
              <a:ext uri="{FF2B5EF4-FFF2-40B4-BE49-F238E27FC236}">
                <a16:creationId xmlns:a16="http://schemas.microsoft.com/office/drawing/2014/main" id="{515873EB-336D-B24B-5A8F-04006C1CCFA5}"/>
              </a:ext>
            </a:extLst>
          </p:cNvPr>
          <p:cNvCxnSpPr/>
          <p:nvPr>
            <p:custDataLst>
              <p:tags r:id="rId7"/>
            </p:custDataLst>
          </p:nvPr>
        </p:nvCxnSpPr>
        <p:spPr bwMode="gray">
          <a:xfrm>
            <a:off x="5440363" y="1271588"/>
            <a:ext cx="150813" cy="0"/>
          </a:xfrm>
          <a:prstGeom prst="line">
            <a:avLst/>
          </a:prstGeom>
          <a:ln w="28575" cap="rnd" cmpd="sng" algn="ctr">
            <a:solidFill>
              <a:schemeClr val="accent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0" name="Text Placeholder 2">
            <a:extLst>
              <a:ext uri="{FF2B5EF4-FFF2-40B4-BE49-F238E27FC236}">
                <a16:creationId xmlns:a16="http://schemas.microsoft.com/office/drawing/2014/main" id="{BCE5E507-7D06-8D2E-6DEA-6E269AE124B9}"/>
              </a:ext>
            </a:extLst>
          </p:cNvPr>
          <p:cNvSpPr>
            <a:spLocks noGrp="1"/>
          </p:cNvSpPr>
          <p:nvPr>
            <p:custDataLst>
              <p:tags r:id="rId8"/>
            </p:custDataLst>
          </p:nvPr>
        </p:nvSpPr>
        <p:spPr bwMode="auto">
          <a:xfrm>
            <a:off x="3249613" y="822325"/>
            <a:ext cx="5937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2" indent="-180002" algn="l" defTabSz="914411" rtl="0" eaLnBrk="1" latinLnBrk="0" hangingPunct="1">
              <a:lnSpc>
                <a:spcPct val="90000"/>
              </a:lnSpc>
              <a:spcBef>
                <a:spcPts val="1001"/>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5" indent="-180002" algn="l" defTabSz="914411"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7" indent="-180002" algn="l" defTabSz="914411"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9" indent="-180002" algn="l" defTabSz="914411"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11" indent="-180002" algn="l" defTabSz="914411"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32"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838"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9044"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6249"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a:lstStyle>
          <a:p>
            <a:pPr marL="0" lvl="0" indent="0">
              <a:spcBef>
                <a:spcPct val="0"/>
              </a:spcBef>
              <a:spcAft>
                <a:spcPct val="0"/>
              </a:spcAft>
              <a:buNone/>
            </a:pPr>
            <a:fld id="{BF68820F-7DCB-4E29-8F48-E20FD34470DC}" type="datetime'''''''H''i''''s''t''ori''''c''''''''''''a''''''''l'''''''">
              <a:rPr lang="en-US" altLang="en-US" sz="1000" smtClean="0">
                <a:cs typeface="Inter" panose="020B0604020202020204" charset="0"/>
              </a:rPr>
              <a:pPr marL="0" lvl="0" indent="0">
                <a:spcBef>
                  <a:spcPct val="0"/>
                </a:spcBef>
                <a:spcAft>
                  <a:spcPct val="0"/>
                </a:spcAft>
                <a:buNone/>
              </a:pPr>
              <a:t>Historical</a:t>
            </a:fld>
            <a:r>
              <a:rPr lang="en-US" altLang="en-US" sz="1000" baseline="30000">
                <a:cs typeface="Inter" panose="020B0604020202020204" charset="0"/>
              </a:rPr>
              <a:t>1</a:t>
            </a:r>
            <a:endParaRPr lang="en-US" sz="1000" baseline="30000" noProof="0">
              <a:cs typeface="Inter" panose="020B0604020202020204" charset="0"/>
            </a:endParaRPr>
          </a:p>
        </p:txBody>
      </p:sp>
      <p:sp>
        <p:nvSpPr>
          <p:cNvPr id="61" name="Text Placeholder 2">
            <a:extLst>
              <a:ext uri="{FF2B5EF4-FFF2-40B4-BE49-F238E27FC236}">
                <a16:creationId xmlns:a16="http://schemas.microsoft.com/office/drawing/2014/main" id="{EF344034-BBFF-BABA-7A46-9729D13202C9}"/>
              </a:ext>
            </a:extLst>
          </p:cNvPr>
          <p:cNvSpPr>
            <a:spLocks noGrp="1"/>
          </p:cNvSpPr>
          <p:nvPr>
            <p:custDataLst>
              <p:tags r:id="rId9"/>
            </p:custDataLst>
          </p:nvPr>
        </p:nvSpPr>
        <p:spPr bwMode="auto">
          <a:xfrm>
            <a:off x="3249613" y="1017588"/>
            <a:ext cx="10033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2" indent="-180002" algn="l" defTabSz="914411" rtl="0" eaLnBrk="1" latinLnBrk="0" hangingPunct="1">
              <a:lnSpc>
                <a:spcPct val="90000"/>
              </a:lnSpc>
              <a:spcBef>
                <a:spcPts val="1001"/>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5" indent="-180002" algn="l" defTabSz="914411"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7" indent="-180002" algn="l" defTabSz="914411"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9" indent="-180002" algn="l" defTabSz="914411"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11" indent="-180002" algn="l" defTabSz="914411"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32"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838"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9044"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6249"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a:lstStyle>
          <a:p>
            <a:pPr marL="0" lvl="0" indent="0">
              <a:spcBef>
                <a:spcPct val="0"/>
              </a:spcBef>
              <a:spcAft>
                <a:spcPct val="0"/>
              </a:spcAft>
              <a:buNone/>
            </a:pPr>
            <a:r>
              <a:rPr lang="en-US" altLang="en-US" sz="1000">
                <a:cs typeface="Inter" panose="020B0604020202020204" charset="0"/>
              </a:rPr>
              <a:t>Current policies</a:t>
            </a:r>
            <a:r>
              <a:rPr lang="en-US" altLang="en-US" sz="1000" baseline="30000">
                <a:cs typeface="Inter" panose="020B0604020202020204" charset="0"/>
              </a:rPr>
              <a:t>2</a:t>
            </a:r>
            <a:endParaRPr lang="en-US" sz="1000" baseline="30000" noProof="0">
              <a:cs typeface="Inter" panose="020B0604020202020204" charset="0"/>
            </a:endParaRPr>
          </a:p>
        </p:txBody>
      </p:sp>
      <p:sp>
        <p:nvSpPr>
          <p:cNvPr id="62" name="Text Placeholder 2">
            <a:extLst>
              <a:ext uri="{FF2B5EF4-FFF2-40B4-BE49-F238E27FC236}">
                <a16:creationId xmlns:a16="http://schemas.microsoft.com/office/drawing/2014/main" id="{B7D8552D-A755-2793-6C63-CC8BA3696306}"/>
              </a:ext>
            </a:extLst>
          </p:cNvPr>
          <p:cNvSpPr>
            <a:spLocks noGrp="1"/>
          </p:cNvSpPr>
          <p:nvPr>
            <p:custDataLst>
              <p:tags r:id="rId10"/>
            </p:custDataLst>
          </p:nvPr>
        </p:nvSpPr>
        <p:spPr bwMode="auto">
          <a:xfrm>
            <a:off x="3249613" y="1212850"/>
            <a:ext cx="20748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2" indent="-180002" algn="l" defTabSz="914411" rtl="0" eaLnBrk="1" latinLnBrk="0" hangingPunct="1">
              <a:lnSpc>
                <a:spcPct val="90000"/>
              </a:lnSpc>
              <a:spcBef>
                <a:spcPts val="1001"/>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5" indent="-180002" algn="l" defTabSz="914411"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7" indent="-180002" algn="l" defTabSz="914411"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9" indent="-180002" algn="l" defTabSz="914411"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11" indent="-180002" algn="l" defTabSz="914411"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32"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838"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9044"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6249"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a:lstStyle>
          <a:p>
            <a:pPr marL="0" lvl="0" indent="0">
              <a:spcBef>
                <a:spcPct val="0"/>
              </a:spcBef>
              <a:spcAft>
                <a:spcPct val="0"/>
              </a:spcAft>
              <a:buNone/>
            </a:pPr>
            <a:r>
              <a:rPr lang="en-US" altLang="en-US" sz="1000">
                <a:cs typeface="Inter" panose="020B0604020202020204" charset="0"/>
              </a:rPr>
              <a:t>“NDCs 2.0” unconditional targets</a:t>
            </a:r>
            <a:r>
              <a:rPr lang="en-US" altLang="en-US" sz="1000" baseline="30000">
                <a:cs typeface="Inter" panose="020B0604020202020204" charset="0"/>
              </a:rPr>
              <a:t>2</a:t>
            </a:r>
            <a:endParaRPr lang="en-US" sz="1000" baseline="30000" noProof="0">
              <a:cs typeface="Inter" panose="020B0604020202020204" charset="0"/>
            </a:endParaRPr>
          </a:p>
        </p:txBody>
      </p:sp>
      <p:sp>
        <p:nvSpPr>
          <p:cNvPr id="63" name="Text Placeholder 2">
            <a:extLst>
              <a:ext uri="{FF2B5EF4-FFF2-40B4-BE49-F238E27FC236}">
                <a16:creationId xmlns:a16="http://schemas.microsoft.com/office/drawing/2014/main" id="{67B41AC7-5FAF-D304-A79E-D3DA8745F504}"/>
              </a:ext>
            </a:extLst>
          </p:cNvPr>
          <p:cNvSpPr>
            <a:spLocks noGrp="1"/>
          </p:cNvSpPr>
          <p:nvPr>
            <p:custDataLst>
              <p:tags r:id="rId11"/>
            </p:custDataLst>
          </p:nvPr>
        </p:nvSpPr>
        <p:spPr bwMode="auto">
          <a:xfrm>
            <a:off x="5656263" y="822325"/>
            <a:ext cx="13128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2" indent="-180002" algn="l" defTabSz="914411" rtl="0" eaLnBrk="1" latinLnBrk="0" hangingPunct="1">
              <a:lnSpc>
                <a:spcPct val="90000"/>
              </a:lnSpc>
              <a:spcBef>
                <a:spcPts val="1001"/>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5" indent="-180002" algn="l" defTabSz="914411"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7" indent="-180002" algn="l" defTabSz="914411"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9" indent="-180002" algn="l" defTabSz="914411"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11" indent="-180002" algn="l" defTabSz="914411"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32"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838"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9044"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6249"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a:lstStyle>
          <a:p>
            <a:pPr marL="0" lvl="0" indent="0">
              <a:spcBef>
                <a:spcPct val="0"/>
              </a:spcBef>
              <a:spcAft>
                <a:spcPct val="0"/>
              </a:spcAft>
              <a:buNone/>
            </a:pPr>
            <a:r>
              <a:rPr lang="en-US" altLang="en-US" sz="1000">
                <a:cs typeface="Inter" panose="020B0604020202020204" charset="0"/>
              </a:rPr>
              <a:t>“NDCs 2.0” all targets</a:t>
            </a:r>
            <a:endParaRPr lang="en-US" altLang="en-US" sz="1000" baseline="30000">
              <a:cs typeface="Inter" panose="020B0604020202020204" charset="0"/>
            </a:endParaRPr>
          </a:p>
        </p:txBody>
      </p:sp>
      <p:sp>
        <p:nvSpPr>
          <p:cNvPr id="64" name="Text Placeholder 2">
            <a:extLst>
              <a:ext uri="{FF2B5EF4-FFF2-40B4-BE49-F238E27FC236}">
                <a16:creationId xmlns:a16="http://schemas.microsoft.com/office/drawing/2014/main" id="{1709261E-9FA1-1825-9F1C-C05DF46675B8}"/>
              </a:ext>
            </a:extLst>
          </p:cNvPr>
          <p:cNvSpPr>
            <a:spLocks noGrp="1"/>
          </p:cNvSpPr>
          <p:nvPr>
            <p:custDataLst>
              <p:tags r:id="rId12"/>
            </p:custDataLst>
          </p:nvPr>
        </p:nvSpPr>
        <p:spPr bwMode="auto">
          <a:xfrm>
            <a:off x="5656263" y="1017588"/>
            <a:ext cx="984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2" indent="-180002" algn="l" defTabSz="914411" rtl="0" eaLnBrk="1" latinLnBrk="0" hangingPunct="1">
              <a:lnSpc>
                <a:spcPct val="90000"/>
              </a:lnSpc>
              <a:spcBef>
                <a:spcPts val="1001"/>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5" indent="-180002" algn="l" defTabSz="914411"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7" indent="-180002" algn="l" defTabSz="914411"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9" indent="-180002" algn="l" defTabSz="914411"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11" indent="-180002" algn="l" defTabSz="914411"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32"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838"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9044"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6249"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a:lstStyle>
          <a:p>
            <a:pPr marL="0" lvl="0" indent="0">
              <a:spcBef>
                <a:spcPct val="0"/>
              </a:spcBef>
              <a:spcAft>
                <a:spcPct val="0"/>
              </a:spcAft>
              <a:buNone/>
            </a:pPr>
            <a:r>
              <a:rPr lang="en-US" altLang="en-US" sz="1000">
                <a:cs typeface="Inter" panose="020B0604020202020204" charset="0"/>
              </a:rPr>
              <a:t>2</a:t>
            </a:r>
            <a:r>
              <a:rPr lang="en-US" sz="1000">
                <a:cs typeface="Inter" panose="020B0604020202020204" charset="0"/>
              </a:rPr>
              <a:t>°C Pathway</a:t>
            </a:r>
            <a:r>
              <a:rPr lang="en-US" sz="1000" baseline="30000">
                <a:cs typeface="Inter" panose="020B0604020202020204" charset="0"/>
              </a:rPr>
              <a:t>2,i,iii</a:t>
            </a:r>
            <a:endParaRPr lang="en-US" sz="1000" baseline="30000" noProof="0">
              <a:cs typeface="Inter" panose="020B0604020202020204" charset="0"/>
            </a:endParaRPr>
          </a:p>
        </p:txBody>
      </p:sp>
      <p:sp>
        <p:nvSpPr>
          <p:cNvPr id="65" name="Text Placeholder 2">
            <a:extLst>
              <a:ext uri="{FF2B5EF4-FFF2-40B4-BE49-F238E27FC236}">
                <a16:creationId xmlns:a16="http://schemas.microsoft.com/office/drawing/2014/main" id="{A43FE94B-B97F-1860-CD5A-6757C71366C2}"/>
              </a:ext>
            </a:extLst>
          </p:cNvPr>
          <p:cNvSpPr>
            <a:spLocks noGrp="1"/>
          </p:cNvSpPr>
          <p:nvPr>
            <p:custDataLst>
              <p:tags r:id="rId13"/>
            </p:custDataLst>
          </p:nvPr>
        </p:nvSpPr>
        <p:spPr bwMode="auto">
          <a:xfrm>
            <a:off x="5656263" y="1212850"/>
            <a:ext cx="11064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2" indent="-180002" algn="l" defTabSz="914411" rtl="0" eaLnBrk="1" latinLnBrk="0" hangingPunct="1">
              <a:lnSpc>
                <a:spcPct val="90000"/>
              </a:lnSpc>
              <a:spcBef>
                <a:spcPts val="1001"/>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5" indent="-180002" algn="l" defTabSz="914411"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7" indent="-180002" algn="l" defTabSz="914411"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9" indent="-180002" algn="l" defTabSz="914411"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11" indent="-180002" algn="l" defTabSz="914411"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32"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838"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9044"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6249"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a:lstStyle>
          <a:p>
            <a:pPr marL="0" lvl="0" indent="0">
              <a:spcBef>
                <a:spcPct val="0"/>
              </a:spcBef>
              <a:spcAft>
                <a:spcPct val="0"/>
              </a:spcAft>
              <a:buNone/>
            </a:pPr>
            <a:r>
              <a:rPr lang="en-US" altLang="en-US" sz="1000">
                <a:cs typeface="Inter" panose="020B0604020202020204" charset="0"/>
              </a:rPr>
              <a:t>1.5</a:t>
            </a:r>
            <a:r>
              <a:rPr lang="en-US" sz="1000">
                <a:cs typeface="Inter" panose="020B0604020202020204" charset="0"/>
              </a:rPr>
              <a:t>°C Pathway</a:t>
            </a:r>
            <a:r>
              <a:rPr lang="en-US" sz="1000" baseline="30000">
                <a:cs typeface="Inter" panose="020B0604020202020204" charset="0"/>
              </a:rPr>
              <a:t>2,ii,iii</a:t>
            </a:r>
            <a:endParaRPr lang="en-US" sz="1000" baseline="30000" noProof="0">
              <a:cs typeface="Inter" panose="020B0604020202020204" charset="0"/>
            </a:endParaRPr>
          </a:p>
        </p:txBody>
      </p:sp>
      <p:cxnSp>
        <p:nvCxnSpPr>
          <p:cNvPr id="410" name="Straight Connector 409">
            <a:extLst>
              <a:ext uri="{FF2B5EF4-FFF2-40B4-BE49-F238E27FC236}">
                <a16:creationId xmlns:a16="http://schemas.microsoft.com/office/drawing/2014/main" id="{4CBE8BA3-2BEB-6B68-7E60-FF706232311C}"/>
              </a:ext>
            </a:extLst>
          </p:cNvPr>
          <p:cNvCxnSpPr>
            <a:cxnSpLocks/>
          </p:cNvCxnSpPr>
          <p:nvPr/>
        </p:nvCxnSpPr>
        <p:spPr>
          <a:xfrm>
            <a:off x="7019262" y="4049713"/>
            <a:ext cx="4438013"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grpSp>
        <p:nvGrpSpPr>
          <p:cNvPr id="414" name="Group 413">
            <a:extLst>
              <a:ext uri="{FF2B5EF4-FFF2-40B4-BE49-F238E27FC236}">
                <a16:creationId xmlns:a16="http://schemas.microsoft.com/office/drawing/2014/main" id="{FB17A11E-C980-8580-7E8C-CB067C2219C1}"/>
              </a:ext>
            </a:extLst>
          </p:cNvPr>
          <p:cNvGrpSpPr/>
          <p:nvPr/>
        </p:nvGrpSpPr>
        <p:grpSpPr>
          <a:xfrm>
            <a:off x="10820082" y="288899"/>
            <a:ext cx="506963" cy="506963"/>
            <a:chOff x="4116364" y="2814323"/>
            <a:chExt cx="725475" cy="725475"/>
          </a:xfrm>
        </p:grpSpPr>
        <p:sp>
          <p:nvSpPr>
            <p:cNvPr id="415" name="Oval 414">
              <a:extLst>
                <a:ext uri="{FF2B5EF4-FFF2-40B4-BE49-F238E27FC236}">
                  <a16:creationId xmlns:a16="http://schemas.microsoft.com/office/drawing/2014/main" id="{D05D3C6D-72CD-F94E-5952-D898F86DB2B9}"/>
                </a:ext>
              </a:extLst>
            </p:cNvPr>
            <p:cNvSpPr/>
            <p:nvPr/>
          </p:nvSpPr>
          <p:spPr>
            <a:xfrm>
              <a:off x="4116364" y="2814323"/>
              <a:ext cx="725475" cy="725475"/>
            </a:xfrm>
            <a:prstGeom prst="ellipse">
              <a:avLst/>
            </a:prstGeom>
            <a:solidFill>
              <a:schemeClr val="bg1">
                <a:lumMod val="95000"/>
              </a:schemeClr>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a:ln>
                  <a:noFill/>
                </a:ln>
                <a:solidFill>
                  <a:schemeClr val="bg1"/>
                </a:solidFill>
                <a:latin typeface="Century Gothic" panose="020B0502020202020204" pitchFamily="34" charset="0"/>
              </a:endParaRPr>
            </a:p>
          </p:txBody>
        </p:sp>
        <p:grpSp>
          <p:nvGrpSpPr>
            <p:cNvPr id="416" name="object 595">
              <a:extLst>
                <a:ext uri="{FF2B5EF4-FFF2-40B4-BE49-F238E27FC236}">
                  <a16:creationId xmlns:a16="http://schemas.microsoft.com/office/drawing/2014/main" id="{F50B1D89-11C8-73EB-5EBB-B3CF7DFF6AF1}"/>
                </a:ext>
              </a:extLst>
            </p:cNvPr>
            <p:cNvGrpSpPr/>
            <p:nvPr/>
          </p:nvGrpSpPr>
          <p:grpSpPr>
            <a:xfrm>
              <a:off x="4229917" y="2943542"/>
              <a:ext cx="498369" cy="422891"/>
              <a:chOff x="592908" y="7980646"/>
              <a:chExt cx="876300" cy="743585"/>
            </a:xfrm>
          </p:grpSpPr>
          <p:sp>
            <p:nvSpPr>
              <p:cNvPr id="417" name="object 596">
                <a:extLst>
                  <a:ext uri="{FF2B5EF4-FFF2-40B4-BE49-F238E27FC236}">
                    <a16:creationId xmlns:a16="http://schemas.microsoft.com/office/drawing/2014/main" id="{E8775508-7FEE-07DB-D690-EA87FA13A861}"/>
                  </a:ext>
                </a:extLst>
              </p:cNvPr>
              <p:cNvSpPr/>
              <p:nvPr/>
            </p:nvSpPr>
            <p:spPr>
              <a:xfrm>
                <a:off x="592908" y="7980646"/>
                <a:ext cx="876300" cy="743585"/>
              </a:xfrm>
              <a:custGeom>
                <a:avLst/>
                <a:gdLst/>
                <a:ahLst/>
                <a:cxnLst/>
                <a:rect l="l" t="t" r="r" b="b"/>
                <a:pathLst>
                  <a:path w="876300" h="743584">
                    <a:moveTo>
                      <a:pt x="862864" y="743280"/>
                    </a:moveTo>
                    <a:lnTo>
                      <a:pt x="858519" y="743280"/>
                    </a:lnTo>
                    <a:lnTo>
                      <a:pt x="861009" y="743445"/>
                    </a:lnTo>
                    <a:lnTo>
                      <a:pt x="862864" y="743280"/>
                    </a:lnTo>
                    <a:close/>
                  </a:path>
                  <a:path w="876300" h="743584">
                    <a:moveTo>
                      <a:pt x="33502" y="716726"/>
                    </a:moveTo>
                    <a:lnTo>
                      <a:pt x="14604" y="716813"/>
                    </a:lnTo>
                    <a:lnTo>
                      <a:pt x="6476" y="716991"/>
                    </a:lnTo>
                    <a:lnTo>
                      <a:pt x="444" y="722579"/>
                    </a:lnTo>
                    <a:lnTo>
                      <a:pt x="0" y="737019"/>
                    </a:lnTo>
                    <a:lnTo>
                      <a:pt x="6197" y="742937"/>
                    </a:lnTo>
                    <a:lnTo>
                      <a:pt x="14668" y="743280"/>
                    </a:lnTo>
                    <a:lnTo>
                      <a:pt x="16357" y="743331"/>
                    </a:lnTo>
                    <a:lnTo>
                      <a:pt x="18110" y="743280"/>
                    </a:lnTo>
                    <a:lnTo>
                      <a:pt x="862864" y="743280"/>
                    </a:lnTo>
                    <a:lnTo>
                      <a:pt x="876236" y="723760"/>
                    </a:lnTo>
                    <a:lnTo>
                      <a:pt x="870712" y="717727"/>
                    </a:lnTo>
                    <a:lnTo>
                      <a:pt x="863650" y="716927"/>
                    </a:lnTo>
                    <a:lnTo>
                      <a:pt x="862330" y="716762"/>
                    </a:lnTo>
                    <a:lnTo>
                      <a:pt x="53200" y="716762"/>
                    </a:lnTo>
                    <a:lnTo>
                      <a:pt x="33502" y="716726"/>
                    </a:lnTo>
                    <a:close/>
                  </a:path>
                  <a:path w="876300" h="743584">
                    <a:moveTo>
                      <a:pt x="61264" y="263804"/>
                    </a:moveTo>
                    <a:lnTo>
                      <a:pt x="56870" y="270230"/>
                    </a:lnTo>
                    <a:lnTo>
                      <a:pt x="54444" y="273735"/>
                    </a:lnTo>
                    <a:lnTo>
                      <a:pt x="53365" y="278815"/>
                    </a:lnTo>
                    <a:lnTo>
                      <a:pt x="53322" y="324643"/>
                    </a:lnTo>
                    <a:lnTo>
                      <a:pt x="53200" y="716762"/>
                    </a:lnTo>
                    <a:lnTo>
                      <a:pt x="822693" y="716762"/>
                    </a:lnTo>
                    <a:lnTo>
                      <a:pt x="822528" y="716254"/>
                    </a:lnTo>
                    <a:lnTo>
                      <a:pt x="611898" y="716254"/>
                    </a:lnTo>
                    <a:lnTo>
                      <a:pt x="80060" y="716140"/>
                    </a:lnTo>
                    <a:lnTo>
                      <a:pt x="80060" y="305219"/>
                    </a:lnTo>
                    <a:lnTo>
                      <a:pt x="126384" y="305219"/>
                    </a:lnTo>
                    <a:lnTo>
                      <a:pt x="68491" y="263918"/>
                    </a:lnTo>
                    <a:lnTo>
                      <a:pt x="61264" y="263804"/>
                    </a:lnTo>
                    <a:close/>
                  </a:path>
                  <a:path w="876300" h="743584">
                    <a:moveTo>
                      <a:pt x="861009" y="716597"/>
                    </a:moveTo>
                    <a:lnTo>
                      <a:pt x="858291" y="716762"/>
                    </a:lnTo>
                    <a:lnTo>
                      <a:pt x="862330" y="716762"/>
                    </a:lnTo>
                    <a:lnTo>
                      <a:pt x="861009" y="716597"/>
                    </a:lnTo>
                    <a:close/>
                  </a:path>
                  <a:path w="876300" h="743584">
                    <a:moveTo>
                      <a:pt x="771052" y="27114"/>
                    </a:moveTo>
                    <a:lnTo>
                      <a:pt x="744550" y="27114"/>
                    </a:lnTo>
                    <a:lnTo>
                      <a:pt x="795324" y="716254"/>
                    </a:lnTo>
                    <a:lnTo>
                      <a:pt x="822528" y="716254"/>
                    </a:lnTo>
                    <a:lnTo>
                      <a:pt x="822236" y="715352"/>
                    </a:lnTo>
                    <a:lnTo>
                      <a:pt x="821905" y="714730"/>
                    </a:lnTo>
                    <a:lnTo>
                      <a:pt x="814401" y="614045"/>
                    </a:lnTo>
                    <a:lnTo>
                      <a:pt x="807008" y="514096"/>
                    </a:lnTo>
                    <a:lnTo>
                      <a:pt x="794766" y="345046"/>
                    </a:lnTo>
                    <a:lnTo>
                      <a:pt x="791597" y="302602"/>
                    </a:lnTo>
                    <a:lnTo>
                      <a:pt x="781951" y="175272"/>
                    </a:lnTo>
                    <a:lnTo>
                      <a:pt x="778976" y="135066"/>
                    </a:lnTo>
                    <a:lnTo>
                      <a:pt x="773084" y="54600"/>
                    </a:lnTo>
                    <a:lnTo>
                      <a:pt x="771052" y="27114"/>
                    </a:lnTo>
                    <a:close/>
                  </a:path>
                  <a:path w="876300" h="743584">
                    <a:moveTo>
                      <a:pt x="497370" y="304711"/>
                    </a:moveTo>
                    <a:lnTo>
                      <a:pt x="451434" y="304711"/>
                    </a:lnTo>
                    <a:lnTo>
                      <a:pt x="458891" y="309956"/>
                    </a:lnTo>
                    <a:lnTo>
                      <a:pt x="530113" y="360813"/>
                    </a:lnTo>
                    <a:lnTo>
                      <a:pt x="563431" y="384581"/>
                    </a:lnTo>
                    <a:lnTo>
                      <a:pt x="601624" y="411746"/>
                    </a:lnTo>
                    <a:lnTo>
                      <a:pt x="606031" y="414782"/>
                    </a:lnTo>
                    <a:lnTo>
                      <a:pt x="607275" y="417728"/>
                    </a:lnTo>
                    <a:lnTo>
                      <a:pt x="606783" y="424419"/>
                    </a:lnTo>
                    <a:lnTo>
                      <a:pt x="604415" y="455087"/>
                    </a:lnTo>
                    <a:lnTo>
                      <a:pt x="602060" y="487038"/>
                    </a:lnTo>
                    <a:lnTo>
                      <a:pt x="597458" y="550938"/>
                    </a:lnTo>
                    <a:lnTo>
                      <a:pt x="585266" y="716140"/>
                    </a:lnTo>
                    <a:lnTo>
                      <a:pt x="611907" y="716140"/>
                    </a:lnTo>
                    <a:lnTo>
                      <a:pt x="636386" y="384314"/>
                    </a:lnTo>
                    <a:lnTo>
                      <a:pt x="609409" y="384314"/>
                    </a:lnTo>
                    <a:lnTo>
                      <a:pt x="606374" y="382282"/>
                    </a:lnTo>
                    <a:lnTo>
                      <a:pt x="604342" y="381050"/>
                    </a:lnTo>
                    <a:lnTo>
                      <a:pt x="602424" y="379641"/>
                    </a:lnTo>
                    <a:lnTo>
                      <a:pt x="532095" y="329506"/>
                    </a:lnTo>
                    <a:lnTo>
                      <a:pt x="497370" y="304711"/>
                    </a:lnTo>
                    <a:close/>
                  </a:path>
                  <a:path w="876300" h="743584">
                    <a:moveTo>
                      <a:pt x="126384" y="305219"/>
                    </a:moveTo>
                    <a:lnTo>
                      <a:pt x="80060" y="305219"/>
                    </a:lnTo>
                    <a:lnTo>
                      <a:pt x="82880" y="307022"/>
                    </a:lnTo>
                    <a:lnTo>
                      <a:pt x="85077" y="308368"/>
                    </a:lnTo>
                    <a:lnTo>
                      <a:pt x="87172" y="309956"/>
                    </a:lnTo>
                    <a:lnTo>
                      <a:pt x="114663" y="329539"/>
                    </a:lnTo>
                    <a:lnTo>
                      <a:pt x="241934" y="420370"/>
                    </a:lnTo>
                    <a:lnTo>
                      <a:pt x="248775" y="423855"/>
                    </a:lnTo>
                    <a:lnTo>
                      <a:pt x="265574" y="385622"/>
                    </a:lnTo>
                    <a:lnTo>
                      <a:pt x="239052" y="385622"/>
                    </a:lnTo>
                    <a:lnTo>
                      <a:pt x="204278" y="360789"/>
                    </a:lnTo>
                    <a:lnTo>
                      <a:pt x="160354" y="329506"/>
                    </a:lnTo>
                    <a:lnTo>
                      <a:pt x="126384" y="305219"/>
                    </a:lnTo>
                    <a:close/>
                  </a:path>
                  <a:path w="876300" h="743584">
                    <a:moveTo>
                      <a:pt x="311942" y="304990"/>
                    </a:moveTo>
                    <a:lnTo>
                      <a:pt x="265582" y="304990"/>
                    </a:lnTo>
                    <a:lnTo>
                      <a:pt x="268681" y="307022"/>
                    </a:lnTo>
                    <a:lnTo>
                      <a:pt x="270941" y="308368"/>
                    </a:lnTo>
                    <a:lnTo>
                      <a:pt x="273113" y="309956"/>
                    </a:lnTo>
                    <a:lnTo>
                      <a:pt x="377643" y="384581"/>
                    </a:lnTo>
                    <a:lnTo>
                      <a:pt x="427786" y="420319"/>
                    </a:lnTo>
                    <a:lnTo>
                      <a:pt x="434594" y="423833"/>
                    </a:lnTo>
                    <a:lnTo>
                      <a:pt x="440810" y="424413"/>
                    </a:lnTo>
                    <a:lnTo>
                      <a:pt x="446074" y="422085"/>
                    </a:lnTo>
                    <a:lnTo>
                      <a:pt x="450024" y="416877"/>
                    </a:lnTo>
                    <a:lnTo>
                      <a:pt x="451205" y="414388"/>
                    </a:lnTo>
                    <a:lnTo>
                      <a:pt x="451344" y="411746"/>
                    </a:lnTo>
                    <a:lnTo>
                      <a:pt x="451427" y="385051"/>
                    </a:lnTo>
                    <a:lnTo>
                      <a:pt x="424459" y="385051"/>
                    </a:lnTo>
                    <a:lnTo>
                      <a:pt x="421474" y="383019"/>
                    </a:lnTo>
                    <a:lnTo>
                      <a:pt x="419277" y="381558"/>
                    </a:lnTo>
                    <a:lnTo>
                      <a:pt x="417067" y="380034"/>
                    </a:lnTo>
                    <a:lnTo>
                      <a:pt x="311942" y="304990"/>
                    </a:lnTo>
                    <a:close/>
                  </a:path>
                  <a:path w="876300" h="743584">
                    <a:moveTo>
                      <a:pt x="252488" y="263804"/>
                    </a:moveTo>
                    <a:lnTo>
                      <a:pt x="246621" y="266966"/>
                    </a:lnTo>
                    <a:lnTo>
                      <a:pt x="240690" y="270116"/>
                    </a:lnTo>
                    <a:lnTo>
                      <a:pt x="238959" y="275082"/>
                    </a:lnTo>
                    <a:lnTo>
                      <a:pt x="239052" y="385622"/>
                    </a:lnTo>
                    <a:lnTo>
                      <a:pt x="265574" y="385622"/>
                    </a:lnTo>
                    <a:lnTo>
                      <a:pt x="265582" y="304990"/>
                    </a:lnTo>
                    <a:lnTo>
                      <a:pt x="311942" y="304990"/>
                    </a:lnTo>
                    <a:lnTo>
                      <a:pt x="262305" y="269557"/>
                    </a:lnTo>
                    <a:lnTo>
                      <a:pt x="257454" y="266052"/>
                    </a:lnTo>
                    <a:lnTo>
                      <a:pt x="252488" y="263804"/>
                    </a:lnTo>
                    <a:close/>
                  </a:path>
                  <a:path w="876300" h="743584">
                    <a:moveTo>
                      <a:pt x="438403" y="263804"/>
                    </a:moveTo>
                    <a:lnTo>
                      <a:pt x="432405" y="266966"/>
                    </a:lnTo>
                    <a:lnTo>
                      <a:pt x="426605" y="270065"/>
                    </a:lnTo>
                    <a:lnTo>
                      <a:pt x="424802" y="275082"/>
                    </a:lnTo>
                    <a:lnTo>
                      <a:pt x="424853" y="379641"/>
                    </a:lnTo>
                    <a:lnTo>
                      <a:pt x="424679" y="381558"/>
                    </a:lnTo>
                    <a:lnTo>
                      <a:pt x="424459" y="385051"/>
                    </a:lnTo>
                    <a:lnTo>
                      <a:pt x="451427" y="385051"/>
                    </a:lnTo>
                    <a:lnTo>
                      <a:pt x="451434" y="304711"/>
                    </a:lnTo>
                    <a:lnTo>
                      <a:pt x="497370" y="304711"/>
                    </a:lnTo>
                    <a:lnTo>
                      <a:pt x="448150" y="269557"/>
                    </a:lnTo>
                    <a:lnTo>
                      <a:pt x="443369" y="266115"/>
                    </a:lnTo>
                    <a:lnTo>
                      <a:pt x="438403" y="263804"/>
                    </a:lnTo>
                    <a:close/>
                  </a:path>
                  <a:path w="876300" h="743584">
                    <a:moveTo>
                      <a:pt x="703473" y="0"/>
                    </a:moveTo>
                    <a:lnTo>
                      <a:pt x="642988" y="139"/>
                    </a:lnTo>
                    <a:lnTo>
                      <a:pt x="636054" y="30378"/>
                    </a:lnTo>
                    <a:lnTo>
                      <a:pt x="635431" y="38227"/>
                    </a:lnTo>
                    <a:lnTo>
                      <a:pt x="629057" y="122002"/>
                    </a:lnTo>
                    <a:lnTo>
                      <a:pt x="622731" y="205740"/>
                    </a:lnTo>
                    <a:lnTo>
                      <a:pt x="611725" y="357195"/>
                    </a:lnTo>
                    <a:lnTo>
                      <a:pt x="611249" y="363183"/>
                    </a:lnTo>
                    <a:lnTo>
                      <a:pt x="609409" y="384314"/>
                    </a:lnTo>
                    <a:lnTo>
                      <a:pt x="636386" y="384314"/>
                    </a:lnTo>
                    <a:lnTo>
                      <a:pt x="662736" y="27114"/>
                    </a:lnTo>
                    <a:lnTo>
                      <a:pt x="771052" y="27114"/>
                    </a:lnTo>
                    <a:lnTo>
                      <a:pt x="769429" y="5156"/>
                    </a:lnTo>
                    <a:lnTo>
                      <a:pt x="764120" y="139"/>
                    </a:lnTo>
                    <a:lnTo>
                      <a:pt x="703473" y="0"/>
                    </a:lnTo>
                    <a:close/>
                  </a:path>
                </a:pathLst>
              </a:custGeom>
              <a:solidFill>
                <a:srgbClr val="004876"/>
              </a:solidFill>
            </p:spPr>
            <p:txBody>
              <a:bodyPr wrap="square" lIns="0" tIns="0" rIns="0" bIns="0" rtlCol="0"/>
              <a:lstStyle/>
              <a:p>
                <a:endParaRPr/>
              </a:p>
            </p:txBody>
          </p:sp>
          <p:pic>
            <p:nvPicPr>
              <p:cNvPr id="418" name="object 597">
                <a:extLst>
                  <a:ext uri="{FF2B5EF4-FFF2-40B4-BE49-F238E27FC236}">
                    <a16:creationId xmlns:a16="http://schemas.microsoft.com/office/drawing/2014/main" id="{3E26C773-5686-775E-54C8-92A1971AA494}"/>
                  </a:ext>
                </a:extLst>
              </p:cNvPr>
              <p:cNvPicPr/>
              <p:nvPr/>
            </p:nvPicPr>
            <p:blipFill>
              <a:blip r:embed="rId19" cstate="print"/>
              <a:stretch>
                <a:fillRect/>
              </a:stretch>
            </p:blipFill>
            <p:spPr>
              <a:xfrm>
                <a:off x="672998" y="8007743"/>
                <a:ext cx="715263" cy="689152"/>
              </a:xfrm>
              <a:prstGeom prst="rect">
                <a:avLst/>
              </a:prstGeom>
            </p:spPr>
          </p:pic>
          <p:sp>
            <p:nvSpPr>
              <p:cNvPr id="419" name="object 598">
                <a:extLst>
                  <a:ext uri="{FF2B5EF4-FFF2-40B4-BE49-F238E27FC236}">
                    <a16:creationId xmlns:a16="http://schemas.microsoft.com/office/drawing/2014/main" id="{65ACA926-BE4A-819F-855F-D24FFF55F2C4}"/>
                  </a:ext>
                </a:extLst>
              </p:cNvPr>
              <p:cNvSpPr/>
              <p:nvPr/>
            </p:nvSpPr>
            <p:spPr>
              <a:xfrm>
                <a:off x="765568" y="8484882"/>
                <a:ext cx="332105" cy="133350"/>
              </a:xfrm>
              <a:custGeom>
                <a:avLst/>
                <a:gdLst/>
                <a:ahLst/>
                <a:cxnLst/>
                <a:rect l="l" t="t" r="r" b="b"/>
                <a:pathLst>
                  <a:path w="332105" h="133350">
                    <a:moveTo>
                      <a:pt x="66382" y="20307"/>
                    </a:moveTo>
                    <a:lnTo>
                      <a:pt x="66217" y="6362"/>
                    </a:lnTo>
                    <a:lnTo>
                      <a:pt x="60172" y="381"/>
                    </a:lnTo>
                    <a:lnTo>
                      <a:pt x="52222" y="215"/>
                    </a:lnTo>
                    <a:lnTo>
                      <a:pt x="33096" y="50"/>
                    </a:lnTo>
                    <a:lnTo>
                      <a:pt x="6007" y="381"/>
                    </a:lnTo>
                    <a:lnTo>
                      <a:pt x="38" y="6477"/>
                    </a:lnTo>
                    <a:lnTo>
                      <a:pt x="139" y="20701"/>
                    </a:lnTo>
                    <a:lnTo>
                      <a:pt x="6184" y="26390"/>
                    </a:lnTo>
                    <a:lnTo>
                      <a:pt x="20345" y="26898"/>
                    </a:lnTo>
                    <a:lnTo>
                      <a:pt x="26441" y="26733"/>
                    </a:lnTo>
                    <a:lnTo>
                      <a:pt x="32588" y="26733"/>
                    </a:lnTo>
                    <a:lnTo>
                      <a:pt x="50977" y="26733"/>
                    </a:lnTo>
                    <a:lnTo>
                      <a:pt x="60350" y="26111"/>
                    </a:lnTo>
                    <a:lnTo>
                      <a:pt x="66382" y="20307"/>
                    </a:lnTo>
                    <a:close/>
                  </a:path>
                  <a:path w="332105" h="133350">
                    <a:moveTo>
                      <a:pt x="66408" y="126695"/>
                    </a:moveTo>
                    <a:lnTo>
                      <a:pt x="66179" y="112483"/>
                    </a:lnTo>
                    <a:lnTo>
                      <a:pt x="60147" y="106553"/>
                    </a:lnTo>
                    <a:lnTo>
                      <a:pt x="42608" y="106286"/>
                    </a:lnTo>
                    <a:lnTo>
                      <a:pt x="23482" y="106286"/>
                    </a:lnTo>
                    <a:lnTo>
                      <a:pt x="5930" y="106616"/>
                    </a:lnTo>
                    <a:lnTo>
                      <a:pt x="0" y="112699"/>
                    </a:lnTo>
                    <a:lnTo>
                      <a:pt x="165" y="126923"/>
                    </a:lnTo>
                    <a:lnTo>
                      <a:pt x="6210" y="132562"/>
                    </a:lnTo>
                    <a:lnTo>
                      <a:pt x="20370" y="133070"/>
                    </a:lnTo>
                    <a:lnTo>
                      <a:pt x="26517" y="132905"/>
                    </a:lnTo>
                    <a:lnTo>
                      <a:pt x="32613" y="132905"/>
                    </a:lnTo>
                    <a:lnTo>
                      <a:pt x="51739" y="132905"/>
                    </a:lnTo>
                    <a:lnTo>
                      <a:pt x="60147" y="132448"/>
                    </a:lnTo>
                    <a:lnTo>
                      <a:pt x="66408" y="126695"/>
                    </a:lnTo>
                    <a:close/>
                  </a:path>
                  <a:path w="332105" h="133350">
                    <a:moveTo>
                      <a:pt x="199072" y="112649"/>
                    </a:moveTo>
                    <a:lnTo>
                      <a:pt x="192976" y="106616"/>
                    </a:lnTo>
                    <a:lnTo>
                      <a:pt x="165925" y="106222"/>
                    </a:lnTo>
                    <a:lnTo>
                      <a:pt x="138811" y="106553"/>
                    </a:lnTo>
                    <a:lnTo>
                      <a:pt x="132829" y="112598"/>
                    </a:lnTo>
                    <a:lnTo>
                      <a:pt x="132829" y="126758"/>
                    </a:lnTo>
                    <a:lnTo>
                      <a:pt x="138861" y="132511"/>
                    </a:lnTo>
                    <a:lnTo>
                      <a:pt x="152971" y="133070"/>
                    </a:lnTo>
                    <a:lnTo>
                      <a:pt x="159118" y="132905"/>
                    </a:lnTo>
                    <a:lnTo>
                      <a:pt x="165214" y="132905"/>
                    </a:lnTo>
                    <a:lnTo>
                      <a:pt x="185077" y="132905"/>
                    </a:lnTo>
                    <a:lnTo>
                      <a:pt x="192976" y="132346"/>
                    </a:lnTo>
                    <a:lnTo>
                      <a:pt x="199072" y="126644"/>
                    </a:lnTo>
                    <a:lnTo>
                      <a:pt x="199072" y="112649"/>
                    </a:lnTo>
                    <a:close/>
                  </a:path>
                  <a:path w="332105" h="133350">
                    <a:moveTo>
                      <a:pt x="199072" y="6540"/>
                    </a:moveTo>
                    <a:lnTo>
                      <a:pt x="193040" y="558"/>
                    </a:lnTo>
                    <a:lnTo>
                      <a:pt x="178765" y="0"/>
                    </a:lnTo>
                    <a:lnTo>
                      <a:pt x="172389" y="165"/>
                    </a:lnTo>
                    <a:lnTo>
                      <a:pt x="166014" y="165"/>
                    </a:lnTo>
                    <a:lnTo>
                      <a:pt x="159639" y="165"/>
                    </a:lnTo>
                    <a:lnTo>
                      <a:pt x="153263" y="0"/>
                    </a:lnTo>
                    <a:lnTo>
                      <a:pt x="138938" y="508"/>
                    </a:lnTo>
                    <a:lnTo>
                      <a:pt x="132892" y="6261"/>
                    </a:lnTo>
                    <a:lnTo>
                      <a:pt x="132778" y="20421"/>
                    </a:lnTo>
                    <a:lnTo>
                      <a:pt x="138760" y="26454"/>
                    </a:lnTo>
                    <a:lnTo>
                      <a:pt x="156311" y="26797"/>
                    </a:lnTo>
                    <a:lnTo>
                      <a:pt x="175412" y="26797"/>
                    </a:lnTo>
                    <a:lnTo>
                      <a:pt x="192989" y="26454"/>
                    </a:lnTo>
                    <a:lnTo>
                      <a:pt x="198970" y="20472"/>
                    </a:lnTo>
                    <a:lnTo>
                      <a:pt x="199072" y="6540"/>
                    </a:lnTo>
                    <a:close/>
                  </a:path>
                  <a:path w="332105" h="133350">
                    <a:moveTo>
                      <a:pt x="331825" y="20345"/>
                    </a:moveTo>
                    <a:lnTo>
                      <a:pt x="331774" y="6413"/>
                    </a:lnTo>
                    <a:lnTo>
                      <a:pt x="325678" y="381"/>
                    </a:lnTo>
                    <a:lnTo>
                      <a:pt x="317728" y="203"/>
                    </a:lnTo>
                    <a:lnTo>
                      <a:pt x="298589" y="50"/>
                    </a:lnTo>
                    <a:lnTo>
                      <a:pt x="271513" y="381"/>
                    </a:lnTo>
                    <a:lnTo>
                      <a:pt x="265531" y="6477"/>
                    </a:lnTo>
                    <a:lnTo>
                      <a:pt x="265645" y="20637"/>
                    </a:lnTo>
                    <a:lnTo>
                      <a:pt x="271627" y="26327"/>
                    </a:lnTo>
                    <a:lnTo>
                      <a:pt x="285788" y="26898"/>
                    </a:lnTo>
                    <a:lnTo>
                      <a:pt x="298030" y="26670"/>
                    </a:lnTo>
                    <a:lnTo>
                      <a:pt x="304634" y="26670"/>
                    </a:lnTo>
                    <a:lnTo>
                      <a:pt x="311238" y="26898"/>
                    </a:lnTo>
                    <a:lnTo>
                      <a:pt x="325793" y="26327"/>
                    </a:lnTo>
                    <a:lnTo>
                      <a:pt x="331825" y="20345"/>
                    </a:lnTo>
                    <a:close/>
                  </a:path>
                  <a:path w="332105" h="133350">
                    <a:moveTo>
                      <a:pt x="331889" y="126530"/>
                    </a:moveTo>
                    <a:lnTo>
                      <a:pt x="331774" y="112598"/>
                    </a:lnTo>
                    <a:lnTo>
                      <a:pt x="325678" y="106553"/>
                    </a:lnTo>
                    <a:lnTo>
                      <a:pt x="298589" y="106222"/>
                    </a:lnTo>
                    <a:lnTo>
                      <a:pt x="271513" y="106553"/>
                    </a:lnTo>
                    <a:lnTo>
                      <a:pt x="265531" y="112649"/>
                    </a:lnTo>
                    <a:lnTo>
                      <a:pt x="265645" y="126809"/>
                    </a:lnTo>
                    <a:lnTo>
                      <a:pt x="271627" y="132562"/>
                    </a:lnTo>
                    <a:lnTo>
                      <a:pt x="285788" y="133070"/>
                    </a:lnTo>
                    <a:lnTo>
                      <a:pt x="291884" y="132905"/>
                    </a:lnTo>
                    <a:lnTo>
                      <a:pt x="298030" y="132905"/>
                    </a:lnTo>
                    <a:lnTo>
                      <a:pt x="317893" y="132905"/>
                    </a:lnTo>
                    <a:lnTo>
                      <a:pt x="325793" y="132346"/>
                    </a:lnTo>
                    <a:lnTo>
                      <a:pt x="331889" y="126530"/>
                    </a:lnTo>
                    <a:close/>
                  </a:path>
                </a:pathLst>
              </a:custGeom>
              <a:solidFill>
                <a:srgbClr val="004876"/>
              </a:solidFill>
            </p:spPr>
            <p:txBody>
              <a:bodyPr wrap="square" lIns="0" tIns="0" rIns="0" bIns="0" rtlCol="0"/>
              <a:lstStyle/>
              <a:p>
                <a:endParaRPr/>
              </a:p>
            </p:txBody>
          </p:sp>
        </p:grpSp>
      </p:grpSp>
      <p:grpSp>
        <p:nvGrpSpPr>
          <p:cNvPr id="420" name="Group 419">
            <a:extLst>
              <a:ext uri="{FF2B5EF4-FFF2-40B4-BE49-F238E27FC236}">
                <a16:creationId xmlns:a16="http://schemas.microsoft.com/office/drawing/2014/main" id="{574CA891-6F21-167E-D916-3FDFDF4355EB}"/>
              </a:ext>
            </a:extLst>
          </p:cNvPr>
          <p:cNvGrpSpPr/>
          <p:nvPr/>
        </p:nvGrpSpPr>
        <p:grpSpPr>
          <a:xfrm>
            <a:off x="10177882" y="288899"/>
            <a:ext cx="506963" cy="506963"/>
            <a:chOff x="2106774" y="4511186"/>
            <a:chExt cx="976789" cy="976789"/>
          </a:xfrm>
        </p:grpSpPr>
        <p:sp>
          <p:nvSpPr>
            <p:cNvPr id="421" name="Oval 420">
              <a:extLst>
                <a:ext uri="{FF2B5EF4-FFF2-40B4-BE49-F238E27FC236}">
                  <a16:creationId xmlns:a16="http://schemas.microsoft.com/office/drawing/2014/main" id="{DD111990-9386-8AA2-8982-6952C223F74C}"/>
                </a:ext>
              </a:extLst>
            </p:cNvPr>
            <p:cNvSpPr/>
            <p:nvPr/>
          </p:nvSpPr>
          <p:spPr>
            <a:xfrm>
              <a:off x="2106774" y="4511186"/>
              <a:ext cx="976789" cy="976789"/>
            </a:xfrm>
            <a:prstGeom prst="ellipse">
              <a:avLst/>
            </a:prstGeom>
            <a:solidFill>
              <a:schemeClr val="bg1">
                <a:lumMod val="95000"/>
              </a:schemeClr>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a:ln>
                  <a:noFill/>
                </a:ln>
                <a:solidFill>
                  <a:schemeClr val="bg1"/>
                </a:solidFill>
                <a:latin typeface="Century Gothic" panose="020B0502020202020204" pitchFamily="34" charset="0"/>
              </a:endParaRPr>
            </a:p>
          </p:txBody>
        </p:sp>
        <p:grpSp>
          <p:nvGrpSpPr>
            <p:cNvPr id="422" name="Group 421">
              <a:extLst>
                <a:ext uri="{FF2B5EF4-FFF2-40B4-BE49-F238E27FC236}">
                  <a16:creationId xmlns:a16="http://schemas.microsoft.com/office/drawing/2014/main" id="{7BD1379D-5611-D168-46B9-0C1ACD0F182B}"/>
                </a:ext>
              </a:extLst>
            </p:cNvPr>
            <p:cNvGrpSpPr/>
            <p:nvPr/>
          </p:nvGrpSpPr>
          <p:grpSpPr>
            <a:xfrm>
              <a:off x="2320848" y="4725260"/>
              <a:ext cx="548640" cy="548640"/>
              <a:chOff x="566978" y="542842"/>
              <a:chExt cx="904113" cy="914891"/>
            </a:xfrm>
          </p:grpSpPr>
          <p:grpSp>
            <p:nvGrpSpPr>
              <p:cNvPr id="423" name="object 60">
                <a:extLst>
                  <a:ext uri="{FF2B5EF4-FFF2-40B4-BE49-F238E27FC236}">
                    <a16:creationId xmlns:a16="http://schemas.microsoft.com/office/drawing/2014/main" id="{01A26DCD-9330-0B3E-F129-F3339E8D00DC}"/>
                  </a:ext>
                </a:extLst>
              </p:cNvPr>
              <p:cNvGrpSpPr/>
              <p:nvPr/>
            </p:nvGrpSpPr>
            <p:grpSpPr>
              <a:xfrm>
                <a:off x="854377" y="1000533"/>
                <a:ext cx="569595" cy="457200"/>
                <a:chOff x="854377" y="1000533"/>
                <a:chExt cx="569595" cy="457200"/>
              </a:xfrm>
            </p:grpSpPr>
            <p:pic>
              <p:nvPicPr>
                <p:cNvPr id="444" name="object 61">
                  <a:extLst>
                    <a:ext uri="{FF2B5EF4-FFF2-40B4-BE49-F238E27FC236}">
                      <a16:creationId xmlns:a16="http://schemas.microsoft.com/office/drawing/2014/main" id="{1CEBD614-3B5D-4735-A799-EF160D940C55}"/>
                    </a:ext>
                  </a:extLst>
                </p:cNvPr>
                <p:cNvPicPr/>
                <p:nvPr/>
              </p:nvPicPr>
              <p:blipFill>
                <a:blip r:embed="rId20" cstate="print"/>
                <a:stretch>
                  <a:fillRect/>
                </a:stretch>
              </p:blipFill>
              <p:spPr>
                <a:xfrm>
                  <a:off x="862939" y="1007123"/>
                  <a:ext cx="554774" cy="441959"/>
                </a:xfrm>
                <a:prstGeom prst="rect">
                  <a:avLst/>
                </a:prstGeom>
              </p:spPr>
            </p:pic>
            <p:sp>
              <p:nvSpPr>
                <p:cNvPr id="445" name="object 62">
                  <a:extLst>
                    <a:ext uri="{FF2B5EF4-FFF2-40B4-BE49-F238E27FC236}">
                      <a16:creationId xmlns:a16="http://schemas.microsoft.com/office/drawing/2014/main" id="{F80E054E-FD10-CC82-658A-12830CE9492C}"/>
                    </a:ext>
                  </a:extLst>
                </p:cNvPr>
                <p:cNvSpPr/>
                <p:nvPr/>
              </p:nvSpPr>
              <p:spPr>
                <a:xfrm>
                  <a:off x="854377" y="1000533"/>
                  <a:ext cx="569595" cy="457200"/>
                </a:xfrm>
                <a:custGeom>
                  <a:avLst/>
                  <a:gdLst/>
                  <a:ahLst/>
                  <a:cxnLst/>
                  <a:rect l="l" t="t" r="r" b="b"/>
                  <a:pathLst>
                    <a:path w="569594" h="457200">
                      <a:moveTo>
                        <a:pt x="282549" y="358140"/>
                      </a:moveTo>
                      <a:lnTo>
                        <a:pt x="251840" y="358140"/>
                      </a:lnTo>
                      <a:lnTo>
                        <a:pt x="251790" y="363220"/>
                      </a:lnTo>
                      <a:lnTo>
                        <a:pt x="165468" y="378460"/>
                      </a:lnTo>
                      <a:lnTo>
                        <a:pt x="139192" y="383540"/>
                      </a:lnTo>
                      <a:lnTo>
                        <a:pt x="128092" y="386080"/>
                      </a:lnTo>
                      <a:lnTo>
                        <a:pt x="126314" y="393700"/>
                      </a:lnTo>
                      <a:lnTo>
                        <a:pt x="126085" y="397510"/>
                      </a:lnTo>
                      <a:lnTo>
                        <a:pt x="125463" y="405130"/>
                      </a:lnTo>
                      <a:lnTo>
                        <a:pt x="129793" y="411480"/>
                      </a:lnTo>
                      <a:lnTo>
                        <a:pt x="137706" y="412750"/>
                      </a:lnTo>
                      <a:lnTo>
                        <a:pt x="144775" y="415290"/>
                      </a:lnTo>
                      <a:lnTo>
                        <a:pt x="158960" y="419100"/>
                      </a:lnTo>
                      <a:lnTo>
                        <a:pt x="214667" y="435610"/>
                      </a:lnTo>
                      <a:lnTo>
                        <a:pt x="240744" y="441960"/>
                      </a:lnTo>
                      <a:lnTo>
                        <a:pt x="266826" y="449580"/>
                      </a:lnTo>
                      <a:lnTo>
                        <a:pt x="295402" y="457200"/>
                      </a:lnTo>
                      <a:lnTo>
                        <a:pt x="305015" y="457200"/>
                      </a:lnTo>
                      <a:lnTo>
                        <a:pt x="403618" y="427990"/>
                      </a:lnTo>
                      <a:lnTo>
                        <a:pt x="299605" y="427990"/>
                      </a:lnTo>
                      <a:lnTo>
                        <a:pt x="277368" y="421640"/>
                      </a:lnTo>
                      <a:lnTo>
                        <a:pt x="283540" y="419100"/>
                      </a:lnTo>
                      <a:lnTo>
                        <a:pt x="294096" y="414020"/>
                      </a:lnTo>
                      <a:lnTo>
                        <a:pt x="251040" y="414020"/>
                      </a:lnTo>
                      <a:lnTo>
                        <a:pt x="208064" y="401320"/>
                      </a:lnTo>
                      <a:lnTo>
                        <a:pt x="250786" y="393700"/>
                      </a:lnTo>
                      <a:lnTo>
                        <a:pt x="442100" y="393700"/>
                      </a:lnTo>
                      <a:lnTo>
                        <a:pt x="441998" y="392430"/>
                      </a:lnTo>
                      <a:lnTo>
                        <a:pt x="410777" y="386080"/>
                      </a:lnTo>
                      <a:lnTo>
                        <a:pt x="281571" y="386080"/>
                      </a:lnTo>
                      <a:lnTo>
                        <a:pt x="282549" y="358140"/>
                      </a:lnTo>
                      <a:close/>
                    </a:path>
                    <a:path w="569594" h="457200">
                      <a:moveTo>
                        <a:pt x="442407" y="397510"/>
                      </a:moveTo>
                      <a:lnTo>
                        <a:pt x="317601" y="397510"/>
                      </a:lnTo>
                      <a:lnTo>
                        <a:pt x="366585" y="407670"/>
                      </a:lnTo>
                      <a:lnTo>
                        <a:pt x="317390" y="422910"/>
                      </a:lnTo>
                      <a:lnTo>
                        <a:pt x="300990" y="426720"/>
                      </a:lnTo>
                      <a:lnTo>
                        <a:pt x="300761" y="427990"/>
                      </a:lnTo>
                      <a:lnTo>
                        <a:pt x="403618" y="427990"/>
                      </a:lnTo>
                      <a:lnTo>
                        <a:pt x="429856" y="420370"/>
                      </a:lnTo>
                      <a:lnTo>
                        <a:pt x="439153" y="416560"/>
                      </a:lnTo>
                      <a:lnTo>
                        <a:pt x="443534" y="411480"/>
                      </a:lnTo>
                      <a:lnTo>
                        <a:pt x="442407" y="397510"/>
                      </a:lnTo>
                      <a:close/>
                    </a:path>
                    <a:path w="569594" h="457200">
                      <a:moveTo>
                        <a:pt x="442100" y="393700"/>
                      </a:moveTo>
                      <a:lnTo>
                        <a:pt x="250786" y="393700"/>
                      </a:lnTo>
                      <a:lnTo>
                        <a:pt x="250363" y="405130"/>
                      </a:lnTo>
                      <a:lnTo>
                        <a:pt x="250240" y="408940"/>
                      </a:lnTo>
                      <a:lnTo>
                        <a:pt x="250469" y="411480"/>
                      </a:lnTo>
                      <a:lnTo>
                        <a:pt x="251040" y="414020"/>
                      </a:lnTo>
                      <a:lnTo>
                        <a:pt x="294096" y="414020"/>
                      </a:lnTo>
                      <a:lnTo>
                        <a:pt x="296735" y="412750"/>
                      </a:lnTo>
                      <a:lnTo>
                        <a:pt x="310908" y="407670"/>
                      </a:lnTo>
                      <a:lnTo>
                        <a:pt x="315645" y="403860"/>
                      </a:lnTo>
                      <a:lnTo>
                        <a:pt x="317601" y="397510"/>
                      </a:lnTo>
                      <a:lnTo>
                        <a:pt x="442407" y="397510"/>
                      </a:lnTo>
                      <a:lnTo>
                        <a:pt x="442100" y="393700"/>
                      </a:lnTo>
                      <a:close/>
                    </a:path>
                    <a:path w="569594" h="457200">
                      <a:moveTo>
                        <a:pt x="318663" y="351790"/>
                      </a:moveTo>
                      <a:lnTo>
                        <a:pt x="287985" y="351790"/>
                      </a:lnTo>
                      <a:lnTo>
                        <a:pt x="287921" y="383540"/>
                      </a:lnTo>
                      <a:lnTo>
                        <a:pt x="285838" y="384810"/>
                      </a:lnTo>
                      <a:lnTo>
                        <a:pt x="281571" y="386080"/>
                      </a:lnTo>
                      <a:lnTo>
                        <a:pt x="410777" y="386080"/>
                      </a:lnTo>
                      <a:lnTo>
                        <a:pt x="318668" y="367030"/>
                      </a:lnTo>
                      <a:lnTo>
                        <a:pt x="318663" y="351790"/>
                      </a:lnTo>
                      <a:close/>
                    </a:path>
                    <a:path w="569594" h="457200">
                      <a:moveTo>
                        <a:pt x="22059" y="0"/>
                      </a:moveTo>
                      <a:lnTo>
                        <a:pt x="15633" y="0"/>
                      </a:lnTo>
                      <a:lnTo>
                        <a:pt x="13766" y="1270"/>
                      </a:lnTo>
                      <a:lnTo>
                        <a:pt x="5359" y="2540"/>
                      </a:lnTo>
                      <a:lnTo>
                        <a:pt x="2870" y="7620"/>
                      </a:lnTo>
                      <a:lnTo>
                        <a:pt x="0" y="12700"/>
                      </a:lnTo>
                      <a:lnTo>
                        <a:pt x="1193" y="20320"/>
                      </a:lnTo>
                      <a:lnTo>
                        <a:pt x="4038" y="24130"/>
                      </a:lnTo>
                      <a:lnTo>
                        <a:pt x="9375" y="33020"/>
                      </a:lnTo>
                      <a:lnTo>
                        <a:pt x="14795" y="40640"/>
                      </a:lnTo>
                      <a:lnTo>
                        <a:pt x="25781" y="55880"/>
                      </a:lnTo>
                      <a:lnTo>
                        <a:pt x="201154" y="302260"/>
                      </a:lnTo>
                      <a:lnTo>
                        <a:pt x="234772" y="350520"/>
                      </a:lnTo>
                      <a:lnTo>
                        <a:pt x="241376" y="359410"/>
                      </a:lnTo>
                      <a:lnTo>
                        <a:pt x="251840" y="358140"/>
                      </a:lnTo>
                      <a:lnTo>
                        <a:pt x="282549" y="358140"/>
                      </a:lnTo>
                      <a:lnTo>
                        <a:pt x="282727" y="353060"/>
                      </a:lnTo>
                      <a:lnTo>
                        <a:pt x="287985" y="351790"/>
                      </a:lnTo>
                      <a:lnTo>
                        <a:pt x="318663" y="351790"/>
                      </a:lnTo>
                      <a:lnTo>
                        <a:pt x="318744" y="346710"/>
                      </a:lnTo>
                      <a:lnTo>
                        <a:pt x="440188" y="326390"/>
                      </a:lnTo>
                      <a:lnTo>
                        <a:pt x="255460" y="326390"/>
                      </a:lnTo>
                      <a:lnTo>
                        <a:pt x="248557" y="317500"/>
                      </a:lnTo>
                      <a:lnTo>
                        <a:pt x="241687" y="307340"/>
                      </a:lnTo>
                      <a:lnTo>
                        <a:pt x="227596" y="287020"/>
                      </a:lnTo>
                      <a:lnTo>
                        <a:pt x="294313" y="279400"/>
                      </a:lnTo>
                      <a:lnTo>
                        <a:pt x="315912" y="275590"/>
                      </a:lnTo>
                      <a:lnTo>
                        <a:pt x="355092" y="275590"/>
                      </a:lnTo>
                      <a:lnTo>
                        <a:pt x="351967" y="271780"/>
                      </a:lnTo>
                      <a:lnTo>
                        <a:pt x="420370" y="264160"/>
                      </a:lnTo>
                      <a:lnTo>
                        <a:pt x="463261" y="264160"/>
                      </a:lnTo>
                      <a:lnTo>
                        <a:pt x="459401" y="260350"/>
                      </a:lnTo>
                      <a:lnTo>
                        <a:pt x="207797" y="260350"/>
                      </a:lnTo>
                      <a:lnTo>
                        <a:pt x="202255" y="251460"/>
                      </a:lnTo>
                      <a:lnTo>
                        <a:pt x="191095" y="236220"/>
                      </a:lnTo>
                      <a:lnTo>
                        <a:pt x="169138" y="204470"/>
                      </a:lnTo>
                      <a:lnTo>
                        <a:pt x="174561" y="204470"/>
                      </a:lnTo>
                      <a:lnTo>
                        <a:pt x="214275" y="201930"/>
                      </a:lnTo>
                      <a:lnTo>
                        <a:pt x="234245" y="201930"/>
                      </a:lnTo>
                      <a:lnTo>
                        <a:pt x="254342" y="200660"/>
                      </a:lnTo>
                      <a:lnTo>
                        <a:pt x="293114" y="200660"/>
                      </a:lnTo>
                      <a:lnTo>
                        <a:pt x="291007" y="198120"/>
                      </a:lnTo>
                      <a:lnTo>
                        <a:pt x="323654" y="195580"/>
                      </a:lnTo>
                      <a:lnTo>
                        <a:pt x="339162" y="195580"/>
                      </a:lnTo>
                      <a:lnTo>
                        <a:pt x="354711" y="194310"/>
                      </a:lnTo>
                      <a:lnTo>
                        <a:pt x="396064" y="194310"/>
                      </a:lnTo>
                      <a:lnTo>
                        <a:pt x="393649" y="191770"/>
                      </a:lnTo>
                      <a:lnTo>
                        <a:pt x="400418" y="191770"/>
                      </a:lnTo>
                      <a:lnTo>
                        <a:pt x="407390" y="190500"/>
                      </a:lnTo>
                      <a:lnTo>
                        <a:pt x="423875" y="187960"/>
                      </a:lnTo>
                      <a:lnTo>
                        <a:pt x="467627" y="187960"/>
                      </a:lnTo>
                      <a:lnTo>
                        <a:pt x="455735" y="176530"/>
                      </a:lnTo>
                      <a:lnTo>
                        <a:pt x="148551" y="176530"/>
                      </a:lnTo>
                      <a:lnTo>
                        <a:pt x="140137" y="163830"/>
                      </a:lnTo>
                      <a:lnTo>
                        <a:pt x="131732" y="152400"/>
                      </a:lnTo>
                      <a:lnTo>
                        <a:pt x="114807" y="128270"/>
                      </a:lnTo>
                      <a:lnTo>
                        <a:pt x="405631" y="128270"/>
                      </a:lnTo>
                      <a:lnTo>
                        <a:pt x="376668" y="100330"/>
                      </a:lnTo>
                      <a:lnTo>
                        <a:pt x="306463" y="100330"/>
                      </a:lnTo>
                      <a:lnTo>
                        <a:pt x="306095" y="99060"/>
                      </a:lnTo>
                      <a:lnTo>
                        <a:pt x="210489" y="99060"/>
                      </a:lnTo>
                      <a:lnTo>
                        <a:pt x="209413" y="97790"/>
                      </a:lnTo>
                      <a:lnTo>
                        <a:pt x="92506" y="97790"/>
                      </a:lnTo>
                      <a:lnTo>
                        <a:pt x="83223" y="83820"/>
                      </a:lnTo>
                      <a:lnTo>
                        <a:pt x="64590" y="58420"/>
                      </a:lnTo>
                      <a:lnTo>
                        <a:pt x="49021" y="35560"/>
                      </a:lnTo>
                      <a:lnTo>
                        <a:pt x="227866" y="35560"/>
                      </a:lnTo>
                      <a:lnTo>
                        <a:pt x="22059" y="0"/>
                      </a:lnTo>
                      <a:close/>
                    </a:path>
                    <a:path w="569594" h="457200">
                      <a:moveTo>
                        <a:pt x="355092" y="275590"/>
                      </a:moveTo>
                      <a:lnTo>
                        <a:pt x="315912" y="275590"/>
                      </a:lnTo>
                      <a:lnTo>
                        <a:pt x="319023" y="279400"/>
                      </a:lnTo>
                      <a:lnTo>
                        <a:pt x="324840" y="287020"/>
                      </a:lnTo>
                      <a:lnTo>
                        <a:pt x="345046" y="311150"/>
                      </a:lnTo>
                      <a:lnTo>
                        <a:pt x="282378" y="322580"/>
                      </a:lnTo>
                      <a:lnTo>
                        <a:pt x="268889" y="323850"/>
                      </a:lnTo>
                      <a:lnTo>
                        <a:pt x="255460" y="326390"/>
                      </a:lnTo>
                      <a:lnTo>
                        <a:pt x="440188" y="326390"/>
                      </a:lnTo>
                      <a:lnTo>
                        <a:pt x="552272" y="307340"/>
                      </a:lnTo>
                      <a:lnTo>
                        <a:pt x="554393" y="306070"/>
                      </a:lnTo>
                      <a:lnTo>
                        <a:pt x="562190" y="304800"/>
                      </a:lnTo>
                      <a:lnTo>
                        <a:pt x="379564" y="304800"/>
                      </a:lnTo>
                      <a:lnTo>
                        <a:pt x="374697" y="299720"/>
                      </a:lnTo>
                      <a:lnTo>
                        <a:pt x="369874" y="293370"/>
                      </a:lnTo>
                      <a:lnTo>
                        <a:pt x="360298" y="281940"/>
                      </a:lnTo>
                      <a:lnTo>
                        <a:pt x="355092" y="275590"/>
                      </a:lnTo>
                      <a:close/>
                    </a:path>
                    <a:path w="569594" h="457200">
                      <a:moveTo>
                        <a:pt x="463261" y="264160"/>
                      </a:moveTo>
                      <a:lnTo>
                        <a:pt x="420370" y="264160"/>
                      </a:lnTo>
                      <a:lnTo>
                        <a:pt x="449275" y="293370"/>
                      </a:lnTo>
                      <a:lnTo>
                        <a:pt x="414158" y="299720"/>
                      </a:lnTo>
                      <a:lnTo>
                        <a:pt x="379564" y="304800"/>
                      </a:lnTo>
                      <a:lnTo>
                        <a:pt x="562190" y="304800"/>
                      </a:lnTo>
                      <a:lnTo>
                        <a:pt x="566458" y="300990"/>
                      </a:lnTo>
                      <a:lnTo>
                        <a:pt x="569417" y="290830"/>
                      </a:lnTo>
                      <a:lnTo>
                        <a:pt x="568853" y="288290"/>
                      </a:lnTo>
                      <a:lnTo>
                        <a:pt x="487426" y="288290"/>
                      </a:lnTo>
                      <a:lnTo>
                        <a:pt x="483400" y="287020"/>
                      </a:lnTo>
                      <a:lnTo>
                        <a:pt x="477761" y="279400"/>
                      </a:lnTo>
                      <a:lnTo>
                        <a:pt x="473093" y="274320"/>
                      </a:lnTo>
                      <a:lnTo>
                        <a:pt x="468256" y="269240"/>
                      </a:lnTo>
                      <a:lnTo>
                        <a:pt x="463261" y="264160"/>
                      </a:lnTo>
                      <a:close/>
                    </a:path>
                    <a:path w="569594" h="457200">
                      <a:moveTo>
                        <a:pt x="536338" y="254000"/>
                      </a:moveTo>
                      <a:lnTo>
                        <a:pt x="493267" y="254000"/>
                      </a:lnTo>
                      <a:lnTo>
                        <a:pt x="521106" y="281940"/>
                      </a:lnTo>
                      <a:lnTo>
                        <a:pt x="514635" y="281940"/>
                      </a:lnTo>
                      <a:lnTo>
                        <a:pt x="495147" y="285750"/>
                      </a:lnTo>
                      <a:lnTo>
                        <a:pt x="487426" y="288290"/>
                      </a:lnTo>
                      <a:lnTo>
                        <a:pt x="568853" y="288290"/>
                      </a:lnTo>
                      <a:lnTo>
                        <a:pt x="568007" y="284480"/>
                      </a:lnTo>
                      <a:lnTo>
                        <a:pt x="561174" y="278130"/>
                      </a:lnTo>
                      <a:lnTo>
                        <a:pt x="554837" y="271780"/>
                      </a:lnTo>
                      <a:lnTo>
                        <a:pt x="536338" y="254000"/>
                      </a:lnTo>
                      <a:close/>
                    </a:path>
                    <a:path w="569594" h="457200">
                      <a:moveTo>
                        <a:pt x="293114" y="200660"/>
                      </a:moveTo>
                      <a:lnTo>
                        <a:pt x="254342" y="200660"/>
                      </a:lnTo>
                      <a:lnTo>
                        <a:pt x="260829" y="208280"/>
                      </a:lnTo>
                      <a:lnTo>
                        <a:pt x="267268" y="217170"/>
                      </a:lnTo>
                      <a:lnTo>
                        <a:pt x="293700" y="248920"/>
                      </a:lnTo>
                      <a:lnTo>
                        <a:pt x="256451" y="254000"/>
                      </a:lnTo>
                      <a:lnTo>
                        <a:pt x="240225" y="255270"/>
                      </a:lnTo>
                      <a:lnTo>
                        <a:pt x="207797" y="260350"/>
                      </a:lnTo>
                      <a:lnTo>
                        <a:pt x="459401" y="260350"/>
                      </a:lnTo>
                      <a:lnTo>
                        <a:pt x="458114" y="259080"/>
                      </a:lnTo>
                      <a:lnTo>
                        <a:pt x="493267" y="254000"/>
                      </a:lnTo>
                      <a:lnTo>
                        <a:pt x="536338" y="254000"/>
                      </a:lnTo>
                      <a:lnTo>
                        <a:pt x="525767" y="243840"/>
                      </a:lnTo>
                      <a:lnTo>
                        <a:pt x="329387" y="243840"/>
                      </a:lnTo>
                      <a:lnTo>
                        <a:pt x="326288" y="241300"/>
                      </a:lnTo>
                      <a:lnTo>
                        <a:pt x="320497" y="233680"/>
                      </a:lnTo>
                      <a:lnTo>
                        <a:pt x="293114" y="200660"/>
                      </a:lnTo>
                      <a:close/>
                    </a:path>
                    <a:path w="569594" h="457200">
                      <a:moveTo>
                        <a:pt x="396064" y="194310"/>
                      </a:moveTo>
                      <a:lnTo>
                        <a:pt x="354711" y="194310"/>
                      </a:lnTo>
                      <a:lnTo>
                        <a:pt x="363766" y="204470"/>
                      </a:lnTo>
                      <a:lnTo>
                        <a:pt x="372787" y="213360"/>
                      </a:lnTo>
                      <a:lnTo>
                        <a:pt x="394589" y="236220"/>
                      </a:lnTo>
                      <a:lnTo>
                        <a:pt x="361556" y="240030"/>
                      </a:lnTo>
                      <a:lnTo>
                        <a:pt x="345322" y="242570"/>
                      </a:lnTo>
                      <a:lnTo>
                        <a:pt x="329387" y="243840"/>
                      </a:lnTo>
                      <a:lnTo>
                        <a:pt x="525767" y="243840"/>
                      </a:lnTo>
                      <a:lnTo>
                        <a:pt x="512554" y="231140"/>
                      </a:lnTo>
                      <a:lnTo>
                        <a:pt x="431228" y="231140"/>
                      </a:lnTo>
                      <a:lnTo>
                        <a:pt x="420216" y="219710"/>
                      </a:lnTo>
                      <a:lnTo>
                        <a:pt x="396064" y="194310"/>
                      </a:lnTo>
                      <a:close/>
                    </a:path>
                    <a:path w="569594" h="457200">
                      <a:moveTo>
                        <a:pt x="467627" y="187960"/>
                      </a:moveTo>
                      <a:lnTo>
                        <a:pt x="423875" y="187960"/>
                      </a:lnTo>
                      <a:lnTo>
                        <a:pt x="429298" y="190500"/>
                      </a:lnTo>
                      <a:lnTo>
                        <a:pt x="433616" y="196850"/>
                      </a:lnTo>
                      <a:lnTo>
                        <a:pt x="465416" y="227330"/>
                      </a:lnTo>
                      <a:lnTo>
                        <a:pt x="448395" y="229870"/>
                      </a:lnTo>
                      <a:lnTo>
                        <a:pt x="440498" y="231140"/>
                      </a:lnTo>
                      <a:lnTo>
                        <a:pt x="512554" y="231140"/>
                      </a:lnTo>
                      <a:lnTo>
                        <a:pt x="467627" y="187960"/>
                      </a:lnTo>
                      <a:close/>
                    </a:path>
                    <a:path w="569594" h="457200">
                      <a:moveTo>
                        <a:pt x="235254" y="129540"/>
                      </a:moveTo>
                      <a:lnTo>
                        <a:pt x="195961" y="129540"/>
                      </a:lnTo>
                      <a:lnTo>
                        <a:pt x="202566" y="138430"/>
                      </a:lnTo>
                      <a:lnTo>
                        <a:pt x="222199" y="161290"/>
                      </a:lnTo>
                      <a:lnTo>
                        <a:pt x="229958" y="171450"/>
                      </a:lnTo>
                      <a:lnTo>
                        <a:pt x="218897" y="171450"/>
                      </a:lnTo>
                      <a:lnTo>
                        <a:pt x="148551" y="176530"/>
                      </a:lnTo>
                      <a:lnTo>
                        <a:pt x="455735" y="176530"/>
                      </a:lnTo>
                      <a:lnTo>
                        <a:pt x="447807" y="168910"/>
                      </a:lnTo>
                      <a:lnTo>
                        <a:pt x="267398" y="168910"/>
                      </a:lnTo>
                      <a:lnTo>
                        <a:pt x="261630" y="161290"/>
                      </a:lnTo>
                      <a:lnTo>
                        <a:pt x="255914" y="154940"/>
                      </a:lnTo>
                      <a:lnTo>
                        <a:pt x="235254" y="129540"/>
                      </a:lnTo>
                      <a:close/>
                    </a:path>
                    <a:path w="569594" h="457200">
                      <a:moveTo>
                        <a:pt x="335927" y="130810"/>
                      </a:moveTo>
                      <a:lnTo>
                        <a:pt x="293827" y="130810"/>
                      </a:lnTo>
                      <a:lnTo>
                        <a:pt x="298399" y="135890"/>
                      </a:lnTo>
                      <a:lnTo>
                        <a:pt x="326796" y="165100"/>
                      </a:lnTo>
                      <a:lnTo>
                        <a:pt x="296521" y="167640"/>
                      </a:lnTo>
                      <a:lnTo>
                        <a:pt x="281810" y="167640"/>
                      </a:lnTo>
                      <a:lnTo>
                        <a:pt x="267398" y="168910"/>
                      </a:lnTo>
                      <a:lnTo>
                        <a:pt x="447807" y="168910"/>
                      </a:lnTo>
                      <a:lnTo>
                        <a:pt x="441200" y="162560"/>
                      </a:lnTo>
                      <a:lnTo>
                        <a:pt x="365925" y="162560"/>
                      </a:lnTo>
                      <a:lnTo>
                        <a:pt x="365620" y="161290"/>
                      </a:lnTo>
                      <a:lnTo>
                        <a:pt x="345967" y="142240"/>
                      </a:lnTo>
                      <a:lnTo>
                        <a:pt x="335927" y="130810"/>
                      </a:lnTo>
                      <a:close/>
                    </a:path>
                    <a:path w="569594" h="457200">
                      <a:moveTo>
                        <a:pt x="405631" y="128270"/>
                      </a:moveTo>
                      <a:lnTo>
                        <a:pt x="135176" y="128270"/>
                      </a:lnTo>
                      <a:lnTo>
                        <a:pt x="155513" y="129540"/>
                      </a:lnTo>
                      <a:lnTo>
                        <a:pt x="362381" y="129540"/>
                      </a:lnTo>
                      <a:lnTo>
                        <a:pt x="369176" y="132080"/>
                      </a:lnTo>
                      <a:lnTo>
                        <a:pt x="374472" y="139700"/>
                      </a:lnTo>
                      <a:lnTo>
                        <a:pt x="375602" y="140970"/>
                      </a:lnTo>
                      <a:lnTo>
                        <a:pt x="378688" y="143510"/>
                      </a:lnTo>
                      <a:lnTo>
                        <a:pt x="379018" y="143510"/>
                      </a:lnTo>
                      <a:lnTo>
                        <a:pt x="394538" y="161290"/>
                      </a:lnTo>
                      <a:lnTo>
                        <a:pt x="387758" y="161290"/>
                      </a:lnTo>
                      <a:lnTo>
                        <a:pt x="380982" y="162560"/>
                      </a:lnTo>
                      <a:lnTo>
                        <a:pt x="441200" y="162560"/>
                      </a:lnTo>
                      <a:lnTo>
                        <a:pt x="405631" y="128270"/>
                      </a:lnTo>
                      <a:close/>
                    </a:path>
                    <a:path w="569594" h="457200">
                      <a:moveTo>
                        <a:pt x="362381" y="129540"/>
                      </a:moveTo>
                      <a:lnTo>
                        <a:pt x="265023" y="129540"/>
                      </a:lnTo>
                      <a:lnTo>
                        <a:pt x="279438" y="130810"/>
                      </a:lnTo>
                      <a:lnTo>
                        <a:pt x="346532" y="130810"/>
                      </a:lnTo>
                      <a:lnTo>
                        <a:pt x="362381" y="129540"/>
                      </a:lnTo>
                      <a:close/>
                    </a:path>
                    <a:path w="569594" h="457200">
                      <a:moveTo>
                        <a:pt x="351645" y="76200"/>
                      </a:moveTo>
                      <a:lnTo>
                        <a:pt x="283222" y="76200"/>
                      </a:lnTo>
                      <a:lnTo>
                        <a:pt x="313588" y="81280"/>
                      </a:lnTo>
                      <a:lnTo>
                        <a:pt x="323454" y="90170"/>
                      </a:lnTo>
                      <a:lnTo>
                        <a:pt x="333349" y="100330"/>
                      </a:lnTo>
                      <a:lnTo>
                        <a:pt x="376668" y="100330"/>
                      </a:lnTo>
                      <a:lnTo>
                        <a:pt x="351645" y="76200"/>
                      </a:lnTo>
                      <a:close/>
                    </a:path>
                    <a:path w="569594" h="457200">
                      <a:moveTo>
                        <a:pt x="331168" y="57150"/>
                      </a:moveTo>
                      <a:lnTo>
                        <a:pt x="176009" y="57150"/>
                      </a:lnTo>
                      <a:lnTo>
                        <a:pt x="232575" y="67310"/>
                      </a:lnTo>
                      <a:lnTo>
                        <a:pt x="233210" y="67310"/>
                      </a:lnTo>
                      <a:lnTo>
                        <a:pt x="233946" y="68580"/>
                      </a:lnTo>
                      <a:lnTo>
                        <a:pt x="263829" y="99060"/>
                      </a:lnTo>
                      <a:lnTo>
                        <a:pt x="306095" y="99060"/>
                      </a:lnTo>
                      <a:lnTo>
                        <a:pt x="283222" y="76200"/>
                      </a:lnTo>
                      <a:lnTo>
                        <a:pt x="351645" y="76200"/>
                      </a:lnTo>
                      <a:lnTo>
                        <a:pt x="346341" y="71120"/>
                      </a:lnTo>
                      <a:lnTo>
                        <a:pt x="343204" y="68580"/>
                      </a:lnTo>
                      <a:lnTo>
                        <a:pt x="340525" y="64770"/>
                      </a:lnTo>
                      <a:lnTo>
                        <a:pt x="333642" y="58420"/>
                      </a:lnTo>
                      <a:lnTo>
                        <a:pt x="331168" y="57150"/>
                      </a:lnTo>
                      <a:close/>
                    </a:path>
                    <a:path w="569594" h="457200">
                      <a:moveTo>
                        <a:pt x="227866" y="35560"/>
                      </a:moveTo>
                      <a:lnTo>
                        <a:pt x="49021" y="35560"/>
                      </a:lnTo>
                      <a:lnTo>
                        <a:pt x="89312" y="43180"/>
                      </a:lnTo>
                      <a:lnTo>
                        <a:pt x="109436" y="45720"/>
                      </a:lnTo>
                      <a:lnTo>
                        <a:pt x="129527" y="49530"/>
                      </a:lnTo>
                      <a:lnTo>
                        <a:pt x="129844" y="49530"/>
                      </a:lnTo>
                      <a:lnTo>
                        <a:pt x="130670" y="50800"/>
                      </a:lnTo>
                      <a:lnTo>
                        <a:pt x="136371" y="57150"/>
                      </a:lnTo>
                      <a:lnTo>
                        <a:pt x="141408" y="63500"/>
                      </a:lnTo>
                      <a:lnTo>
                        <a:pt x="151409" y="74930"/>
                      </a:lnTo>
                      <a:lnTo>
                        <a:pt x="170014" y="97790"/>
                      </a:lnTo>
                      <a:lnTo>
                        <a:pt x="209413" y="97790"/>
                      </a:lnTo>
                      <a:lnTo>
                        <a:pt x="206184" y="93980"/>
                      </a:lnTo>
                      <a:lnTo>
                        <a:pt x="194602" y="80010"/>
                      </a:lnTo>
                      <a:lnTo>
                        <a:pt x="176009" y="57150"/>
                      </a:lnTo>
                      <a:lnTo>
                        <a:pt x="331168" y="57150"/>
                      </a:lnTo>
                      <a:lnTo>
                        <a:pt x="326221" y="54610"/>
                      </a:lnTo>
                      <a:lnTo>
                        <a:pt x="318615" y="50800"/>
                      </a:lnTo>
                      <a:lnTo>
                        <a:pt x="311175" y="49530"/>
                      </a:lnTo>
                      <a:lnTo>
                        <a:pt x="276868" y="44450"/>
                      </a:lnTo>
                      <a:lnTo>
                        <a:pt x="242566" y="38100"/>
                      </a:lnTo>
                      <a:lnTo>
                        <a:pt x="227866" y="35560"/>
                      </a:lnTo>
                      <a:close/>
                    </a:path>
                  </a:pathLst>
                </a:custGeom>
                <a:solidFill>
                  <a:srgbClr val="004876"/>
                </a:solidFill>
              </p:spPr>
              <p:txBody>
                <a:bodyPr wrap="square" lIns="0" tIns="0" rIns="0" bIns="0" rtlCol="0"/>
                <a:lstStyle/>
                <a:p>
                  <a:endParaRPr/>
                </a:p>
              </p:txBody>
            </p:sp>
          </p:grpSp>
          <p:grpSp>
            <p:nvGrpSpPr>
              <p:cNvPr id="424" name="object 63">
                <a:extLst>
                  <a:ext uri="{FF2B5EF4-FFF2-40B4-BE49-F238E27FC236}">
                    <a16:creationId xmlns:a16="http://schemas.microsoft.com/office/drawing/2014/main" id="{76BAE378-50E6-536C-1FE4-209075AB93BB}"/>
                  </a:ext>
                </a:extLst>
              </p:cNvPr>
              <p:cNvGrpSpPr/>
              <p:nvPr/>
            </p:nvGrpSpPr>
            <p:grpSpPr>
              <a:xfrm>
                <a:off x="887526" y="709024"/>
                <a:ext cx="583565" cy="725170"/>
                <a:chOff x="887526" y="709024"/>
                <a:chExt cx="583565" cy="725170"/>
              </a:xfrm>
            </p:grpSpPr>
            <p:pic>
              <p:nvPicPr>
                <p:cNvPr id="437" name="object 64">
                  <a:extLst>
                    <a:ext uri="{FF2B5EF4-FFF2-40B4-BE49-F238E27FC236}">
                      <a16:creationId xmlns:a16="http://schemas.microsoft.com/office/drawing/2014/main" id="{76A41435-67C9-7668-0A3D-2C9A0EA3E8BE}"/>
                    </a:ext>
                  </a:extLst>
                </p:cNvPr>
                <p:cNvPicPr/>
                <p:nvPr/>
              </p:nvPicPr>
              <p:blipFill>
                <a:blip r:embed="rId21" cstate="print"/>
                <a:stretch>
                  <a:fillRect/>
                </a:stretch>
              </p:blipFill>
              <p:spPr>
                <a:xfrm>
                  <a:off x="1237615" y="797382"/>
                  <a:ext cx="144894" cy="142494"/>
                </a:xfrm>
                <a:prstGeom prst="rect">
                  <a:avLst/>
                </a:prstGeom>
              </p:spPr>
            </p:pic>
            <p:pic>
              <p:nvPicPr>
                <p:cNvPr id="438" name="object 65">
                  <a:extLst>
                    <a:ext uri="{FF2B5EF4-FFF2-40B4-BE49-F238E27FC236}">
                      <a16:creationId xmlns:a16="http://schemas.microsoft.com/office/drawing/2014/main" id="{DFBA8F62-73D5-C4AC-F29D-389180F20B4E}"/>
                    </a:ext>
                  </a:extLst>
                </p:cNvPr>
                <p:cNvPicPr/>
                <p:nvPr/>
              </p:nvPicPr>
              <p:blipFill>
                <a:blip r:embed="rId22" cstate="print"/>
                <a:stretch>
                  <a:fillRect/>
                </a:stretch>
              </p:blipFill>
              <p:spPr>
                <a:xfrm>
                  <a:off x="1149350" y="709024"/>
                  <a:ext cx="321428" cy="317442"/>
                </a:xfrm>
                <a:prstGeom prst="rect">
                  <a:avLst/>
                </a:prstGeom>
              </p:spPr>
            </p:pic>
            <p:pic>
              <p:nvPicPr>
                <p:cNvPr id="439" name="object 66">
                  <a:extLst>
                    <a:ext uri="{FF2B5EF4-FFF2-40B4-BE49-F238E27FC236}">
                      <a16:creationId xmlns:a16="http://schemas.microsoft.com/office/drawing/2014/main" id="{5601C76C-8D69-4B2F-2352-97D454BF2415}"/>
                    </a:ext>
                  </a:extLst>
                </p:cNvPr>
                <p:cNvPicPr/>
                <p:nvPr/>
              </p:nvPicPr>
              <p:blipFill>
                <a:blip r:embed="rId23" cstate="print"/>
                <a:stretch>
                  <a:fillRect/>
                </a:stretch>
              </p:blipFill>
              <p:spPr>
                <a:xfrm>
                  <a:off x="1259484" y="819277"/>
                  <a:ext cx="100444" cy="98602"/>
                </a:xfrm>
                <a:prstGeom prst="rect">
                  <a:avLst/>
                </a:prstGeom>
              </p:spPr>
            </p:pic>
            <p:pic>
              <p:nvPicPr>
                <p:cNvPr id="440" name="object 67">
                  <a:extLst>
                    <a:ext uri="{FF2B5EF4-FFF2-40B4-BE49-F238E27FC236}">
                      <a16:creationId xmlns:a16="http://schemas.microsoft.com/office/drawing/2014/main" id="{8C88F5DE-46A7-5D8E-A743-07F2A0F1BEB0}"/>
                    </a:ext>
                  </a:extLst>
                </p:cNvPr>
                <p:cNvPicPr/>
                <p:nvPr/>
              </p:nvPicPr>
              <p:blipFill>
                <a:blip r:embed="rId24" cstate="print"/>
                <a:stretch>
                  <a:fillRect/>
                </a:stretch>
              </p:blipFill>
              <p:spPr>
                <a:xfrm>
                  <a:off x="887526" y="1024433"/>
                  <a:ext cx="248272" cy="81087"/>
                </a:xfrm>
                <a:prstGeom prst="rect">
                  <a:avLst/>
                </a:prstGeom>
              </p:spPr>
            </p:pic>
            <p:pic>
              <p:nvPicPr>
                <p:cNvPr id="441" name="object 68">
                  <a:extLst>
                    <a:ext uri="{FF2B5EF4-FFF2-40B4-BE49-F238E27FC236}">
                      <a16:creationId xmlns:a16="http://schemas.microsoft.com/office/drawing/2014/main" id="{85A5566B-32F4-167A-2D52-05A2448CCB08}"/>
                    </a:ext>
                  </a:extLst>
                </p:cNvPr>
                <p:cNvPicPr/>
                <p:nvPr/>
              </p:nvPicPr>
              <p:blipFill>
                <a:blip r:embed="rId25" cstate="print"/>
                <a:stretch>
                  <a:fillRect/>
                </a:stretch>
              </p:blipFill>
              <p:spPr>
                <a:xfrm>
                  <a:off x="954951" y="1119416"/>
                  <a:ext cx="436156" cy="213601"/>
                </a:xfrm>
                <a:prstGeom prst="rect">
                  <a:avLst/>
                </a:prstGeom>
              </p:spPr>
            </p:pic>
            <p:pic>
              <p:nvPicPr>
                <p:cNvPr id="442" name="object 69">
                  <a:extLst>
                    <a:ext uri="{FF2B5EF4-FFF2-40B4-BE49-F238E27FC236}">
                      <a16:creationId xmlns:a16="http://schemas.microsoft.com/office/drawing/2014/main" id="{4CA9A9BE-61E7-2A36-60EB-6D16DAAC107F}"/>
                    </a:ext>
                  </a:extLst>
                </p:cNvPr>
                <p:cNvPicPr/>
                <p:nvPr/>
              </p:nvPicPr>
              <p:blipFill>
                <a:blip r:embed="rId26" cstate="print"/>
                <a:stretch>
                  <a:fillRect/>
                </a:stretch>
              </p:blipFill>
              <p:spPr>
                <a:xfrm>
                  <a:off x="1031176" y="1341856"/>
                  <a:ext cx="219748" cy="91911"/>
                </a:xfrm>
                <a:prstGeom prst="rect">
                  <a:avLst/>
                </a:prstGeom>
              </p:spPr>
            </p:pic>
            <p:pic>
              <p:nvPicPr>
                <p:cNvPr id="443" name="object 70">
                  <a:extLst>
                    <a:ext uri="{FF2B5EF4-FFF2-40B4-BE49-F238E27FC236}">
                      <a16:creationId xmlns:a16="http://schemas.microsoft.com/office/drawing/2014/main" id="{10271520-2D80-D56E-0B7D-92E19ED22497}"/>
                    </a:ext>
                  </a:extLst>
                </p:cNvPr>
                <p:cNvPicPr/>
                <p:nvPr/>
              </p:nvPicPr>
              <p:blipFill>
                <a:blip r:embed="rId27" cstate="print"/>
                <a:stretch>
                  <a:fillRect/>
                </a:stretch>
              </p:blipFill>
              <p:spPr>
                <a:xfrm>
                  <a:off x="1117142" y="1063079"/>
                  <a:ext cx="150495" cy="105599"/>
                </a:xfrm>
                <a:prstGeom prst="rect">
                  <a:avLst/>
                </a:prstGeom>
              </p:spPr>
            </p:pic>
          </p:grpSp>
          <p:grpSp>
            <p:nvGrpSpPr>
              <p:cNvPr id="425" name="object 71">
                <a:extLst>
                  <a:ext uri="{FF2B5EF4-FFF2-40B4-BE49-F238E27FC236}">
                    <a16:creationId xmlns:a16="http://schemas.microsoft.com/office/drawing/2014/main" id="{CB69BACD-2FEF-48E9-1290-FD8D5B9491F8}"/>
                  </a:ext>
                </a:extLst>
              </p:cNvPr>
              <p:cNvGrpSpPr/>
              <p:nvPr/>
            </p:nvGrpSpPr>
            <p:grpSpPr>
              <a:xfrm>
                <a:off x="566978" y="542842"/>
                <a:ext cx="516890" cy="744220"/>
                <a:chOff x="566978" y="542842"/>
                <a:chExt cx="516890" cy="744220"/>
              </a:xfrm>
            </p:grpSpPr>
            <p:pic>
              <p:nvPicPr>
                <p:cNvPr id="426" name="object 72">
                  <a:extLst>
                    <a:ext uri="{FF2B5EF4-FFF2-40B4-BE49-F238E27FC236}">
                      <a16:creationId xmlns:a16="http://schemas.microsoft.com/office/drawing/2014/main" id="{2D97B5CC-4C7C-BBD2-53A5-1C9C6D09915B}"/>
                    </a:ext>
                  </a:extLst>
                </p:cNvPr>
                <p:cNvPicPr/>
                <p:nvPr/>
              </p:nvPicPr>
              <p:blipFill>
                <a:blip r:embed="rId28" cstate="print"/>
                <a:stretch>
                  <a:fillRect/>
                </a:stretch>
              </p:blipFill>
              <p:spPr>
                <a:xfrm>
                  <a:off x="730669" y="929704"/>
                  <a:ext cx="88887" cy="349745"/>
                </a:xfrm>
                <a:prstGeom prst="rect">
                  <a:avLst/>
                </a:prstGeom>
              </p:spPr>
            </p:pic>
            <p:sp>
              <p:nvSpPr>
                <p:cNvPr id="427" name="object 73">
                  <a:extLst>
                    <a:ext uri="{FF2B5EF4-FFF2-40B4-BE49-F238E27FC236}">
                      <a16:creationId xmlns:a16="http://schemas.microsoft.com/office/drawing/2014/main" id="{92D5D09A-E4A8-86CC-E269-B431DC9C7F14}"/>
                    </a:ext>
                  </a:extLst>
                </p:cNvPr>
                <p:cNvSpPr/>
                <p:nvPr/>
              </p:nvSpPr>
              <p:spPr>
                <a:xfrm>
                  <a:off x="722500" y="908581"/>
                  <a:ext cx="105410" cy="378460"/>
                </a:xfrm>
                <a:custGeom>
                  <a:avLst/>
                  <a:gdLst/>
                  <a:ahLst/>
                  <a:cxnLst/>
                  <a:rect l="l" t="t" r="r" b="b"/>
                  <a:pathLst>
                    <a:path w="105409" h="378459">
                      <a:moveTo>
                        <a:pt x="74714" y="0"/>
                      </a:moveTo>
                      <a:lnTo>
                        <a:pt x="60706" y="19405"/>
                      </a:lnTo>
                      <a:lnTo>
                        <a:pt x="57264" y="24803"/>
                      </a:lnTo>
                      <a:lnTo>
                        <a:pt x="51219" y="34213"/>
                      </a:lnTo>
                      <a:lnTo>
                        <a:pt x="24286" y="74643"/>
                      </a:lnTo>
                      <a:lnTo>
                        <a:pt x="21277" y="111975"/>
                      </a:lnTo>
                      <a:lnTo>
                        <a:pt x="19730" y="134480"/>
                      </a:lnTo>
                      <a:lnTo>
                        <a:pt x="17971" y="156062"/>
                      </a:lnTo>
                      <a:lnTo>
                        <a:pt x="14578" y="194703"/>
                      </a:lnTo>
                      <a:lnTo>
                        <a:pt x="13220" y="210781"/>
                      </a:lnTo>
                      <a:lnTo>
                        <a:pt x="4706" y="316166"/>
                      </a:lnTo>
                      <a:lnTo>
                        <a:pt x="3365" y="333438"/>
                      </a:lnTo>
                      <a:lnTo>
                        <a:pt x="0" y="378434"/>
                      </a:lnTo>
                      <a:lnTo>
                        <a:pt x="105270" y="378434"/>
                      </a:lnTo>
                      <a:lnTo>
                        <a:pt x="104046" y="363283"/>
                      </a:lnTo>
                      <a:lnTo>
                        <a:pt x="16332" y="363283"/>
                      </a:lnTo>
                      <a:lnTo>
                        <a:pt x="19998" y="314960"/>
                      </a:lnTo>
                      <a:lnTo>
                        <a:pt x="29044" y="203352"/>
                      </a:lnTo>
                      <a:lnTo>
                        <a:pt x="29893" y="193425"/>
                      </a:lnTo>
                      <a:lnTo>
                        <a:pt x="33279" y="154871"/>
                      </a:lnTo>
                      <a:lnTo>
                        <a:pt x="34937" y="134480"/>
                      </a:lnTo>
                      <a:lnTo>
                        <a:pt x="36416" y="112783"/>
                      </a:lnTo>
                      <a:lnTo>
                        <a:pt x="37465" y="91097"/>
                      </a:lnTo>
                      <a:lnTo>
                        <a:pt x="39004" y="78358"/>
                      </a:lnTo>
                      <a:lnTo>
                        <a:pt x="42740" y="67322"/>
                      </a:lnTo>
                      <a:lnTo>
                        <a:pt x="48864" y="57582"/>
                      </a:lnTo>
                      <a:lnTo>
                        <a:pt x="57569" y="48729"/>
                      </a:lnTo>
                      <a:lnTo>
                        <a:pt x="59563" y="47028"/>
                      </a:lnTo>
                      <a:lnTo>
                        <a:pt x="61353" y="45123"/>
                      </a:lnTo>
                      <a:lnTo>
                        <a:pt x="62979" y="43103"/>
                      </a:lnTo>
                      <a:lnTo>
                        <a:pt x="78194" y="43103"/>
                      </a:lnTo>
                      <a:lnTo>
                        <a:pt x="74714" y="0"/>
                      </a:lnTo>
                      <a:close/>
                    </a:path>
                    <a:path w="105409" h="378459">
                      <a:moveTo>
                        <a:pt x="78194" y="43103"/>
                      </a:moveTo>
                      <a:lnTo>
                        <a:pt x="62979" y="43103"/>
                      </a:lnTo>
                      <a:lnTo>
                        <a:pt x="88836" y="363283"/>
                      </a:lnTo>
                      <a:lnTo>
                        <a:pt x="104046" y="363283"/>
                      </a:lnTo>
                      <a:lnTo>
                        <a:pt x="78194" y="43103"/>
                      </a:lnTo>
                      <a:close/>
                    </a:path>
                  </a:pathLst>
                </a:custGeom>
                <a:solidFill>
                  <a:srgbClr val="004876"/>
                </a:solidFill>
              </p:spPr>
              <p:txBody>
                <a:bodyPr wrap="square" lIns="0" tIns="0" rIns="0" bIns="0" rtlCol="0"/>
                <a:lstStyle/>
                <a:p>
                  <a:endParaRPr/>
                </a:p>
              </p:txBody>
            </p:sp>
            <p:pic>
              <p:nvPicPr>
                <p:cNvPr id="428" name="object 74">
                  <a:extLst>
                    <a:ext uri="{FF2B5EF4-FFF2-40B4-BE49-F238E27FC236}">
                      <a16:creationId xmlns:a16="http://schemas.microsoft.com/office/drawing/2014/main" id="{64B2EB45-4C1C-4F7A-696E-207169DCE78D}"/>
                    </a:ext>
                  </a:extLst>
                </p:cNvPr>
                <p:cNvPicPr/>
                <p:nvPr/>
              </p:nvPicPr>
              <p:blipFill>
                <a:blip r:embed="rId29" cstate="print"/>
                <a:stretch>
                  <a:fillRect/>
                </a:stretch>
              </p:blipFill>
              <p:spPr>
                <a:xfrm>
                  <a:off x="576198" y="845565"/>
                  <a:ext cx="203085" cy="229552"/>
                </a:xfrm>
                <a:prstGeom prst="rect">
                  <a:avLst/>
                </a:prstGeom>
              </p:spPr>
            </p:pic>
            <p:pic>
              <p:nvPicPr>
                <p:cNvPr id="429" name="object 75">
                  <a:extLst>
                    <a:ext uri="{FF2B5EF4-FFF2-40B4-BE49-F238E27FC236}">
                      <a16:creationId xmlns:a16="http://schemas.microsoft.com/office/drawing/2014/main" id="{7153B1BF-DEB3-220F-4DA2-860241F4536E}"/>
                    </a:ext>
                  </a:extLst>
                </p:cNvPr>
                <p:cNvPicPr/>
                <p:nvPr/>
              </p:nvPicPr>
              <p:blipFill>
                <a:blip r:embed="rId30" cstate="print"/>
                <a:stretch>
                  <a:fillRect/>
                </a:stretch>
              </p:blipFill>
              <p:spPr>
                <a:xfrm>
                  <a:off x="566978" y="834692"/>
                  <a:ext cx="222110" cy="251460"/>
                </a:xfrm>
                <a:prstGeom prst="rect">
                  <a:avLst/>
                </a:prstGeom>
              </p:spPr>
            </p:pic>
            <p:pic>
              <p:nvPicPr>
                <p:cNvPr id="430" name="object 76">
                  <a:extLst>
                    <a:ext uri="{FF2B5EF4-FFF2-40B4-BE49-F238E27FC236}">
                      <a16:creationId xmlns:a16="http://schemas.microsoft.com/office/drawing/2014/main" id="{E88F16B6-6F49-14A7-023D-B13605C7F22D}"/>
                    </a:ext>
                  </a:extLst>
                </p:cNvPr>
                <p:cNvPicPr/>
                <p:nvPr/>
              </p:nvPicPr>
              <p:blipFill>
                <a:blip r:embed="rId31" cstate="print"/>
                <a:stretch>
                  <a:fillRect/>
                </a:stretch>
              </p:blipFill>
              <p:spPr>
                <a:xfrm>
                  <a:off x="811326" y="799172"/>
                  <a:ext cx="252539" cy="108661"/>
                </a:xfrm>
                <a:prstGeom prst="rect">
                  <a:avLst/>
                </a:prstGeom>
              </p:spPr>
            </p:pic>
            <p:sp>
              <p:nvSpPr>
                <p:cNvPr id="432" name="object 77">
                  <a:extLst>
                    <a:ext uri="{FF2B5EF4-FFF2-40B4-BE49-F238E27FC236}">
                      <a16:creationId xmlns:a16="http://schemas.microsoft.com/office/drawing/2014/main" id="{2B046C91-E7CC-1CF3-6BD4-C5DCE382B870}"/>
                    </a:ext>
                  </a:extLst>
                </p:cNvPr>
                <p:cNvSpPr/>
                <p:nvPr/>
              </p:nvSpPr>
              <p:spPr>
                <a:xfrm>
                  <a:off x="799136" y="791736"/>
                  <a:ext cx="285115" cy="124460"/>
                </a:xfrm>
                <a:custGeom>
                  <a:avLst/>
                  <a:gdLst/>
                  <a:ahLst/>
                  <a:cxnLst/>
                  <a:rect l="l" t="t" r="r" b="b"/>
                  <a:pathLst>
                    <a:path w="285115" h="124459">
                      <a:moveTo>
                        <a:pt x="49930" y="0"/>
                      </a:moveTo>
                      <a:lnTo>
                        <a:pt x="39435" y="1463"/>
                      </a:lnTo>
                      <a:lnTo>
                        <a:pt x="28397" y="4519"/>
                      </a:lnTo>
                      <a:lnTo>
                        <a:pt x="20345" y="7275"/>
                      </a:lnTo>
                      <a:lnTo>
                        <a:pt x="24015" y="14971"/>
                      </a:lnTo>
                      <a:lnTo>
                        <a:pt x="31249" y="36861"/>
                      </a:lnTo>
                      <a:lnTo>
                        <a:pt x="30919" y="56807"/>
                      </a:lnTo>
                      <a:lnTo>
                        <a:pt x="22953" y="75145"/>
                      </a:lnTo>
                      <a:lnTo>
                        <a:pt x="7277" y="92213"/>
                      </a:lnTo>
                      <a:lnTo>
                        <a:pt x="0" y="98372"/>
                      </a:lnTo>
                      <a:lnTo>
                        <a:pt x="7645" y="104074"/>
                      </a:lnTo>
                      <a:lnTo>
                        <a:pt x="47409" y="121809"/>
                      </a:lnTo>
                      <a:lnTo>
                        <a:pt x="74104" y="124115"/>
                      </a:lnTo>
                      <a:lnTo>
                        <a:pt x="80175" y="124115"/>
                      </a:lnTo>
                      <a:lnTo>
                        <a:pt x="124897" y="122058"/>
                      </a:lnTo>
                      <a:lnTo>
                        <a:pt x="166798" y="117476"/>
                      </a:lnTo>
                      <a:lnTo>
                        <a:pt x="212598" y="110285"/>
                      </a:lnTo>
                      <a:lnTo>
                        <a:pt x="219022" y="108532"/>
                      </a:lnTo>
                      <a:lnTo>
                        <a:pt x="63284" y="108532"/>
                      </a:lnTo>
                      <a:lnTo>
                        <a:pt x="52758" y="107372"/>
                      </a:lnTo>
                      <a:lnTo>
                        <a:pt x="42795" y="105082"/>
                      </a:lnTo>
                      <a:lnTo>
                        <a:pt x="33351" y="101647"/>
                      </a:lnTo>
                      <a:lnTo>
                        <a:pt x="24384" y="97051"/>
                      </a:lnTo>
                      <a:lnTo>
                        <a:pt x="38336" y="79017"/>
                      </a:lnTo>
                      <a:lnTo>
                        <a:pt x="45800" y="59561"/>
                      </a:lnTo>
                      <a:lnTo>
                        <a:pt x="46767" y="38733"/>
                      </a:lnTo>
                      <a:lnTo>
                        <a:pt x="41224" y="16584"/>
                      </a:lnTo>
                      <a:lnTo>
                        <a:pt x="50088" y="14552"/>
                      </a:lnTo>
                      <a:lnTo>
                        <a:pt x="109928" y="14514"/>
                      </a:lnTo>
                      <a:lnTo>
                        <a:pt x="69138" y="1890"/>
                      </a:lnTo>
                      <a:lnTo>
                        <a:pt x="59843" y="138"/>
                      </a:lnTo>
                      <a:lnTo>
                        <a:pt x="49930" y="0"/>
                      </a:lnTo>
                      <a:close/>
                    </a:path>
                    <a:path w="285115" h="124459">
                      <a:moveTo>
                        <a:pt x="109928" y="14514"/>
                      </a:moveTo>
                      <a:lnTo>
                        <a:pt x="58077" y="14514"/>
                      </a:lnTo>
                      <a:lnTo>
                        <a:pt x="64998" y="16470"/>
                      </a:lnTo>
                      <a:lnTo>
                        <a:pt x="114939" y="31795"/>
                      </a:lnTo>
                      <a:lnTo>
                        <a:pt x="161339" y="48406"/>
                      </a:lnTo>
                      <a:lnTo>
                        <a:pt x="204449" y="66399"/>
                      </a:lnTo>
                      <a:lnTo>
                        <a:pt x="244525" y="85875"/>
                      </a:lnTo>
                      <a:lnTo>
                        <a:pt x="209207" y="95527"/>
                      </a:lnTo>
                      <a:lnTo>
                        <a:pt x="194320" y="98074"/>
                      </a:lnTo>
                      <a:lnTo>
                        <a:pt x="157986" y="103277"/>
                      </a:lnTo>
                      <a:lnTo>
                        <a:pt x="110782" y="107857"/>
                      </a:lnTo>
                      <a:lnTo>
                        <a:pt x="63284" y="108532"/>
                      </a:lnTo>
                      <a:lnTo>
                        <a:pt x="219022" y="108532"/>
                      </a:lnTo>
                      <a:lnTo>
                        <a:pt x="284619" y="90638"/>
                      </a:lnTo>
                      <a:lnTo>
                        <a:pt x="268439" y="81595"/>
                      </a:lnTo>
                      <a:lnTo>
                        <a:pt x="224431" y="58931"/>
                      </a:lnTo>
                      <a:lnTo>
                        <a:pt x="176776" y="38185"/>
                      </a:lnTo>
                      <a:lnTo>
                        <a:pt x="125127" y="19218"/>
                      </a:lnTo>
                      <a:lnTo>
                        <a:pt x="109928" y="14514"/>
                      </a:lnTo>
                      <a:close/>
                    </a:path>
                  </a:pathLst>
                </a:custGeom>
                <a:solidFill>
                  <a:srgbClr val="004876"/>
                </a:solidFill>
              </p:spPr>
              <p:txBody>
                <a:bodyPr wrap="square" lIns="0" tIns="0" rIns="0" bIns="0" rtlCol="0"/>
                <a:lstStyle/>
                <a:p>
                  <a:endParaRPr/>
                </a:p>
              </p:txBody>
            </p:sp>
            <p:pic>
              <p:nvPicPr>
                <p:cNvPr id="433" name="object 78">
                  <a:extLst>
                    <a:ext uri="{FF2B5EF4-FFF2-40B4-BE49-F238E27FC236}">
                      <a16:creationId xmlns:a16="http://schemas.microsoft.com/office/drawing/2014/main" id="{05A2E646-243E-4187-EFA9-7E46EC9DDA19}"/>
                    </a:ext>
                  </a:extLst>
                </p:cNvPr>
                <p:cNvPicPr/>
                <p:nvPr/>
              </p:nvPicPr>
              <p:blipFill>
                <a:blip r:embed="rId32" cstate="print"/>
                <a:stretch>
                  <a:fillRect/>
                </a:stretch>
              </p:blipFill>
              <p:spPr>
                <a:xfrm>
                  <a:off x="664354" y="551752"/>
                  <a:ext cx="136371" cy="259283"/>
                </a:xfrm>
                <a:prstGeom prst="rect">
                  <a:avLst/>
                </a:prstGeom>
              </p:spPr>
            </p:pic>
            <p:sp>
              <p:nvSpPr>
                <p:cNvPr id="434" name="object 79">
                  <a:extLst>
                    <a:ext uri="{FF2B5EF4-FFF2-40B4-BE49-F238E27FC236}">
                      <a16:creationId xmlns:a16="http://schemas.microsoft.com/office/drawing/2014/main" id="{D2253981-7EC9-1B99-2816-AA5F17335844}"/>
                    </a:ext>
                  </a:extLst>
                </p:cNvPr>
                <p:cNvSpPr/>
                <p:nvPr/>
              </p:nvSpPr>
              <p:spPr>
                <a:xfrm>
                  <a:off x="656781" y="542842"/>
                  <a:ext cx="151765" cy="281940"/>
                </a:xfrm>
                <a:custGeom>
                  <a:avLst/>
                  <a:gdLst/>
                  <a:ahLst/>
                  <a:cxnLst/>
                  <a:rect l="l" t="t" r="r" b="b"/>
                  <a:pathLst>
                    <a:path w="151765" h="281940">
                      <a:moveTo>
                        <a:pt x="9576" y="0"/>
                      </a:moveTo>
                      <a:lnTo>
                        <a:pt x="6604" y="5105"/>
                      </a:lnTo>
                      <a:lnTo>
                        <a:pt x="2777" y="13250"/>
                      </a:lnTo>
                      <a:lnTo>
                        <a:pt x="639" y="22009"/>
                      </a:lnTo>
                      <a:lnTo>
                        <a:pt x="0" y="32546"/>
                      </a:lnTo>
                      <a:lnTo>
                        <a:pt x="787" y="45542"/>
                      </a:lnTo>
                      <a:lnTo>
                        <a:pt x="6050" y="98771"/>
                      </a:lnTo>
                      <a:lnTo>
                        <a:pt x="14650" y="156111"/>
                      </a:lnTo>
                      <a:lnTo>
                        <a:pt x="23988" y="202678"/>
                      </a:lnTo>
                      <a:lnTo>
                        <a:pt x="34587" y="246216"/>
                      </a:lnTo>
                      <a:lnTo>
                        <a:pt x="62014" y="281368"/>
                      </a:lnTo>
                      <a:lnTo>
                        <a:pt x="66865" y="271551"/>
                      </a:lnTo>
                      <a:lnTo>
                        <a:pt x="72831" y="261475"/>
                      </a:lnTo>
                      <a:lnTo>
                        <a:pt x="78108" y="255346"/>
                      </a:lnTo>
                      <a:lnTo>
                        <a:pt x="58674" y="255346"/>
                      </a:lnTo>
                      <a:lnTo>
                        <a:pt x="54321" y="249872"/>
                      </a:lnTo>
                      <a:lnTo>
                        <a:pt x="38843" y="199633"/>
                      </a:lnTo>
                      <a:lnTo>
                        <a:pt x="29574" y="153436"/>
                      </a:lnTo>
                      <a:lnTo>
                        <a:pt x="23116" y="113675"/>
                      </a:lnTo>
                      <a:lnTo>
                        <a:pt x="15862" y="44043"/>
                      </a:lnTo>
                      <a:lnTo>
                        <a:pt x="15213" y="28681"/>
                      </a:lnTo>
                      <a:lnTo>
                        <a:pt x="15771" y="23271"/>
                      </a:lnTo>
                      <a:lnTo>
                        <a:pt x="16878" y="18834"/>
                      </a:lnTo>
                      <a:lnTo>
                        <a:pt x="38032" y="18834"/>
                      </a:lnTo>
                      <a:lnTo>
                        <a:pt x="36961" y="17384"/>
                      </a:lnTo>
                      <a:lnTo>
                        <a:pt x="31288" y="11061"/>
                      </a:lnTo>
                      <a:lnTo>
                        <a:pt x="24198" y="5548"/>
                      </a:lnTo>
                      <a:lnTo>
                        <a:pt x="15253" y="1625"/>
                      </a:lnTo>
                      <a:lnTo>
                        <a:pt x="9576" y="0"/>
                      </a:lnTo>
                      <a:close/>
                    </a:path>
                    <a:path w="151765" h="281940">
                      <a:moveTo>
                        <a:pt x="113867" y="222732"/>
                      </a:moveTo>
                      <a:lnTo>
                        <a:pt x="73376" y="238810"/>
                      </a:lnTo>
                      <a:lnTo>
                        <a:pt x="58674" y="255346"/>
                      </a:lnTo>
                      <a:lnTo>
                        <a:pt x="78108" y="255346"/>
                      </a:lnTo>
                      <a:lnTo>
                        <a:pt x="79923" y="253237"/>
                      </a:lnTo>
                      <a:lnTo>
                        <a:pt x="88273" y="246705"/>
                      </a:lnTo>
                      <a:lnTo>
                        <a:pt x="98018" y="241744"/>
                      </a:lnTo>
                      <a:lnTo>
                        <a:pt x="108182" y="238736"/>
                      </a:lnTo>
                      <a:lnTo>
                        <a:pt x="118643" y="237804"/>
                      </a:lnTo>
                      <a:lnTo>
                        <a:pt x="150712" y="237804"/>
                      </a:lnTo>
                      <a:lnTo>
                        <a:pt x="150914" y="235788"/>
                      </a:lnTo>
                      <a:lnTo>
                        <a:pt x="151438" y="224942"/>
                      </a:lnTo>
                      <a:lnTo>
                        <a:pt x="136360" y="224942"/>
                      </a:lnTo>
                      <a:lnTo>
                        <a:pt x="124960" y="222942"/>
                      </a:lnTo>
                      <a:lnTo>
                        <a:pt x="113867" y="222732"/>
                      </a:lnTo>
                      <a:close/>
                    </a:path>
                    <a:path w="151765" h="281940">
                      <a:moveTo>
                        <a:pt x="150712" y="237804"/>
                      </a:moveTo>
                      <a:lnTo>
                        <a:pt x="118643" y="237804"/>
                      </a:lnTo>
                      <a:lnTo>
                        <a:pt x="129476" y="238944"/>
                      </a:lnTo>
                      <a:lnTo>
                        <a:pt x="140754" y="242150"/>
                      </a:lnTo>
                      <a:lnTo>
                        <a:pt x="149936" y="245529"/>
                      </a:lnTo>
                      <a:lnTo>
                        <a:pt x="150712" y="237804"/>
                      </a:lnTo>
                      <a:close/>
                    </a:path>
                    <a:path w="151765" h="281940">
                      <a:moveTo>
                        <a:pt x="38032" y="18834"/>
                      </a:moveTo>
                      <a:lnTo>
                        <a:pt x="16878" y="18834"/>
                      </a:lnTo>
                      <a:lnTo>
                        <a:pt x="21806" y="22009"/>
                      </a:lnTo>
                      <a:lnTo>
                        <a:pt x="31737" y="35890"/>
                      </a:lnTo>
                      <a:lnTo>
                        <a:pt x="60405" y="76571"/>
                      </a:lnTo>
                      <a:lnTo>
                        <a:pt x="86403" y="117120"/>
                      </a:lnTo>
                      <a:lnTo>
                        <a:pt x="109902" y="157825"/>
                      </a:lnTo>
                      <a:lnTo>
                        <a:pt x="131077" y="198970"/>
                      </a:lnTo>
                      <a:lnTo>
                        <a:pt x="136360" y="224942"/>
                      </a:lnTo>
                      <a:lnTo>
                        <a:pt x="151438" y="224942"/>
                      </a:lnTo>
                      <a:lnTo>
                        <a:pt x="123223" y="150603"/>
                      </a:lnTo>
                      <a:lnTo>
                        <a:pt x="99374" y="109300"/>
                      </a:lnTo>
                      <a:lnTo>
                        <a:pt x="73006" y="68167"/>
                      </a:lnTo>
                      <a:lnTo>
                        <a:pt x="43942" y="26911"/>
                      </a:lnTo>
                      <a:lnTo>
                        <a:pt x="41656" y="23736"/>
                      </a:lnTo>
                      <a:lnTo>
                        <a:pt x="38032" y="18834"/>
                      </a:lnTo>
                      <a:close/>
                    </a:path>
                  </a:pathLst>
                </a:custGeom>
                <a:solidFill>
                  <a:srgbClr val="004876"/>
                </a:solidFill>
              </p:spPr>
              <p:txBody>
                <a:bodyPr wrap="square" lIns="0" tIns="0" rIns="0" bIns="0" rtlCol="0"/>
                <a:lstStyle/>
                <a:p>
                  <a:endParaRPr/>
                </a:p>
              </p:txBody>
            </p:sp>
            <p:pic>
              <p:nvPicPr>
                <p:cNvPr id="435" name="object 80">
                  <a:extLst>
                    <a:ext uri="{FF2B5EF4-FFF2-40B4-BE49-F238E27FC236}">
                      <a16:creationId xmlns:a16="http://schemas.microsoft.com/office/drawing/2014/main" id="{E1A6C957-88A0-B9BC-AE4B-F07E6250F29A}"/>
                    </a:ext>
                  </a:extLst>
                </p:cNvPr>
                <p:cNvPicPr/>
                <p:nvPr/>
              </p:nvPicPr>
              <p:blipFill>
                <a:blip r:embed="rId33" cstate="print"/>
                <a:stretch>
                  <a:fillRect/>
                </a:stretch>
              </p:blipFill>
              <p:spPr>
                <a:xfrm>
                  <a:off x="731405" y="792861"/>
                  <a:ext cx="87160" cy="87680"/>
                </a:xfrm>
                <a:prstGeom prst="rect">
                  <a:avLst/>
                </a:prstGeom>
              </p:spPr>
            </p:pic>
            <p:pic>
              <p:nvPicPr>
                <p:cNvPr id="436" name="object 81">
                  <a:extLst>
                    <a:ext uri="{FF2B5EF4-FFF2-40B4-BE49-F238E27FC236}">
                      <a16:creationId xmlns:a16="http://schemas.microsoft.com/office/drawing/2014/main" id="{DE0ABC52-57E9-1B6C-DD4F-0857B67B76FB}"/>
                    </a:ext>
                  </a:extLst>
                </p:cNvPr>
                <p:cNvPicPr/>
                <p:nvPr/>
              </p:nvPicPr>
              <p:blipFill>
                <a:blip r:embed="rId34" cstate="print"/>
                <a:stretch>
                  <a:fillRect/>
                </a:stretch>
              </p:blipFill>
              <p:spPr>
                <a:xfrm>
                  <a:off x="723835" y="785375"/>
                  <a:ext cx="102311" cy="102793"/>
                </a:xfrm>
                <a:prstGeom prst="rect">
                  <a:avLst/>
                </a:prstGeom>
              </p:spPr>
            </p:pic>
          </p:grpSp>
        </p:grpSp>
      </p:grpSp>
      <p:grpSp>
        <p:nvGrpSpPr>
          <p:cNvPr id="446" name="Group 445">
            <a:extLst>
              <a:ext uri="{FF2B5EF4-FFF2-40B4-BE49-F238E27FC236}">
                <a16:creationId xmlns:a16="http://schemas.microsoft.com/office/drawing/2014/main" id="{CE60905B-70C7-C6A5-F859-6D4D2B45B1CA}"/>
              </a:ext>
            </a:extLst>
          </p:cNvPr>
          <p:cNvGrpSpPr/>
          <p:nvPr/>
        </p:nvGrpSpPr>
        <p:grpSpPr>
          <a:xfrm>
            <a:off x="11462282" y="288899"/>
            <a:ext cx="506963" cy="506963"/>
            <a:chOff x="4922326" y="4454848"/>
            <a:chExt cx="725475" cy="725475"/>
          </a:xfrm>
        </p:grpSpPr>
        <p:sp>
          <p:nvSpPr>
            <p:cNvPr id="447" name="Oval 446">
              <a:extLst>
                <a:ext uri="{FF2B5EF4-FFF2-40B4-BE49-F238E27FC236}">
                  <a16:creationId xmlns:a16="http://schemas.microsoft.com/office/drawing/2014/main" id="{AFEFEDF0-9B1B-35AA-5DFB-F75DAF997B9F}"/>
                </a:ext>
              </a:extLst>
            </p:cNvPr>
            <p:cNvSpPr/>
            <p:nvPr/>
          </p:nvSpPr>
          <p:spPr>
            <a:xfrm>
              <a:off x="4922326" y="4454848"/>
              <a:ext cx="725475" cy="725475"/>
            </a:xfrm>
            <a:prstGeom prst="ellipse">
              <a:avLst/>
            </a:prstGeom>
            <a:solidFill>
              <a:schemeClr val="bg1">
                <a:lumMod val="95000"/>
              </a:schemeClr>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a:ln>
                  <a:noFill/>
                </a:ln>
                <a:solidFill>
                  <a:schemeClr val="bg1"/>
                </a:solidFill>
                <a:latin typeface="Century Gothic" panose="020B0502020202020204" pitchFamily="34" charset="0"/>
              </a:endParaRPr>
            </a:p>
          </p:txBody>
        </p:sp>
        <p:grpSp>
          <p:nvGrpSpPr>
            <p:cNvPr id="448" name="object 2">
              <a:extLst>
                <a:ext uri="{FF2B5EF4-FFF2-40B4-BE49-F238E27FC236}">
                  <a16:creationId xmlns:a16="http://schemas.microsoft.com/office/drawing/2014/main" id="{A282922C-9AD8-65F0-A9F4-E3FAB5E44B80}"/>
                </a:ext>
              </a:extLst>
            </p:cNvPr>
            <p:cNvGrpSpPr/>
            <p:nvPr/>
          </p:nvGrpSpPr>
          <p:grpSpPr>
            <a:xfrm>
              <a:off x="5100497" y="4595933"/>
              <a:ext cx="369133" cy="443304"/>
              <a:chOff x="8161240" y="7944367"/>
              <a:chExt cx="679450" cy="815975"/>
            </a:xfrm>
          </p:grpSpPr>
          <p:sp>
            <p:nvSpPr>
              <p:cNvPr id="449" name="object 3">
                <a:extLst>
                  <a:ext uri="{FF2B5EF4-FFF2-40B4-BE49-F238E27FC236}">
                    <a16:creationId xmlns:a16="http://schemas.microsoft.com/office/drawing/2014/main" id="{4786D7B6-EAFE-9866-4E9B-0884FB48269A}"/>
                  </a:ext>
                </a:extLst>
              </p:cNvPr>
              <p:cNvSpPr/>
              <p:nvPr/>
            </p:nvSpPr>
            <p:spPr>
              <a:xfrm>
                <a:off x="8248916" y="8019110"/>
                <a:ext cx="591820" cy="741045"/>
              </a:xfrm>
              <a:custGeom>
                <a:avLst/>
                <a:gdLst/>
                <a:ahLst/>
                <a:cxnLst/>
                <a:rect l="l" t="t" r="r" b="b"/>
                <a:pathLst>
                  <a:path w="591820" h="741045">
                    <a:moveTo>
                      <a:pt x="486765" y="65062"/>
                    </a:moveTo>
                    <a:lnTo>
                      <a:pt x="486346" y="57759"/>
                    </a:lnTo>
                    <a:lnTo>
                      <a:pt x="483463" y="8407"/>
                    </a:lnTo>
                    <a:lnTo>
                      <a:pt x="482968" y="0"/>
                    </a:lnTo>
                    <a:lnTo>
                      <a:pt x="0" y="26784"/>
                    </a:lnTo>
                    <a:lnTo>
                      <a:pt x="37350" y="700100"/>
                    </a:lnTo>
                    <a:lnTo>
                      <a:pt x="65887" y="698715"/>
                    </a:lnTo>
                    <a:lnTo>
                      <a:pt x="65544" y="691730"/>
                    </a:lnTo>
                    <a:lnTo>
                      <a:pt x="65316" y="687095"/>
                    </a:lnTo>
                    <a:lnTo>
                      <a:pt x="64935" y="679132"/>
                    </a:lnTo>
                    <a:lnTo>
                      <a:pt x="64909" y="678713"/>
                    </a:lnTo>
                    <a:lnTo>
                      <a:pt x="56210" y="679132"/>
                    </a:lnTo>
                    <a:lnTo>
                      <a:pt x="21069" y="45618"/>
                    </a:lnTo>
                    <a:lnTo>
                      <a:pt x="464159" y="21069"/>
                    </a:lnTo>
                    <a:lnTo>
                      <a:pt x="466737" y="66217"/>
                    </a:lnTo>
                    <a:lnTo>
                      <a:pt x="486765" y="65062"/>
                    </a:lnTo>
                    <a:close/>
                  </a:path>
                  <a:path w="591820" h="741045">
                    <a:moveTo>
                      <a:pt x="551472" y="66382"/>
                    </a:moveTo>
                    <a:lnTo>
                      <a:pt x="543483" y="66382"/>
                    </a:lnTo>
                    <a:lnTo>
                      <a:pt x="543483" y="725131"/>
                    </a:lnTo>
                    <a:lnTo>
                      <a:pt x="543483" y="725512"/>
                    </a:lnTo>
                    <a:lnTo>
                      <a:pt x="539445" y="725512"/>
                    </a:lnTo>
                    <a:lnTo>
                      <a:pt x="539445" y="725131"/>
                    </a:lnTo>
                    <a:lnTo>
                      <a:pt x="543483" y="725131"/>
                    </a:lnTo>
                    <a:lnTo>
                      <a:pt x="543483" y="66382"/>
                    </a:lnTo>
                    <a:lnTo>
                      <a:pt x="535444" y="66382"/>
                    </a:lnTo>
                    <a:lnTo>
                      <a:pt x="535444" y="86702"/>
                    </a:lnTo>
                    <a:lnTo>
                      <a:pt x="531456" y="86728"/>
                    </a:lnTo>
                    <a:lnTo>
                      <a:pt x="531456" y="721144"/>
                    </a:lnTo>
                    <a:lnTo>
                      <a:pt x="535444" y="721144"/>
                    </a:lnTo>
                    <a:lnTo>
                      <a:pt x="535444" y="721702"/>
                    </a:lnTo>
                    <a:lnTo>
                      <a:pt x="87757" y="721702"/>
                    </a:lnTo>
                    <a:lnTo>
                      <a:pt x="87757" y="86702"/>
                    </a:lnTo>
                    <a:lnTo>
                      <a:pt x="535444" y="86702"/>
                    </a:lnTo>
                    <a:lnTo>
                      <a:pt x="535444" y="66382"/>
                    </a:lnTo>
                    <a:lnTo>
                      <a:pt x="67754" y="66382"/>
                    </a:lnTo>
                    <a:lnTo>
                      <a:pt x="67754" y="75272"/>
                    </a:lnTo>
                    <a:lnTo>
                      <a:pt x="67754" y="733132"/>
                    </a:lnTo>
                    <a:lnTo>
                      <a:pt x="67754" y="740752"/>
                    </a:lnTo>
                    <a:lnTo>
                      <a:pt x="551472" y="740752"/>
                    </a:lnTo>
                    <a:lnTo>
                      <a:pt x="551472" y="733183"/>
                    </a:lnTo>
                    <a:lnTo>
                      <a:pt x="551472" y="75272"/>
                    </a:lnTo>
                    <a:lnTo>
                      <a:pt x="551472" y="74714"/>
                    </a:lnTo>
                    <a:lnTo>
                      <a:pt x="551472" y="66382"/>
                    </a:lnTo>
                    <a:close/>
                  </a:path>
                  <a:path w="591820" h="741045">
                    <a:moveTo>
                      <a:pt x="591515" y="100190"/>
                    </a:moveTo>
                    <a:lnTo>
                      <a:pt x="553466" y="100190"/>
                    </a:lnTo>
                    <a:lnTo>
                      <a:pt x="553466" y="107810"/>
                    </a:lnTo>
                    <a:lnTo>
                      <a:pt x="553466" y="111620"/>
                    </a:lnTo>
                    <a:lnTo>
                      <a:pt x="553466" y="120510"/>
                    </a:lnTo>
                    <a:lnTo>
                      <a:pt x="571487" y="120510"/>
                    </a:lnTo>
                    <a:lnTo>
                      <a:pt x="571487" y="688200"/>
                    </a:lnTo>
                    <a:lnTo>
                      <a:pt x="553466" y="688200"/>
                    </a:lnTo>
                    <a:lnTo>
                      <a:pt x="553466" y="695820"/>
                    </a:lnTo>
                    <a:lnTo>
                      <a:pt x="553466" y="699630"/>
                    </a:lnTo>
                    <a:lnTo>
                      <a:pt x="553466" y="707250"/>
                    </a:lnTo>
                    <a:lnTo>
                      <a:pt x="591515" y="707250"/>
                    </a:lnTo>
                    <a:lnTo>
                      <a:pt x="591515" y="699706"/>
                    </a:lnTo>
                    <a:lnTo>
                      <a:pt x="591515" y="108178"/>
                    </a:lnTo>
                    <a:lnTo>
                      <a:pt x="587489" y="108178"/>
                    </a:lnTo>
                    <a:lnTo>
                      <a:pt x="587489" y="107810"/>
                    </a:lnTo>
                    <a:lnTo>
                      <a:pt x="591515" y="107810"/>
                    </a:lnTo>
                    <a:lnTo>
                      <a:pt x="591515" y="100190"/>
                    </a:lnTo>
                    <a:close/>
                  </a:path>
                </a:pathLst>
              </a:custGeom>
              <a:solidFill>
                <a:srgbClr val="004876"/>
              </a:solidFill>
            </p:spPr>
            <p:txBody>
              <a:bodyPr wrap="square" lIns="0" tIns="0" rIns="0" bIns="0" rtlCol="0"/>
              <a:lstStyle/>
              <a:p>
                <a:endParaRPr/>
              </a:p>
            </p:txBody>
          </p:sp>
          <p:pic>
            <p:nvPicPr>
              <p:cNvPr id="450" name="object 4">
                <a:extLst>
                  <a:ext uri="{FF2B5EF4-FFF2-40B4-BE49-F238E27FC236}">
                    <a16:creationId xmlns:a16="http://schemas.microsoft.com/office/drawing/2014/main" id="{37B416B3-09B8-C4BF-4ED0-BBCFDFE92028}"/>
                  </a:ext>
                </a:extLst>
              </p:cNvPr>
              <p:cNvPicPr/>
              <p:nvPr/>
            </p:nvPicPr>
            <p:blipFill>
              <a:blip r:embed="rId35" cstate="print"/>
              <a:stretch>
                <a:fillRect/>
              </a:stretch>
            </p:blipFill>
            <p:spPr>
              <a:xfrm>
                <a:off x="8576839" y="8551730"/>
                <a:ext cx="159664" cy="159677"/>
              </a:xfrm>
              <a:prstGeom prst="rect">
                <a:avLst/>
              </a:prstGeom>
            </p:spPr>
          </p:pic>
          <p:sp>
            <p:nvSpPr>
              <p:cNvPr id="451" name="object 5">
                <a:extLst>
                  <a:ext uri="{FF2B5EF4-FFF2-40B4-BE49-F238E27FC236}">
                    <a16:creationId xmlns:a16="http://schemas.microsoft.com/office/drawing/2014/main" id="{67F52592-87E5-0D7A-E0EC-3C2BE509FC57}"/>
                  </a:ext>
                </a:extLst>
              </p:cNvPr>
              <p:cNvSpPr/>
              <p:nvPr/>
            </p:nvSpPr>
            <p:spPr>
              <a:xfrm>
                <a:off x="8386559" y="8162963"/>
                <a:ext cx="342900" cy="501650"/>
              </a:xfrm>
              <a:custGeom>
                <a:avLst/>
                <a:gdLst/>
                <a:ahLst/>
                <a:cxnLst/>
                <a:rect l="l" t="t" r="r" b="b"/>
                <a:pathLst>
                  <a:path w="342900" h="501650">
                    <a:moveTo>
                      <a:pt x="102908" y="481330"/>
                    </a:moveTo>
                    <a:lnTo>
                      <a:pt x="0" y="481330"/>
                    </a:lnTo>
                    <a:lnTo>
                      <a:pt x="0" y="490220"/>
                    </a:lnTo>
                    <a:lnTo>
                      <a:pt x="0" y="494030"/>
                    </a:lnTo>
                    <a:lnTo>
                      <a:pt x="0" y="501650"/>
                    </a:lnTo>
                    <a:lnTo>
                      <a:pt x="102908" y="501650"/>
                    </a:lnTo>
                    <a:lnTo>
                      <a:pt x="102908" y="494030"/>
                    </a:lnTo>
                    <a:lnTo>
                      <a:pt x="98907" y="494030"/>
                    </a:lnTo>
                    <a:lnTo>
                      <a:pt x="98907" y="493877"/>
                    </a:lnTo>
                    <a:lnTo>
                      <a:pt x="102908" y="493877"/>
                    </a:lnTo>
                    <a:lnTo>
                      <a:pt x="102908" y="490220"/>
                    </a:lnTo>
                    <a:lnTo>
                      <a:pt x="102908" y="489851"/>
                    </a:lnTo>
                    <a:lnTo>
                      <a:pt x="102908" y="481330"/>
                    </a:lnTo>
                    <a:close/>
                  </a:path>
                  <a:path w="342900" h="501650">
                    <a:moveTo>
                      <a:pt x="158369" y="388620"/>
                    </a:moveTo>
                    <a:lnTo>
                      <a:pt x="0" y="388620"/>
                    </a:lnTo>
                    <a:lnTo>
                      <a:pt x="0" y="396240"/>
                    </a:lnTo>
                    <a:lnTo>
                      <a:pt x="0" y="401320"/>
                    </a:lnTo>
                    <a:lnTo>
                      <a:pt x="0" y="408940"/>
                    </a:lnTo>
                    <a:lnTo>
                      <a:pt x="158369" y="408940"/>
                    </a:lnTo>
                    <a:lnTo>
                      <a:pt x="158369" y="401320"/>
                    </a:lnTo>
                    <a:lnTo>
                      <a:pt x="154368" y="401320"/>
                    </a:lnTo>
                    <a:lnTo>
                      <a:pt x="154368" y="400824"/>
                    </a:lnTo>
                    <a:lnTo>
                      <a:pt x="158369" y="400824"/>
                    </a:lnTo>
                    <a:lnTo>
                      <a:pt x="158369" y="396760"/>
                    </a:lnTo>
                    <a:lnTo>
                      <a:pt x="154368" y="396760"/>
                    </a:lnTo>
                    <a:lnTo>
                      <a:pt x="154368" y="396240"/>
                    </a:lnTo>
                    <a:lnTo>
                      <a:pt x="158369" y="396240"/>
                    </a:lnTo>
                    <a:lnTo>
                      <a:pt x="158369" y="388620"/>
                    </a:lnTo>
                    <a:close/>
                  </a:path>
                  <a:path w="342900" h="501650">
                    <a:moveTo>
                      <a:pt x="186677" y="0"/>
                    </a:moveTo>
                    <a:lnTo>
                      <a:pt x="84023" y="0"/>
                    </a:lnTo>
                    <a:lnTo>
                      <a:pt x="84023" y="8890"/>
                    </a:lnTo>
                    <a:lnTo>
                      <a:pt x="84023" y="12700"/>
                    </a:lnTo>
                    <a:lnTo>
                      <a:pt x="84023" y="20320"/>
                    </a:lnTo>
                    <a:lnTo>
                      <a:pt x="186677" y="20320"/>
                    </a:lnTo>
                    <a:lnTo>
                      <a:pt x="186677" y="12700"/>
                    </a:lnTo>
                    <a:lnTo>
                      <a:pt x="182689" y="12700"/>
                    </a:lnTo>
                    <a:lnTo>
                      <a:pt x="186677" y="12598"/>
                    </a:lnTo>
                    <a:lnTo>
                      <a:pt x="186677" y="8890"/>
                    </a:lnTo>
                    <a:lnTo>
                      <a:pt x="186677" y="8572"/>
                    </a:lnTo>
                    <a:lnTo>
                      <a:pt x="186677" y="0"/>
                    </a:lnTo>
                    <a:close/>
                  </a:path>
                  <a:path w="342900" h="501650">
                    <a:moveTo>
                      <a:pt x="242392" y="596"/>
                    </a:moveTo>
                    <a:lnTo>
                      <a:pt x="201574" y="596"/>
                    </a:lnTo>
                    <a:lnTo>
                      <a:pt x="201574" y="20586"/>
                    </a:lnTo>
                    <a:lnTo>
                      <a:pt x="242392" y="20586"/>
                    </a:lnTo>
                    <a:lnTo>
                      <a:pt x="242392" y="12598"/>
                    </a:lnTo>
                    <a:lnTo>
                      <a:pt x="242392" y="8572"/>
                    </a:lnTo>
                    <a:lnTo>
                      <a:pt x="242392" y="596"/>
                    </a:lnTo>
                    <a:close/>
                  </a:path>
                  <a:path w="342900" h="501650">
                    <a:moveTo>
                      <a:pt x="309753" y="231140"/>
                    </a:moveTo>
                    <a:lnTo>
                      <a:pt x="16002" y="231140"/>
                    </a:lnTo>
                    <a:lnTo>
                      <a:pt x="16002" y="238760"/>
                    </a:lnTo>
                    <a:lnTo>
                      <a:pt x="16002" y="242570"/>
                    </a:lnTo>
                    <a:lnTo>
                      <a:pt x="16002" y="251460"/>
                    </a:lnTo>
                    <a:lnTo>
                      <a:pt x="309753" y="251460"/>
                    </a:lnTo>
                    <a:lnTo>
                      <a:pt x="309753" y="243078"/>
                    </a:lnTo>
                    <a:lnTo>
                      <a:pt x="309753" y="242570"/>
                    </a:lnTo>
                    <a:lnTo>
                      <a:pt x="309753" y="239026"/>
                    </a:lnTo>
                    <a:lnTo>
                      <a:pt x="305765" y="239026"/>
                    </a:lnTo>
                    <a:lnTo>
                      <a:pt x="305765" y="238760"/>
                    </a:lnTo>
                    <a:lnTo>
                      <a:pt x="309753" y="238760"/>
                    </a:lnTo>
                    <a:lnTo>
                      <a:pt x="309753" y="231140"/>
                    </a:lnTo>
                    <a:close/>
                  </a:path>
                  <a:path w="342900" h="501650">
                    <a:moveTo>
                      <a:pt x="309753" y="173990"/>
                    </a:moveTo>
                    <a:lnTo>
                      <a:pt x="16002" y="173990"/>
                    </a:lnTo>
                    <a:lnTo>
                      <a:pt x="16002" y="181610"/>
                    </a:lnTo>
                    <a:lnTo>
                      <a:pt x="16002" y="185420"/>
                    </a:lnTo>
                    <a:lnTo>
                      <a:pt x="16002" y="193040"/>
                    </a:lnTo>
                    <a:lnTo>
                      <a:pt x="309753" y="193040"/>
                    </a:lnTo>
                    <a:lnTo>
                      <a:pt x="309753" y="185458"/>
                    </a:lnTo>
                    <a:lnTo>
                      <a:pt x="309753" y="181610"/>
                    </a:lnTo>
                    <a:lnTo>
                      <a:pt x="309753" y="181394"/>
                    </a:lnTo>
                    <a:lnTo>
                      <a:pt x="309753" y="173990"/>
                    </a:lnTo>
                    <a:close/>
                  </a:path>
                  <a:path w="342900" h="501650">
                    <a:moveTo>
                      <a:pt x="310400" y="58420"/>
                    </a:moveTo>
                    <a:lnTo>
                      <a:pt x="16002" y="58420"/>
                    </a:lnTo>
                    <a:lnTo>
                      <a:pt x="16002" y="66040"/>
                    </a:lnTo>
                    <a:lnTo>
                      <a:pt x="16002" y="69850"/>
                    </a:lnTo>
                    <a:lnTo>
                      <a:pt x="16002" y="78740"/>
                    </a:lnTo>
                    <a:lnTo>
                      <a:pt x="310400" y="78740"/>
                    </a:lnTo>
                    <a:lnTo>
                      <a:pt x="310400" y="70231"/>
                    </a:lnTo>
                    <a:lnTo>
                      <a:pt x="310400" y="69850"/>
                    </a:lnTo>
                    <a:lnTo>
                      <a:pt x="310400" y="66205"/>
                    </a:lnTo>
                    <a:lnTo>
                      <a:pt x="306362" y="66205"/>
                    </a:lnTo>
                    <a:lnTo>
                      <a:pt x="306362" y="66040"/>
                    </a:lnTo>
                    <a:lnTo>
                      <a:pt x="310400" y="66040"/>
                    </a:lnTo>
                    <a:lnTo>
                      <a:pt x="310400" y="58420"/>
                    </a:lnTo>
                    <a:close/>
                  </a:path>
                  <a:path w="342900" h="501650">
                    <a:moveTo>
                      <a:pt x="342506" y="288290"/>
                    </a:moveTo>
                    <a:lnTo>
                      <a:pt x="100774" y="288290"/>
                    </a:lnTo>
                    <a:lnTo>
                      <a:pt x="100774" y="297180"/>
                    </a:lnTo>
                    <a:lnTo>
                      <a:pt x="100774" y="300990"/>
                    </a:lnTo>
                    <a:lnTo>
                      <a:pt x="100774" y="308610"/>
                    </a:lnTo>
                    <a:lnTo>
                      <a:pt x="342506" y="308610"/>
                    </a:lnTo>
                    <a:lnTo>
                      <a:pt x="342506" y="300990"/>
                    </a:lnTo>
                    <a:lnTo>
                      <a:pt x="338480" y="300990"/>
                    </a:lnTo>
                    <a:lnTo>
                      <a:pt x="338480" y="300672"/>
                    </a:lnTo>
                    <a:lnTo>
                      <a:pt x="342506" y="300672"/>
                    </a:lnTo>
                    <a:lnTo>
                      <a:pt x="342506" y="297180"/>
                    </a:lnTo>
                    <a:lnTo>
                      <a:pt x="342506" y="296621"/>
                    </a:lnTo>
                    <a:lnTo>
                      <a:pt x="342506" y="288290"/>
                    </a:lnTo>
                    <a:close/>
                  </a:path>
                  <a:path w="342900" h="501650">
                    <a:moveTo>
                      <a:pt x="342506" y="115570"/>
                    </a:moveTo>
                    <a:lnTo>
                      <a:pt x="37020" y="115570"/>
                    </a:lnTo>
                    <a:lnTo>
                      <a:pt x="37020" y="123190"/>
                    </a:lnTo>
                    <a:lnTo>
                      <a:pt x="37020" y="128270"/>
                    </a:lnTo>
                    <a:lnTo>
                      <a:pt x="37020" y="135890"/>
                    </a:lnTo>
                    <a:lnTo>
                      <a:pt x="342506" y="135890"/>
                    </a:lnTo>
                    <a:lnTo>
                      <a:pt x="342506" y="128270"/>
                    </a:lnTo>
                    <a:lnTo>
                      <a:pt x="338518" y="128270"/>
                    </a:lnTo>
                    <a:lnTo>
                      <a:pt x="338518" y="127850"/>
                    </a:lnTo>
                    <a:lnTo>
                      <a:pt x="342506" y="127850"/>
                    </a:lnTo>
                    <a:lnTo>
                      <a:pt x="342506" y="123799"/>
                    </a:lnTo>
                    <a:lnTo>
                      <a:pt x="338518" y="123799"/>
                    </a:lnTo>
                    <a:lnTo>
                      <a:pt x="338518" y="123190"/>
                    </a:lnTo>
                    <a:lnTo>
                      <a:pt x="342506" y="123190"/>
                    </a:lnTo>
                    <a:lnTo>
                      <a:pt x="342506" y="115570"/>
                    </a:lnTo>
                    <a:close/>
                  </a:path>
                </a:pathLst>
              </a:custGeom>
              <a:solidFill>
                <a:srgbClr val="004876"/>
              </a:solidFill>
            </p:spPr>
            <p:txBody>
              <a:bodyPr wrap="square" lIns="0" tIns="0" rIns="0" bIns="0" rtlCol="0"/>
              <a:lstStyle/>
              <a:p>
                <a:endParaRPr/>
              </a:p>
            </p:txBody>
          </p:sp>
          <p:pic>
            <p:nvPicPr>
              <p:cNvPr id="452" name="object 6">
                <a:extLst>
                  <a:ext uri="{FF2B5EF4-FFF2-40B4-BE49-F238E27FC236}">
                    <a16:creationId xmlns:a16="http://schemas.microsoft.com/office/drawing/2014/main" id="{DE699C27-C962-1B2E-0579-3F9E93D8018B}"/>
                  </a:ext>
                </a:extLst>
              </p:cNvPr>
              <p:cNvPicPr/>
              <p:nvPr/>
            </p:nvPicPr>
            <p:blipFill>
              <a:blip r:embed="rId36" cstate="print"/>
              <a:stretch>
                <a:fillRect/>
              </a:stretch>
            </p:blipFill>
            <p:spPr>
              <a:xfrm>
                <a:off x="8161240" y="7944367"/>
                <a:ext cx="110150" cy="116442"/>
              </a:xfrm>
              <a:prstGeom prst="rect">
                <a:avLst/>
              </a:prstGeom>
            </p:spPr>
          </p:pic>
        </p:grpSp>
      </p:grpSp>
      <p:sp>
        <p:nvSpPr>
          <p:cNvPr id="478" name="TextBox 477">
            <a:extLst>
              <a:ext uri="{FF2B5EF4-FFF2-40B4-BE49-F238E27FC236}">
                <a16:creationId xmlns:a16="http://schemas.microsoft.com/office/drawing/2014/main" id="{8D9FDF46-401C-12E9-230D-A34391267AB2}"/>
              </a:ext>
            </a:extLst>
          </p:cNvPr>
          <p:cNvSpPr txBox="1">
            <a:spLocks/>
          </p:cNvSpPr>
          <p:nvPr/>
        </p:nvSpPr>
        <p:spPr>
          <a:xfrm>
            <a:off x="7832833" y="2373685"/>
            <a:ext cx="1647398" cy="738664"/>
          </a:xfrm>
          <a:prstGeom prst="rect">
            <a:avLst/>
          </a:prstGeom>
          <a:noFill/>
        </p:spPr>
        <p:txBody>
          <a:bodyPr wrap="square" lIns="0" tIns="0" rIns="0" bIns="0" rtlCol="0">
            <a:spAutoFit/>
          </a:bodyPr>
          <a:lstStyle/>
          <a:p>
            <a:pPr algn="ctr"/>
            <a:r>
              <a:rPr lang="en-GB" sz="1600" b="1" i="1">
                <a:solidFill>
                  <a:schemeClr val="accent1"/>
                </a:solidFill>
                <a:latin typeface="Century Gothic" panose="020B0502020202020204" pitchFamily="34" charset="0"/>
              </a:rPr>
              <a:t>Clearly feasible ambition in “NDCs 3.0”</a:t>
            </a:r>
          </a:p>
        </p:txBody>
      </p:sp>
      <p:sp>
        <p:nvSpPr>
          <p:cNvPr id="479" name="Right Brace 478">
            <a:extLst>
              <a:ext uri="{FF2B5EF4-FFF2-40B4-BE49-F238E27FC236}">
                <a16:creationId xmlns:a16="http://schemas.microsoft.com/office/drawing/2014/main" id="{5FF0FEB4-7467-4CB4-1499-0C0367EEBED2}"/>
              </a:ext>
            </a:extLst>
          </p:cNvPr>
          <p:cNvSpPr/>
          <p:nvPr/>
        </p:nvSpPr>
        <p:spPr>
          <a:xfrm>
            <a:off x="7620652" y="1880216"/>
            <a:ext cx="137246" cy="1220788"/>
          </a:xfrm>
          <a:prstGeom prst="rightBrace">
            <a:avLst>
              <a:gd name="adj1" fmla="val 36185"/>
              <a:gd name="adj2" fmla="val 79129"/>
            </a:avLst>
          </a:prstGeom>
          <a:ln w="190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graphicFrame>
        <p:nvGraphicFramePr>
          <p:cNvPr id="468" name="Chart 467">
            <a:extLst>
              <a:ext uri="{FF2B5EF4-FFF2-40B4-BE49-F238E27FC236}">
                <a16:creationId xmlns:a16="http://schemas.microsoft.com/office/drawing/2014/main" id="{B1A4E903-B2FE-5EA2-76BC-BB249D1D5769}"/>
              </a:ext>
            </a:extLst>
          </p:cNvPr>
          <p:cNvGraphicFramePr/>
          <p:nvPr>
            <p:custDataLst>
              <p:tags r:id="rId14"/>
            </p:custDataLst>
          </p:nvPr>
        </p:nvGraphicFramePr>
        <p:xfrm>
          <a:off x="-4763" y="1438275"/>
          <a:ext cx="7327900" cy="4706938"/>
        </p:xfrm>
        <a:graphic>
          <a:graphicData uri="http://schemas.openxmlformats.org/drawingml/2006/chart">
            <c:chart xmlns:c="http://schemas.openxmlformats.org/drawingml/2006/chart" xmlns:r="http://schemas.openxmlformats.org/officeDocument/2006/relationships" r:id="rId37"/>
          </a:graphicData>
        </a:graphic>
      </p:graphicFrame>
      <p:cxnSp>
        <p:nvCxnSpPr>
          <p:cNvPr id="122" name="Straight Connector 121">
            <a:extLst>
              <a:ext uri="{FF2B5EF4-FFF2-40B4-BE49-F238E27FC236}">
                <a16:creationId xmlns:a16="http://schemas.microsoft.com/office/drawing/2014/main" id="{370498EB-0DB2-6C80-B2FB-232B9EB8D87B}"/>
              </a:ext>
            </a:extLst>
          </p:cNvPr>
          <p:cNvCxnSpPr>
            <a:cxnSpLocks/>
          </p:cNvCxnSpPr>
          <p:nvPr/>
        </p:nvCxnSpPr>
        <p:spPr>
          <a:xfrm>
            <a:off x="7019262" y="3107055"/>
            <a:ext cx="3328063"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1EFF53A-9D3B-04CE-4F1D-C3F58230E030}"/>
              </a:ext>
            </a:extLst>
          </p:cNvPr>
          <p:cNvCxnSpPr>
            <a:cxnSpLocks/>
          </p:cNvCxnSpPr>
          <p:nvPr/>
        </p:nvCxnSpPr>
        <p:spPr>
          <a:xfrm>
            <a:off x="7069031" y="1871663"/>
            <a:ext cx="500170"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25" name="Straight Arrow Connector 124">
            <a:extLst>
              <a:ext uri="{FF2B5EF4-FFF2-40B4-BE49-F238E27FC236}">
                <a16:creationId xmlns:a16="http://schemas.microsoft.com/office/drawing/2014/main" id="{80AD295E-7638-3416-3EC4-023EBDFA2D34}"/>
              </a:ext>
            </a:extLst>
          </p:cNvPr>
          <p:cNvCxnSpPr>
            <a:cxnSpLocks/>
          </p:cNvCxnSpPr>
          <p:nvPr/>
        </p:nvCxnSpPr>
        <p:spPr>
          <a:xfrm>
            <a:off x="7319116" y="1881187"/>
            <a:ext cx="0" cy="400050"/>
          </a:xfrm>
          <a:prstGeom prst="straightConnector1">
            <a:avLst/>
          </a:prstGeom>
          <a:ln w="1905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84" name="Straight Connector 483">
            <a:extLst>
              <a:ext uri="{FF2B5EF4-FFF2-40B4-BE49-F238E27FC236}">
                <a16:creationId xmlns:a16="http://schemas.microsoft.com/office/drawing/2014/main" id="{69D76279-5933-9C00-1FBB-1EDF125CEAF7}"/>
              </a:ext>
            </a:extLst>
          </p:cNvPr>
          <p:cNvCxnSpPr>
            <a:cxnSpLocks/>
          </p:cNvCxnSpPr>
          <p:nvPr/>
        </p:nvCxnSpPr>
        <p:spPr>
          <a:xfrm flipV="1">
            <a:off x="7069031" y="2281237"/>
            <a:ext cx="2019981" cy="3176"/>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670DC94F-074C-6359-A9BC-A2C16D11906E}"/>
              </a:ext>
            </a:extLst>
          </p:cNvPr>
          <p:cNvCxnSpPr>
            <a:cxnSpLocks/>
          </p:cNvCxnSpPr>
          <p:nvPr/>
        </p:nvCxnSpPr>
        <p:spPr>
          <a:xfrm>
            <a:off x="187695" y="1384159"/>
            <a:ext cx="11763005"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71" name="Straight Arrow Connector 470">
            <a:extLst>
              <a:ext uri="{FF2B5EF4-FFF2-40B4-BE49-F238E27FC236}">
                <a16:creationId xmlns:a16="http://schemas.microsoft.com/office/drawing/2014/main" id="{EECB529C-931B-E7A1-D319-85D3BB820C65}"/>
              </a:ext>
            </a:extLst>
          </p:cNvPr>
          <p:cNvCxnSpPr>
            <a:cxnSpLocks/>
          </p:cNvCxnSpPr>
          <p:nvPr/>
        </p:nvCxnSpPr>
        <p:spPr>
          <a:xfrm>
            <a:off x="7424343" y="1881187"/>
            <a:ext cx="0" cy="402336"/>
          </a:xfrm>
          <a:prstGeom prst="straightConnector1">
            <a:avLst/>
          </a:prstGeom>
          <a:ln w="1905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72" name="Straight Arrow Connector 471">
            <a:extLst>
              <a:ext uri="{FF2B5EF4-FFF2-40B4-BE49-F238E27FC236}">
                <a16:creationId xmlns:a16="http://schemas.microsoft.com/office/drawing/2014/main" id="{29D5E364-4152-B4B2-A3F1-364AF648784F}"/>
              </a:ext>
            </a:extLst>
          </p:cNvPr>
          <p:cNvCxnSpPr>
            <a:cxnSpLocks/>
          </p:cNvCxnSpPr>
          <p:nvPr/>
        </p:nvCxnSpPr>
        <p:spPr>
          <a:xfrm>
            <a:off x="7424343" y="2294692"/>
            <a:ext cx="0" cy="402336"/>
          </a:xfrm>
          <a:prstGeom prst="straightConnector1">
            <a:avLst/>
          </a:prstGeom>
          <a:ln w="1905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73" name="Straight Arrow Connector 472">
            <a:extLst>
              <a:ext uri="{FF2B5EF4-FFF2-40B4-BE49-F238E27FC236}">
                <a16:creationId xmlns:a16="http://schemas.microsoft.com/office/drawing/2014/main" id="{47840E30-0AC8-46FB-D8E5-FEE3D6B8341A}"/>
              </a:ext>
            </a:extLst>
          </p:cNvPr>
          <p:cNvCxnSpPr>
            <a:cxnSpLocks/>
          </p:cNvCxnSpPr>
          <p:nvPr/>
        </p:nvCxnSpPr>
        <p:spPr>
          <a:xfrm>
            <a:off x="7424343" y="2708197"/>
            <a:ext cx="0" cy="402336"/>
          </a:xfrm>
          <a:prstGeom prst="straightConnector1">
            <a:avLst/>
          </a:prstGeom>
          <a:ln w="1905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476" name="Group 475">
            <a:extLst>
              <a:ext uri="{FF2B5EF4-FFF2-40B4-BE49-F238E27FC236}">
                <a16:creationId xmlns:a16="http://schemas.microsoft.com/office/drawing/2014/main" id="{D0A729D2-3D8F-062C-5181-8AEE9F20E2DC}"/>
              </a:ext>
            </a:extLst>
          </p:cNvPr>
          <p:cNvGrpSpPr/>
          <p:nvPr/>
        </p:nvGrpSpPr>
        <p:grpSpPr>
          <a:xfrm>
            <a:off x="6960043" y="2493639"/>
            <a:ext cx="360845" cy="360845"/>
            <a:chOff x="7798006" y="2576513"/>
            <a:chExt cx="360845" cy="360845"/>
          </a:xfrm>
        </p:grpSpPr>
        <p:sp>
          <p:nvSpPr>
            <p:cNvPr id="474" name="Oval 473">
              <a:extLst>
                <a:ext uri="{FF2B5EF4-FFF2-40B4-BE49-F238E27FC236}">
                  <a16:creationId xmlns:a16="http://schemas.microsoft.com/office/drawing/2014/main" id="{0BB62A5E-1C3A-F814-245E-814461AE8E78}"/>
                </a:ext>
              </a:extLst>
            </p:cNvPr>
            <p:cNvSpPr/>
            <p:nvPr/>
          </p:nvSpPr>
          <p:spPr>
            <a:xfrm>
              <a:off x="7798006" y="2576513"/>
              <a:ext cx="360845" cy="360845"/>
            </a:xfrm>
            <a:prstGeom prst="ellipse">
              <a:avLst/>
            </a:prstGeom>
            <a:solidFill>
              <a:schemeClr val="bg1">
                <a:lumMod val="95000"/>
              </a:schemeClr>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a:ln>
                  <a:noFill/>
                </a:ln>
                <a:solidFill>
                  <a:schemeClr val="bg1"/>
                </a:solidFill>
                <a:latin typeface="Century Gothic" panose="020B0502020202020204" pitchFamily="34" charset="0"/>
              </a:endParaRPr>
            </a:p>
          </p:txBody>
        </p:sp>
        <p:sp>
          <p:nvSpPr>
            <p:cNvPr id="475" name="TextBox 474">
              <a:extLst>
                <a:ext uri="{FF2B5EF4-FFF2-40B4-BE49-F238E27FC236}">
                  <a16:creationId xmlns:a16="http://schemas.microsoft.com/office/drawing/2014/main" id="{6FC95F84-0B70-295D-1831-5519BF8E884F}"/>
                </a:ext>
              </a:extLst>
            </p:cNvPr>
            <p:cNvSpPr txBox="1">
              <a:spLocks/>
            </p:cNvSpPr>
            <p:nvPr/>
          </p:nvSpPr>
          <p:spPr>
            <a:xfrm>
              <a:off x="7804479" y="2672297"/>
              <a:ext cx="347898" cy="169277"/>
            </a:xfrm>
            <a:prstGeom prst="rect">
              <a:avLst/>
            </a:prstGeom>
            <a:noFill/>
          </p:spPr>
          <p:txBody>
            <a:bodyPr wrap="square" lIns="0" tIns="0" rIns="0" bIns="0" rtlCol="0">
              <a:spAutoFit/>
            </a:bodyPr>
            <a:lstStyle/>
            <a:p>
              <a:pPr algn="ctr"/>
              <a:r>
                <a:rPr lang="en-GB" sz="1100" b="1" i="1">
                  <a:solidFill>
                    <a:schemeClr val="accent1"/>
                  </a:solidFill>
                  <a:latin typeface="Century Gothic" panose="020B0502020202020204" pitchFamily="34" charset="0"/>
                </a:rPr>
                <a:t>3X</a:t>
              </a:r>
            </a:p>
          </p:txBody>
        </p:sp>
      </p:grpSp>
      <p:pic>
        <p:nvPicPr>
          <p:cNvPr id="20" name="Picture 19">
            <a:extLst>
              <a:ext uri="{FF2B5EF4-FFF2-40B4-BE49-F238E27FC236}">
                <a16:creationId xmlns:a16="http://schemas.microsoft.com/office/drawing/2014/main" id="{428B144C-9720-CA4F-E4C0-44DFDA371A70}"/>
              </a:ext>
            </a:extLst>
          </p:cNvPr>
          <p:cNvPicPr>
            <a:picLocks noChangeAspect="1"/>
          </p:cNvPicPr>
          <p:nvPr/>
        </p:nvPicPr>
        <p:blipFill rotWithShape="1">
          <a:blip r:embed="rId38"/>
          <a:srcRect b="1907"/>
          <a:stretch/>
        </p:blipFill>
        <p:spPr>
          <a:xfrm>
            <a:off x="9429693" y="1042409"/>
            <a:ext cx="2821572" cy="4001903"/>
          </a:xfrm>
          <a:prstGeom prst="rect">
            <a:avLst/>
          </a:prstGeom>
        </p:spPr>
      </p:pic>
      <p:cxnSp>
        <p:nvCxnSpPr>
          <p:cNvPr id="22" name="Straight Connector 21">
            <a:extLst>
              <a:ext uri="{FF2B5EF4-FFF2-40B4-BE49-F238E27FC236}">
                <a16:creationId xmlns:a16="http://schemas.microsoft.com/office/drawing/2014/main" id="{B78CFC9B-4BA6-871F-0159-AC29134406E6}"/>
              </a:ext>
            </a:extLst>
          </p:cNvPr>
          <p:cNvCxnSpPr>
            <a:cxnSpLocks/>
          </p:cNvCxnSpPr>
          <p:nvPr/>
        </p:nvCxnSpPr>
        <p:spPr>
          <a:xfrm>
            <a:off x="7880207" y="1384300"/>
            <a:ext cx="3446838"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1A2EC291-F1E1-1C4B-F4C8-5B56273BB2F7}"/>
              </a:ext>
            </a:extLst>
          </p:cNvPr>
          <p:cNvCxnSpPr>
            <a:cxnSpLocks/>
          </p:cNvCxnSpPr>
          <p:nvPr/>
        </p:nvCxnSpPr>
        <p:spPr>
          <a:xfrm>
            <a:off x="11969245" y="1384159"/>
            <a:ext cx="1035193"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375A28FC-ECD3-3F89-A61A-4ACA9C13F80E}"/>
              </a:ext>
            </a:extLst>
          </p:cNvPr>
          <p:cNvCxnSpPr>
            <a:cxnSpLocks/>
          </p:cNvCxnSpPr>
          <p:nvPr/>
        </p:nvCxnSpPr>
        <p:spPr>
          <a:xfrm>
            <a:off x="7531101" y="1875902"/>
            <a:ext cx="0" cy="2173811"/>
          </a:xfrm>
          <a:prstGeom prst="straightConnector1">
            <a:avLst/>
          </a:prstGeom>
          <a:ln w="19050">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F4D504F4-0AA8-F083-42BF-4E21E6BA202E}"/>
              </a:ext>
            </a:extLst>
          </p:cNvPr>
          <p:cNvSpPr txBox="1">
            <a:spLocks/>
          </p:cNvSpPr>
          <p:nvPr/>
        </p:nvSpPr>
        <p:spPr>
          <a:xfrm>
            <a:off x="7832833" y="1779086"/>
            <a:ext cx="1602561" cy="492443"/>
          </a:xfrm>
          <a:prstGeom prst="rect">
            <a:avLst/>
          </a:prstGeom>
          <a:noFill/>
        </p:spPr>
        <p:txBody>
          <a:bodyPr wrap="square" lIns="0" tIns="0" rIns="0" bIns="0" rtlCol="0">
            <a:spAutoFit/>
          </a:bodyPr>
          <a:lstStyle/>
          <a:p>
            <a:pPr algn="ctr"/>
            <a:r>
              <a:rPr lang="en-GB" sz="1600" b="1" i="1">
                <a:solidFill>
                  <a:schemeClr val="tx2"/>
                </a:solidFill>
                <a:latin typeface="Century Gothic" panose="020B0502020202020204" pitchFamily="34" charset="0"/>
              </a:rPr>
              <a:t>Implementation gap</a:t>
            </a:r>
          </a:p>
        </p:txBody>
      </p:sp>
      <p:sp>
        <p:nvSpPr>
          <p:cNvPr id="37" name="TextBox 36">
            <a:extLst>
              <a:ext uri="{FF2B5EF4-FFF2-40B4-BE49-F238E27FC236}">
                <a16:creationId xmlns:a16="http://schemas.microsoft.com/office/drawing/2014/main" id="{06CC8C0A-D571-CC4F-996C-7E6C870FBD48}"/>
              </a:ext>
            </a:extLst>
          </p:cNvPr>
          <p:cNvSpPr txBox="1">
            <a:spLocks/>
          </p:cNvSpPr>
          <p:nvPr/>
        </p:nvSpPr>
        <p:spPr>
          <a:xfrm>
            <a:off x="7832833" y="3757152"/>
            <a:ext cx="1329927" cy="246221"/>
          </a:xfrm>
          <a:prstGeom prst="rect">
            <a:avLst/>
          </a:prstGeom>
          <a:noFill/>
        </p:spPr>
        <p:txBody>
          <a:bodyPr wrap="square" lIns="0" tIns="0" rIns="0" bIns="0" rtlCol="0">
            <a:spAutoFit/>
          </a:bodyPr>
          <a:lstStyle/>
          <a:p>
            <a:pPr algn="ctr"/>
            <a:r>
              <a:rPr lang="en-GB" sz="1600" b="1" i="1">
                <a:solidFill>
                  <a:schemeClr val="accent5"/>
                </a:solidFill>
                <a:latin typeface="Century Gothic" panose="020B0502020202020204" pitchFamily="34" charset="0"/>
              </a:rPr>
              <a:t>Gap to 1.5°C</a:t>
            </a:r>
          </a:p>
        </p:txBody>
      </p:sp>
      <p:sp>
        <p:nvSpPr>
          <p:cNvPr id="38" name="Rectangle 37">
            <a:extLst>
              <a:ext uri="{FF2B5EF4-FFF2-40B4-BE49-F238E27FC236}">
                <a16:creationId xmlns:a16="http://schemas.microsoft.com/office/drawing/2014/main" id="{A6A1F433-9987-FAC7-780C-5A415DF061EF}"/>
              </a:ext>
            </a:extLst>
          </p:cNvPr>
          <p:cNvSpPr/>
          <p:nvPr/>
        </p:nvSpPr>
        <p:spPr>
          <a:xfrm>
            <a:off x="9089012" y="4800076"/>
            <a:ext cx="2084617" cy="502092"/>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a:ln>
                <a:noFill/>
              </a:ln>
              <a:solidFill>
                <a:schemeClr val="bg1"/>
              </a:solidFill>
              <a:latin typeface="Century Gothic" panose="020B0502020202020204" pitchFamily="34" charset="0"/>
            </a:endParaRPr>
          </a:p>
        </p:txBody>
      </p:sp>
    </p:spTree>
    <p:extLst>
      <p:ext uri="{BB962C8B-B14F-4D97-AF65-F5344CB8AC3E}">
        <p14:creationId xmlns:p14="http://schemas.microsoft.com/office/powerpoint/2010/main" val="17546661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0BBE5F-FD66-3F29-7B47-0D3E8B5B8725}"/>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533F6FD-30BE-A53A-D470-BA6F94A4C850}"/>
              </a:ext>
            </a:extLst>
          </p:cNvPr>
          <p:cNvGraphicFramePr>
            <a:graphicFrameLocks noChangeAspect="1"/>
          </p:cNvGraphicFramePr>
          <p:nvPr>
            <p:custDataLst>
              <p:tags r:id="rId1"/>
            </p:custDataLst>
            <p:extLst>
              <p:ext uri="{D42A27DB-BD31-4B8C-83A1-F6EECF244321}">
                <p14:modId xmlns:p14="http://schemas.microsoft.com/office/powerpoint/2010/main" val="37358515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7533F6FD-30BE-A53A-D470-BA6F94A4C85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 name="Rectangle 19">
            <a:extLst>
              <a:ext uri="{FF2B5EF4-FFF2-40B4-BE49-F238E27FC236}">
                <a16:creationId xmlns:a16="http://schemas.microsoft.com/office/drawing/2014/main" id="{F7BF5A3B-7F64-BE1E-804E-017C7B099740}"/>
              </a:ext>
            </a:extLst>
          </p:cNvPr>
          <p:cNvSpPr/>
          <p:nvPr/>
        </p:nvSpPr>
        <p:spPr>
          <a:xfrm>
            <a:off x="203200" y="6248400"/>
            <a:ext cx="1259840" cy="589385"/>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US" sz="1400">
              <a:ln>
                <a:noFill/>
              </a:ln>
              <a:solidFill>
                <a:schemeClr val="bg1"/>
              </a:solidFill>
              <a:latin typeface="Century Gothic" panose="020B0502020202020204" pitchFamily="34" charset="0"/>
            </a:endParaRPr>
          </a:p>
        </p:txBody>
      </p:sp>
      <p:sp>
        <p:nvSpPr>
          <p:cNvPr id="2" name="Title 1">
            <a:extLst>
              <a:ext uri="{FF2B5EF4-FFF2-40B4-BE49-F238E27FC236}">
                <a16:creationId xmlns:a16="http://schemas.microsoft.com/office/drawing/2014/main" id="{19690374-629B-A258-286B-49318FDFBABD}"/>
              </a:ext>
            </a:extLst>
          </p:cNvPr>
          <p:cNvSpPr>
            <a:spLocks noGrp="1"/>
          </p:cNvSpPr>
          <p:nvPr>
            <p:ph type="title"/>
          </p:nvPr>
        </p:nvSpPr>
        <p:spPr>
          <a:xfrm>
            <a:off x="381600" y="243794"/>
            <a:ext cx="11446626" cy="335231"/>
          </a:xfrm>
        </p:spPr>
        <p:txBody>
          <a:bodyPr vert="horz" anchor="t"/>
          <a:lstStyle/>
          <a:p>
            <a:r>
              <a:rPr lang="en-US" sz="2000"/>
              <a:t>But ambition alone will not translate into progress: clear NDC targets and information on how they will be delivered, including investment required, will reinforce their role as roadmaps for climate action</a:t>
            </a:r>
          </a:p>
        </p:txBody>
      </p:sp>
      <p:sp>
        <p:nvSpPr>
          <p:cNvPr id="8" name="Footer Placeholder 3">
            <a:extLst>
              <a:ext uri="{FF2B5EF4-FFF2-40B4-BE49-F238E27FC236}">
                <a16:creationId xmlns:a16="http://schemas.microsoft.com/office/drawing/2014/main" id="{E04E1F8A-F857-0F90-44C5-835FCEA66AD7}"/>
              </a:ext>
            </a:extLst>
          </p:cNvPr>
          <p:cNvSpPr txBox="1">
            <a:spLocks/>
          </p:cNvSpPr>
          <p:nvPr/>
        </p:nvSpPr>
        <p:spPr>
          <a:xfrm>
            <a:off x="372687" y="6543092"/>
            <a:ext cx="11446626" cy="192109"/>
          </a:xfrm>
          <a:prstGeom prst="rect">
            <a:avLst/>
          </a:prstGeom>
        </p:spPr>
        <p:txBody>
          <a:bodyPr anchor="ctr"/>
          <a:lstStyle>
            <a:defPPr>
              <a:defRPr lang="de-DE"/>
            </a:defPPr>
            <a:lvl1pPr marL="0" algn="l" defTabSz="914400" rtl="0" eaLnBrk="1" latinLnBrk="0" hangingPunct="1">
              <a:defRPr sz="900" kern="1200">
                <a:solidFill>
                  <a:schemeClr val="tx1"/>
                </a:solidFill>
                <a:latin typeface="Century Gothic" panose="020B0502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Note: comparison to current NDCs applies to most but not all NDCs. Listed countries are broad examples to which current NDC shortcomings apply. </a:t>
            </a:r>
          </a:p>
        </p:txBody>
      </p:sp>
      <p:graphicFrame>
        <p:nvGraphicFramePr>
          <p:cNvPr id="7" name="Content Placeholder 1">
            <a:extLst>
              <a:ext uri="{FF2B5EF4-FFF2-40B4-BE49-F238E27FC236}">
                <a16:creationId xmlns:a16="http://schemas.microsoft.com/office/drawing/2014/main" id="{891C9CD3-5E3F-D550-BE99-80FE5D28F00E}"/>
              </a:ext>
            </a:extLst>
          </p:cNvPr>
          <p:cNvGraphicFramePr>
            <a:graphicFrameLocks noGrp="1"/>
          </p:cNvGraphicFramePr>
          <p:nvPr>
            <p:ph idx="1"/>
            <p:extLst>
              <p:ext uri="{D42A27DB-BD31-4B8C-83A1-F6EECF244321}">
                <p14:modId xmlns:p14="http://schemas.microsoft.com/office/powerpoint/2010/main" val="1180387812"/>
              </p:ext>
            </p:extLst>
          </p:nvPr>
        </p:nvGraphicFramePr>
        <p:xfrm>
          <a:off x="650082" y="1381125"/>
          <a:ext cx="10891837" cy="2847977"/>
        </p:xfrm>
        <a:graphic>
          <a:graphicData uri="http://schemas.openxmlformats.org/drawingml/2006/table">
            <a:tbl>
              <a:tblPr firstRow="1" bandRow="1">
                <a:tableStyleId>{5940675A-B579-460E-94D1-54222C63F5DA}</a:tableStyleId>
              </a:tblPr>
              <a:tblGrid>
                <a:gridCol w="2611563">
                  <a:extLst>
                    <a:ext uri="{9D8B030D-6E8A-4147-A177-3AD203B41FA5}">
                      <a16:colId xmlns:a16="http://schemas.microsoft.com/office/drawing/2014/main" val="3837114731"/>
                    </a:ext>
                  </a:extLst>
                </a:gridCol>
                <a:gridCol w="4140137">
                  <a:extLst>
                    <a:ext uri="{9D8B030D-6E8A-4147-A177-3AD203B41FA5}">
                      <a16:colId xmlns:a16="http://schemas.microsoft.com/office/drawing/2014/main" val="1433788450"/>
                    </a:ext>
                  </a:extLst>
                </a:gridCol>
                <a:gridCol w="4140137">
                  <a:extLst>
                    <a:ext uri="{9D8B030D-6E8A-4147-A177-3AD203B41FA5}">
                      <a16:colId xmlns:a16="http://schemas.microsoft.com/office/drawing/2014/main" val="1827729208"/>
                    </a:ext>
                  </a:extLst>
                </a:gridCol>
              </a:tblGrid>
              <a:tr h="531636">
                <a:tc>
                  <a:txBody>
                    <a:bodyPr/>
                    <a:lstStyle/>
                    <a:p>
                      <a:pPr algn="l"/>
                      <a:r>
                        <a:rPr lang="en-GB" sz="1400" b="1">
                          <a:solidFill>
                            <a:schemeClr val="bg1"/>
                          </a:solidFill>
                          <a:latin typeface="Century Gothic" panose="020B0502020202020204" pitchFamily="34" charset="0"/>
                        </a:rPr>
                        <a:t>Category</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algn="l"/>
                      <a:r>
                        <a:rPr lang="en-GB" sz="1400" b="1">
                          <a:solidFill>
                            <a:schemeClr val="bg1"/>
                          </a:solidFill>
                          <a:latin typeface="Century Gothic" panose="020B0502020202020204" pitchFamily="34" charset="0"/>
                        </a:rPr>
                        <a:t>Current NDCs</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solidFill>
                  </a:tcPr>
                </a:tc>
                <a:tc>
                  <a:txBody>
                    <a:bodyPr/>
                    <a:lstStyle/>
                    <a:p>
                      <a:pPr algn="l"/>
                      <a:r>
                        <a:rPr lang="en-GB" sz="1400" b="1">
                          <a:solidFill>
                            <a:schemeClr val="bg1"/>
                          </a:solidFill>
                          <a:latin typeface="Century Gothic" panose="020B0502020202020204" pitchFamily="34" charset="0"/>
                        </a:rPr>
                        <a:t>Ideal NDCs 3.0</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516771400"/>
                  </a:ext>
                </a:extLst>
              </a:tr>
              <a:tr h="1110575">
                <a:tc>
                  <a:txBody>
                    <a:bodyPr/>
                    <a:lstStyle/>
                    <a:p>
                      <a:pPr algn="l"/>
                      <a:r>
                        <a:rPr lang="en-GB" sz="1400" b="1">
                          <a:solidFill>
                            <a:schemeClr val="tx2"/>
                          </a:solidFill>
                          <a:latin typeface="Century Gothic" panose="020B0502020202020204" pitchFamily="34" charset="0"/>
                        </a:rPr>
                        <a:t>Ambition</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indent="0" algn="ctr">
                        <a:buFont typeface="Arial" panose="020B0604020202020204" pitchFamily="34" charset="0"/>
                        <a:buNone/>
                      </a:pPr>
                      <a:r>
                        <a:rPr lang="en-GB" sz="1400">
                          <a:latin typeface="Century Gothic" panose="020B0502020202020204" pitchFamily="34" charset="0"/>
                        </a:rPr>
                        <a:t>Does not reflect reality of technology deployment</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indent="0" algn="ctr">
                        <a:buFont typeface="Arial" panose="020B0604020202020204" pitchFamily="34" charset="0"/>
                        <a:buNone/>
                      </a:pPr>
                      <a:r>
                        <a:rPr lang="en-GB" sz="1400">
                          <a:latin typeface="Century Gothic" panose="020B0502020202020204" pitchFamily="34" charset="0"/>
                        </a:rPr>
                        <a:t>Reflect pace of technological progress &amp; ambition implied by delivery of COP commitments</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22755817"/>
                  </a:ext>
                </a:extLst>
              </a:tr>
              <a:tr h="602883">
                <a:tc>
                  <a:txBody>
                    <a:bodyPr/>
                    <a:lstStyle/>
                    <a:p>
                      <a:pPr algn="l"/>
                      <a:r>
                        <a:rPr lang="en-GB" sz="1400" b="1">
                          <a:solidFill>
                            <a:schemeClr val="tx2"/>
                          </a:solidFill>
                          <a:latin typeface="Century Gothic" panose="020B0502020202020204" pitchFamily="34" charset="0"/>
                        </a:rPr>
                        <a:t>Format and coverage</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indent="0" algn="ctr">
                        <a:buFont typeface="Arial" panose="020B0604020202020204" pitchFamily="34" charset="0"/>
                        <a:buNone/>
                      </a:pPr>
                      <a:r>
                        <a:rPr lang="en-GB" sz="1400">
                          <a:latin typeface="Century Gothic" panose="020B0502020202020204" pitchFamily="34" charset="0"/>
                        </a:rPr>
                        <a:t>Unclearly defined targets with partial coverage</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indent="0" algn="ctr">
                        <a:buFont typeface="Arial" panose="020B0604020202020204" pitchFamily="34" charset="0"/>
                        <a:buNone/>
                      </a:pPr>
                      <a:r>
                        <a:rPr lang="en-GB" sz="1400">
                          <a:latin typeface="Century Gothic" panose="020B0502020202020204" pitchFamily="34" charset="0"/>
                        </a:rPr>
                        <a:t>Absolute reduction targets (or equivalent) covering all sectors &amp; GHGs</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540508350"/>
                  </a:ext>
                </a:extLst>
              </a:tr>
              <a:tr h="602883">
                <a:tc>
                  <a:txBody>
                    <a:bodyPr/>
                    <a:lstStyle/>
                    <a:p>
                      <a:pPr algn="l"/>
                      <a:r>
                        <a:rPr lang="en-GB" sz="1400" b="1">
                          <a:solidFill>
                            <a:schemeClr val="tx2"/>
                          </a:solidFill>
                          <a:latin typeface="Century Gothic" panose="020B0502020202020204" pitchFamily="34" charset="0"/>
                        </a:rPr>
                        <a:t>Implementation</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indent="0" algn="ctr">
                        <a:buFont typeface="Arial" panose="020B0604020202020204" pitchFamily="34" charset="0"/>
                        <a:buNone/>
                      </a:pPr>
                      <a:r>
                        <a:rPr lang="en-GB" sz="1400">
                          <a:latin typeface="Century Gothic" panose="020B0502020202020204" pitchFamily="34" charset="0"/>
                        </a:rPr>
                        <a:t>Lack of details on policies required to achieve targets</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indent="0" algn="ctr">
                        <a:buFont typeface="Arial" panose="020B0604020202020204" pitchFamily="34" charset="0"/>
                        <a:buNone/>
                      </a:pPr>
                      <a:r>
                        <a:rPr lang="en-GB" sz="1400">
                          <a:latin typeface="Century Gothic" panose="020B0502020202020204" pitchFamily="34" charset="0"/>
                        </a:rPr>
                        <a:t>Clear link between stated targets and policies required to achieve them</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5032123"/>
                  </a:ext>
                </a:extLst>
              </a:tr>
            </a:tbl>
          </a:graphicData>
        </a:graphic>
      </p:graphicFrame>
      <p:sp>
        <p:nvSpPr>
          <p:cNvPr id="10" name="Isosceles Triangle 9">
            <a:extLst>
              <a:ext uri="{FF2B5EF4-FFF2-40B4-BE49-F238E27FC236}">
                <a16:creationId xmlns:a16="http://schemas.microsoft.com/office/drawing/2014/main" id="{19E3C170-69D4-79B8-20B3-FB568194F4A7}"/>
              </a:ext>
            </a:extLst>
          </p:cNvPr>
          <p:cNvSpPr/>
          <p:nvPr/>
        </p:nvSpPr>
        <p:spPr>
          <a:xfrm rot="10800000">
            <a:off x="8201024" y="4428835"/>
            <a:ext cx="2838450" cy="285750"/>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US" sz="1400">
              <a:ln>
                <a:noFill/>
              </a:ln>
              <a:solidFill>
                <a:schemeClr val="bg1"/>
              </a:solidFill>
              <a:latin typeface="Century Gothic" panose="020B0502020202020204" pitchFamily="34" charset="0"/>
            </a:endParaRPr>
          </a:p>
        </p:txBody>
      </p:sp>
      <p:sp>
        <p:nvSpPr>
          <p:cNvPr id="11" name="Rectangle 10">
            <a:extLst>
              <a:ext uri="{FF2B5EF4-FFF2-40B4-BE49-F238E27FC236}">
                <a16:creationId xmlns:a16="http://schemas.microsoft.com/office/drawing/2014/main" id="{D891ABEE-8F80-78BC-4505-B4425809BF97}"/>
              </a:ext>
            </a:extLst>
          </p:cNvPr>
          <p:cNvSpPr/>
          <p:nvPr/>
        </p:nvSpPr>
        <p:spPr>
          <a:xfrm>
            <a:off x="5921434" y="4914319"/>
            <a:ext cx="5897879" cy="1172157"/>
          </a:xfrm>
          <a:prstGeom prst="rect">
            <a:avLst/>
          </a:prstGeom>
          <a:solidFill>
            <a:schemeClr val="bg1">
              <a:lumMod val="95000"/>
            </a:schemeClr>
          </a:solidFill>
          <a:ln w="12700">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r>
              <a:rPr lang="en-US" b="1" i="0" u="none" strike="noStrike" baseline="0">
                <a:solidFill>
                  <a:schemeClr val="tx2"/>
                </a:solidFill>
                <a:latin typeface="Century Gothic" panose="020B0502020202020204" pitchFamily="34" charset="0"/>
              </a:rPr>
              <a:t>Outcomes</a:t>
            </a:r>
          </a:p>
          <a:p>
            <a:pPr marL="285750" indent="-285750">
              <a:buFont typeface="Arial" panose="020B0604020202020204" pitchFamily="34" charset="0"/>
              <a:buChar char="•"/>
            </a:pPr>
            <a:r>
              <a:rPr lang="en-US" i="0" u="none" strike="noStrike" baseline="0">
                <a:solidFill>
                  <a:schemeClr val="tx2"/>
                </a:solidFill>
                <a:latin typeface="Century Gothic" panose="020B0502020202020204" pitchFamily="34" charset="0"/>
              </a:rPr>
              <a:t>Ambitiou</a:t>
            </a:r>
            <a:r>
              <a:rPr lang="en-US">
                <a:solidFill>
                  <a:schemeClr val="tx2"/>
                </a:solidFill>
                <a:latin typeface="Century Gothic" panose="020B0502020202020204" pitchFamily="34" charset="0"/>
              </a:rPr>
              <a:t>s yet </a:t>
            </a:r>
            <a:r>
              <a:rPr lang="en-US" b="1">
                <a:solidFill>
                  <a:schemeClr val="tx2"/>
                </a:solidFill>
                <a:latin typeface="Century Gothic" panose="020B0502020202020204" pitchFamily="34" charset="0"/>
              </a:rPr>
              <a:t>clearly feasible </a:t>
            </a:r>
            <a:r>
              <a:rPr lang="en-US" b="1" i="0" u="none" strike="noStrike" baseline="0">
                <a:solidFill>
                  <a:schemeClr val="tx2"/>
                </a:solidFill>
                <a:latin typeface="Century Gothic" panose="020B0502020202020204" pitchFamily="34" charset="0"/>
              </a:rPr>
              <a:t>ambition</a:t>
            </a:r>
          </a:p>
          <a:p>
            <a:pPr marL="285750" indent="-285750">
              <a:buFont typeface="Arial" panose="020B0604020202020204" pitchFamily="34" charset="0"/>
              <a:buChar char="•"/>
            </a:pPr>
            <a:r>
              <a:rPr lang="en-US" b="1" i="0" u="none" strike="noStrike" baseline="0">
                <a:solidFill>
                  <a:schemeClr val="tx2"/>
                </a:solidFill>
                <a:latin typeface="Century Gothic" panose="020B0502020202020204" pitchFamily="34" charset="0"/>
              </a:rPr>
              <a:t>Increased transparency </a:t>
            </a:r>
            <a:r>
              <a:rPr lang="en-US" i="0" u="none" strike="noStrike" baseline="0">
                <a:solidFill>
                  <a:schemeClr val="tx2"/>
                </a:solidFill>
                <a:latin typeface="Century Gothic" panose="020B0502020202020204" pitchFamily="34" charset="0"/>
              </a:rPr>
              <a:t>of target</a:t>
            </a:r>
          </a:p>
          <a:p>
            <a:pPr marL="285750" indent="-285750">
              <a:buFont typeface="Arial" panose="020B0604020202020204" pitchFamily="34" charset="0"/>
              <a:buChar char="•"/>
            </a:pPr>
            <a:r>
              <a:rPr lang="en-US" b="0" i="0" u="none" strike="noStrike" baseline="0">
                <a:solidFill>
                  <a:schemeClr val="tx2"/>
                </a:solidFill>
                <a:latin typeface="Century Gothic" panose="020B0502020202020204" pitchFamily="34" charset="0"/>
              </a:rPr>
              <a:t>Clear</a:t>
            </a:r>
            <a:r>
              <a:rPr lang="en-US" b="1" i="0" u="none" strike="noStrike" baseline="0">
                <a:solidFill>
                  <a:schemeClr val="tx2"/>
                </a:solidFill>
                <a:latin typeface="Century Gothic" panose="020B0502020202020204" pitchFamily="34" charset="0"/>
              </a:rPr>
              <a:t>, investable plans </a:t>
            </a:r>
            <a:r>
              <a:rPr lang="en-US" b="0" i="0" u="none" strike="noStrike" baseline="0">
                <a:solidFill>
                  <a:schemeClr val="tx2"/>
                </a:solidFill>
                <a:latin typeface="Century Gothic" panose="020B0502020202020204" pitchFamily="34" charset="0"/>
              </a:rPr>
              <a:t>to deliver stated ambition</a:t>
            </a:r>
          </a:p>
          <a:p>
            <a:pPr marL="285750" indent="-285750">
              <a:buFont typeface="Arial" panose="020B0604020202020204" pitchFamily="34" charset="0"/>
              <a:buChar char="•"/>
            </a:pPr>
            <a:endParaRPr lang="en-US" b="0" i="0" u="none" strike="noStrike" baseline="0">
              <a:solidFill>
                <a:schemeClr val="tx2"/>
              </a:solidFill>
              <a:latin typeface="Century Gothic" panose="020B0502020202020204" pitchFamily="34" charset="0"/>
            </a:endParaRPr>
          </a:p>
          <a:p>
            <a:pPr marL="285750" indent="-285750">
              <a:buFont typeface="Arial" panose="020B0604020202020204" pitchFamily="34" charset="0"/>
              <a:buChar char="•"/>
            </a:pPr>
            <a:endParaRPr lang="en-US">
              <a:solidFill>
                <a:schemeClr val="tx2"/>
              </a:solidFill>
              <a:latin typeface="Century Gothic" panose="020B0502020202020204" pitchFamily="34" charset="0"/>
            </a:endParaRPr>
          </a:p>
        </p:txBody>
      </p:sp>
    </p:spTree>
    <p:extLst>
      <p:ext uri="{BB962C8B-B14F-4D97-AF65-F5344CB8AC3E}">
        <p14:creationId xmlns:p14="http://schemas.microsoft.com/office/powerpoint/2010/main" val="388808557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7ABD133-26C5-21C8-4B91-2A485C09FA0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395" imgH="394" progId="TCLayout.ActiveDocument.1">
                  <p:embed/>
                </p:oleObj>
              </mc:Choice>
              <mc:Fallback>
                <p:oleObj name="think-cell Slide" r:id="rId19" imgW="395" imgH="394" progId="TCLayout.ActiveDocument.1">
                  <p:embed/>
                  <p:pic>
                    <p:nvPicPr>
                      <p:cNvPr id="7" name="think-cell data - do not delete" hidden="1">
                        <a:extLst>
                          <a:ext uri="{FF2B5EF4-FFF2-40B4-BE49-F238E27FC236}">
                            <a16:creationId xmlns:a16="http://schemas.microsoft.com/office/drawing/2014/main" id="{57ABD133-26C5-21C8-4B91-2A485C09FA0C}"/>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E615835C-187F-29A3-E7D3-B342DB852B08}"/>
              </a:ext>
            </a:extLst>
          </p:cNvPr>
          <p:cNvSpPr>
            <a:spLocks noGrp="1"/>
          </p:cNvSpPr>
          <p:nvPr>
            <p:ph type="title"/>
          </p:nvPr>
        </p:nvSpPr>
        <p:spPr/>
        <p:txBody>
          <a:bodyPr vert="horz"/>
          <a:lstStyle/>
          <a:p>
            <a:r>
              <a:rPr lang="en-GB" sz="2000"/>
              <a:t>NDCs can be broadly categorised against ambition and implementation</a:t>
            </a:r>
          </a:p>
        </p:txBody>
      </p:sp>
      <p:sp>
        <p:nvSpPr>
          <p:cNvPr id="3" name="Slide Number Placeholder 2">
            <a:extLst>
              <a:ext uri="{FF2B5EF4-FFF2-40B4-BE49-F238E27FC236}">
                <a16:creationId xmlns:a16="http://schemas.microsoft.com/office/drawing/2014/main" id="{9D459184-6C88-2440-C13A-07C2954450A2}"/>
              </a:ext>
            </a:extLst>
          </p:cNvPr>
          <p:cNvSpPr>
            <a:spLocks noGrp="1"/>
          </p:cNvSpPr>
          <p:nvPr>
            <p:ph type="sldNum" sz="quarter" idx="12"/>
          </p:nvPr>
        </p:nvSpPr>
        <p:spPr/>
        <p:txBody>
          <a:bodyPr/>
          <a:lstStyle/>
          <a:p>
            <a:fld id="{DDF71BC8-773F-4A54-968E-450E29C75AD4}" type="slidenum">
              <a:rPr lang="en-GB" smtClean="0"/>
              <a:pPr/>
              <a:t>18</a:t>
            </a:fld>
            <a:endParaRPr lang="en-GB"/>
          </a:p>
        </p:txBody>
      </p:sp>
      <p:sp>
        <p:nvSpPr>
          <p:cNvPr id="4" name="Footer Placeholder 3">
            <a:extLst>
              <a:ext uri="{FF2B5EF4-FFF2-40B4-BE49-F238E27FC236}">
                <a16:creationId xmlns:a16="http://schemas.microsoft.com/office/drawing/2014/main" id="{263EE243-CA4E-B772-A48C-BA822D9F9A34}"/>
              </a:ext>
            </a:extLst>
          </p:cNvPr>
          <p:cNvSpPr>
            <a:spLocks noGrp="1"/>
          </p:cNvSpPr>
          <p:nvPr>
            <p:ph type="ftr" sz="quarter" idx="13"/>
          </p:nvPr>
        </p:nvSpPr>
        <p:spPr/>
        <p:txBody>
          <a:bodyPr/>
          <a:lstStyle/>
          <a:p>
            <a:endParaRPr lang="en-GB"/>
          </a:p>
        </p:txBody>
      </p:sp>
      <p:graphicFrame>
        <p:nvGraphicFramePr>
          <p:cNvPr id="10" name="Table 9">
            <a:extLst>
              <a:ext uri="{FF2B5EF4-FFF2-40B4-BE49-F238E27FC236}">
                <a16:creationId xmlns:a16="http://schemas.microsoft.com/office/drawing/2014/main" id="{48E571F7-5241-E488-86A7-BC0ADE46539E}"/>
              </a:ext>
            </a:extLst>
          </p:cNvPr>
          <p:cNvGraphicFramePr>
            <a:graphicFrameLocks noGrp="1"/>
          </p:cNvGraphicFramePr>
          <p:nvPr/>
        </p:nvGraphicFramePr>
        <p:xfrm>
          <a:off x="179387" y="1239134"/>
          <a:ext cx="11899048" cy="5369111"/>
        </p:xfrm>
        <a:graphic>
          <a:graphicData uri="http://schemas.openxmlformats.org/drawingml/2006/table">
            <a:tbl>
              <a:tblPr firstRow="1" bandRow="1">
                <a:tableStyleId>{5940675A-B579-460E-94D1-54222C63F5DA}</a:tableStyleId>
              </a:tblPr>
              <a:tblGrid>
                <a:gridCol w="991040">
                  <a:extLst>
                    <a:ext uri="{9D8B030D-6E8A-4147-A177-3AD203B41FA5}">
                      <a16:colId xmlns:a16="http://schemas.microsoft.com/office/drawing/2014/main" val="3786084206"/>
                    </a:ext>
                  </a:extLst>
                </a:gridCol>
                <a:gridCol w="245622">
                  <a:extLst>
                    <a:ext uri="{9D8B030D-6E8A-4147-A177-3AD203B41FA5}">
                      <a16:colId xmlns:a16="http://schemas.microsoft.com/office/drawing/2014/main" val="235201571"/>
                    </a:ext>
                  </a:extLst>
                </a:gridCol>
                <a:gridCol w="472440">
                  <a:extLst>
                    <a:ext uri="{9D8B030D-6E8A-4147-A177-3AD203B41FA5}">
                      <a16:colId xmlns:a16="http://schemas.microsoft.com/office/drawing/2014/main" val="1901229379"/>
                    </a:ext>
                  </a:extLst>
                </a:gridCol>
                <a:gridCol w="1028897">
                  <a:extLst>
                    <a:ext uri="{9D8B030D-6E8A-4147-A177-3AD203B41FA5}">
                      <a16:colId xmlns:a16="http://schemas.microsoft.com/office/drawing/2014/main" val="1194842626"/>
                    </a:ext>
                  </a:extLst>
                </a:gridCol>
                <a:gridCol w="1028897">
                  <a:extLst>
                    <a:ext uri="{9D8B030D-6E8A-4147-A177-3AD203B41FA5}">
                      <a16:colId xmlns:a16="http://schemas.microsoft.com/office/drawing/2014/main" val="1835610053"/>
                    </a:ext>
                  </a:extLst>
                </a:gridCol>
                <a:gridCol w="1028897">
                  <a:extLst>
                    <a:ext uri="{9D8B030D-6E8A-4147-A177-3AD203B41FA5}">
                      <a16:colId xmlns:a16="http://schemas.microsoft.com/office/drawing/2014/main" val="3536487191"/>
                    </a:ext>
                  </a:extLst>
                </a:gridCol>
                <a:gridCol w="1028897">
                  <a:extLst>
                    <a:ext uri="{9D8B030D-6E8A-4147-A177-3AD203B41FA5}">
                      <a16:colId xmlns:a16="http://schemas.microsoft.com/office/drawing/2014/main" val="1199379766"/>
                    </a:ext>
                  </a:extLst>
                </a:gridCol>
                <a:gridCol w="2679537">
                  <a:extLst>
                    <a:ext uri="{9D8B030D-6E8A-4147-A177-3AD203B41FA5}">
                      <a16:colId xmlns:a16="http://schemas.microsoft.com/office/drawing/2014/main" val="3907424957"/>
                    </a:ext>
                  </a:extLst>
                </a:gridCol>
                <a:gridCol w="1164172">
                  <a:extLst>
                    <a:ext uri="{9D8B030D-6E8A-4147-A177-3AD203B41FA5}">
                      <a16:colId xmlns:a16="http://schemas.microsoft.com/office/drawing/2014/main" val="1990386557"/>
                    </a:ext>
                  </a:extLst>
                </a:gridCol>
                <a:gridCol w="1255194">
                  <a:extLst>
                    <a:ext uri="{9D8B030D-6E8A-4147-A177-3AD203B41FA5}">
                      <a16:colId xmlns:a16="http://schemas.microsoft.com/office/drawing/2014/main" val="2799789601"/>
                    </a:ext>
                  </a:extLst>
                </a:gridCol>
                <a:gridCol w="975455">
                  <a:extLst>
                    <a:ext uri="{9D8B030D-6E8A-4147-A177-3AD203B41FA5}">
                      <a16:colId xmlns:a16="http://schemas.microsoft.com/office/drawing/2014/main" val="2238178561"/>
                    </a:ext>
                  </a:extLst>
                </a:gridCol>
              </a:tblGrid>
              <a:tr h="287034">
                <a:tc rowSpan="2">
                  <a:txBody>
                    <a:bodyPr/>
                    <a:lstStyle/>
                    <a:p>
                      <a:pPr algn="ctr"/>
                      <a:endParaRPr lang="en-US" sz="1200">
                        <a:latin typeface="Century Gothic" panose="020B0502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rowSpan="2" gridSpan="2">
                  <a:txBody>
                    <a:bodyPr/>
                    <a:lstStyle/>
                    <a:p>
                      <a:pPr algn="ctr"/>
                      <a:endParaRPr lang="en-US" sz="1200">
                        <a:latin typeface="Century Gothic" panose="020B0502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rowSpan="2" hMerge="1">
                  <a:txBody>
                    <a:bodyPr/>
                    <a:lstStyle/>
                    <a:p>
                      <a:pPr algn="ctr"/>
                      <a:endParaRPr lang="en-US" sz="1400">
                        <a:latin typeface="Century Gothic" panose="020B0502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ctr"/>
                      <a:r>
                        <a:rPr lang="en-US" sz="1200" b="1">
                          <a:latin typeface="Century Gothic" panose="020B0502020202020204" pitchFamily="34" charset="0"/>
                        </a:rPr>
                        <a:t>Share of global GHG emission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gridSpan="4">
                  <a:txBody>
                    <a:bodyPr/>
                    <a:lstStyle/>
                    <a:p>
                      <a:pPr algn="ctr"/>
                      <a:r>
                        <a:rPr lang="en-US" sz="1200" b="1">
                          <a:latin typeface="Century Gothic" panose="020B0502020202020204" pitchFamily="34" charset="0"/>
                        </a:rPr>
                        <a:t>Ambition </a:t>
                      </a:r>
                    </a:p>
                  </a:txBody>
                  <a:tcPr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3">
                  <a:txBody>
                    <a:bodyPr/>
                    <a:lstStyle/>
                    <a:p>
                      <a:pPr algn="ctr"/>
                      <a:r>
                        <a:rPr lang="en-US" sz="1200" b="1">
                          <a:latin typeface="Century Gothic" panose="020B0502020202020204" pitchFamily="34" charset="0"/>
                        </a:rPr>
                        <a:t>Implementation</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4105437443"/>
                  </a:ext>
                </a:extLst>
              </a:tr>
              <a:tr h="932860">
                <a:tc vMerge="1">
                  <a:txBody>
                    <a:bodyPr/>
                    <a:lstStyle/>
                    <a:p>
                      <a:pPr algn="ctr"/>
                      <a:endParaRPr lang="en-US" sz="1400">
                        <a:latin typeface="Century Gothic" panose="020B0502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gridSpan="2" vMerge="1">
                  <a:txBody>
                    <a:bodyPr/>
                    <a:lstStyle/>
                    <a:p>
                      <a:pPr algn="ctr"/>
                      <a:endParaRPr lang="en-US" sz="1400">
                        <a:latin typeface="Century Gothic" panose="020B0502020202020204" pitchFamily="34" charset="0"/>
                      </a:endParaRPr>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vMerge="1">
                  <a:txBody>
                    <a:bodyPr/>
                    <a:lstStyle/>
                    <a:p>
                      <a:endParaRPr lang="en-US"/>
                    </a:p>
                  </a:txBody>
                  <a:tcPr/>
                </a:tc>
                <a:tc vMerge="1">
                  <a:txBody>
                    <a:bodyPr/>
                    <a:lstStyle/>
                    <a:p>
                      <a:pPr algn="ctr"/>
                      <a:endParaRPr lang="en-US" sz="1100" b="0">
                        <a:latin typeface="Century Gothic" panose="020B0502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1">
                        <a:lumMod val="95000"/>
                      </a:schemeClr>
                    </a:solidFill>
                  </a:tcPr>
                </a:tc>
                <a:tc>
                  <a:txBody>
                    <a:bodyPr/>
                    <a:lstStyle/>
                    <a:p>
                      <a:pPr algn="ctr"/>
                      <a:r>
                        <a:rPr lang="en-US" sz="1050" b="0">
                          <a:latin typeface="Century Gothic" panose="020B0502020202020204" pitchFamily="34" charset="0"/>
                        </a:rPr>
                        <a:t>Type of target</a:t>
                      </a:r>
                    </a:p>
                  </a:txBody>
                  <a:tcPr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en-US" sz="1050" b="0">
                          <a:latin typeface="Century Gothic" panose="020B0502020202020204" pitchFamily="34" charset="0"/>
                        </a:rPr>
                        <a:t>Conditionality</a:t>
                      </a:r>
                    </a:p>
                  </a:txBody>
                  <a:tcPr marL="36000" marR="36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en-US" sz="1050" b="0">
                          <a:latin typeface="Century Gothic" panose="020B0502020202020204" pitchFamily="34" charset="0"/>
                        </a:rPr>
                        <a:t>Sector and GHG coverage</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en-US" sz="1050" b="0">
                          <a:latin typeface="Century Gothic" panose="020B0502020202020204" pitchFamily="34" charset="0"/>
                        </a:rPr>
                        <a:t>CAT assessment on level of ambition</a:t>
                      </a:r>
                      <a:endParaRPr lang="en-US" sz="1050" b="0" baseline="30000">
                        <a:latin typeface="Century Gothic" panose="020B0502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b="0">
                          <a:latin typeface="Century Gothic" panose="020B0502020202020204" pitchFamily="34" charset="0"/>
                        </a:rPr>
                        <a:t>(</a:t>
                      </a:r>
                      <a:r>
                        <a:rPr lang="en-US" sz="1050" b="1">
                          <a:solidFill>
                            <a:srgbClr val="235DFF"/>
                          </a:solidFill>
                          <a:latin typeface="Century Gothic" panose="020B0502020202020204" pitchFamily="34" charset="0"/>
                        </a:rPr>
                        <a:t>least cost </a:t>
                      </a:r>
                      <a:r>
                        <a:rPr lang="en-US" sz="1050" b="0">
                          <a:latin typeface="Century Gothic" panose="020B0502020202020204" pitchFamily="34" charset="0"/>
                        </a:rPr>
                        <a:t>vs. </a:t>
                      </a:r>
                      <a:r>
                        <a:rPr lang="en-US" sz="1050" b="1">
                          <a:solidFill>
                            <a:schemeClr val="accent2"/>
                          </a:solidFill>
                          <a:latin typeface="Century Gothic" panose="020B0502020202020204" pitchFamily="34" charset="0"/>
                        </a:rPr>
                        <a:t>fair share</a:t>
                      </a:r>
                      <a:r>
                        <a:rPr lang="en-US" sz="1050" b="0">
                          <a:latin typeface="Century Gothic" panose="020B0502020202020204" pitchFamily="34" charset="0"/>
                        </a:rPr>
                        <a:t>)</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en-US" sz="1050" b="0">
                          <a:latin typeface="Century Gothic" panose="020B0502020202020204" pitchFamily="34" charset="0"/>
                        </a:rPr>
                        <a:t>Sufficient information to support target implementation</a:t>
                      </a:r>
                      <a:endParaRPr lang="en-US" sz="1050" b="1">
                        <a:latin typeface="Century Gothic" panose="020B0502020202020204" pitchFamily="34" charset="0"/>
                      </a:endParaRPr>
                    </a:p>
                  </a:txBody>
                  <a:tcPr marL="36000" marR="36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en-US" sz="1050" b="0">
                          <a:latin typeface="Century Gothic" panose="020B0502020202020204" pitchFamily="34" charset="0"/>
                        </a:rPr>
                        <a:t>Existing national decarbonisation strategies</a:t>
                      </a:r>
                    </a:p>
                  </a:txBody>
                  <a:tcPr marL="36000" marR="36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en-US" sz="1050" b="0">
                          <a:latin typeface="Century Gothic" panose="020B0502020202020204" pitchFamily="34" charset="0"/>
                        </a:rPr>
                        <a:t>Existing climate policies are reflected in NDCs</a:t>
                      </a:r>
                    </a:p>
                  </a:txBody>
                  <a:tcPr marL="36000" marR="36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21223450"/>
                  </a:ext>
                </a:extLst>
              </a:tr>
              <a:tr h="1294825">
                <a:tc gridSpan="3">
                  <a:txBody>
                    <a:bodyPr/>
                    <a:lstStyle/>
                    <a:p>
                      <a:pPr algn="ctr"/>
                      <a:r>
                        <a:rPr lang="en-US" sz="1200" b="1">
                          <a:solidFill>
                            <a:schemeClr val="bg1"/>
                          </a:solidFill>
                          <a:latin typeface="Century Gothic" panose="020B0502020202020204" pitchFamily="34" charset="0"/>
                        </a:rPr>
                        <a:t>Archetype 1</a:t>
                      </a:r>
                    </a:p>
                    <a:p>
                      <a:pPr algn="ctr"/>
                      <a:r>
                        <a:rPr lang="en-US" sz="1100" b="0" i="1">
                          <a:solidFill>
                            <a:schemeClr val="bg1"/>
                          </a:solidFill>
                          <a:latin typeface="Century Gothic" panose="020B0502020202020204" pitchFamily="34" charset="0"/>
                        </a:rPr>
                        <a:t>Clearly defined ambition, unclear implementation</a:t>
                      </a:r>
                    </a:p>
                  </a:txBody>
                  <a:tcPr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2"/>
                    </a:solidFill>
                  </a:tcPr>
                </a:tc>
                <a:tc hMerge="1">
                  <a:txBody>
                    <a:bodyPr/>
                    <a:lstStyle/>
                    <a:p>
                      <a:pPr algn="ctr"/>
                      <a:endParaRPr lang="en-US" sz="1400" b="1">
                        <a:latin typeface="Century Gothic" panose="020B0502020202020204" pitchFamily="34" charset="0"/>
                      </a:endParaRPr>
                    </a:p>
                  </a:txBody>
                  <a:tcPr anchor="ctr"/>
                </a:tc>
                <a:tc hMerge="1">
                  <a:txBody>
                    <a:bodyPr/>
                    <a:lstStyle/>
                    <a:p>
                      <a:pPr algn="ctr"/>
                      <a:endParaRPr lang="en-US" sz="1400" b="1">
                        <a:solidFill>
                          <a:schemeClr val="bg1"/>
                        </a:solidFill>
                        <a:latin typeface="Century Gothic" panose="020B0502020202020204" pitchFamily="34" charset="0"/>
                      </a:endParaRPr>
                    </a:p>
                  </a:txBody>
                  <a:tcPr anchor="ctr">
                    <a:lnT w="12700" cap="flat" cmpd="sng" algn="ctr">
                      <a:solidFill>
                        <a:schemeClr val="tx1"/>
                      </a:solidFill>
                      <a:prstDash val="solid"/>
                      <a:round/>
                      <a:headEnd type="none" w="med" len="med"/>
                      <a:tailEnd type="none" w="med" len="med"/>
                    </a:lnT>
                    <a:solidFill>
                      <a:schemeClr val="tx2"/>
                    </a:solidFill>
                  </a:tcPr>
                </a:tc>
                <a:tc>
                  <a:txBody>
                    <a:bodyPr/>
                    <a:lstStyle/>
                    <a:p>
                      <a:pPr algn="ctr"/>
                      <a:r>
                        <a:rPr lang="en-US" sz="1050">
                          <a:latin typeface="Century Gothic" panose="020B0502020202020204" pitchFamily="34" charset="0"/>
                        </a:rPr>
                        <a:t>30%</a:t>
                      </a:r>
                    </a:p>
                  </a:txBody>
                  <a:tcPr marL="36000" marR="36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lumMod val="20000"/>
                        <a:lumOff val="80000"/>
                      </a:schemeClr>
                    </a:solidFill>
                  </a:tcPr>
                </a:tc>
                <a:tc>
                  <a:txBody>
                    <a:bodyPr/>
                    <a:lstStyle/>
                    <a:p>
                      <a:pPr algn="ctr"/>
                      <a:r>
                        <a:rPr lang="en-US" sz="1050">
                          <a:latin typeface="Century Gothic" panose="020B0502020202020204" pitchFamily="34" charset="0"/>
                        </a:rPr>
                        <a:t>Absolute</a:t>
                      </a:r>
                    </a:p>
                  </a:txBody>
                  <a:tcPr marL="36000" marR="36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DDF1FF"/>
                    </a:solidFill>
                  </a:tcPr>
                </a:tc>
                <a:tc>
                  <a:txBody>
                    <a:bodyPr/>
                    <a:lstStyle/>
                    <a:p>
                      <a:pPr marL="0" algn="ctr" defTabSz="914400" rtl="0" eaLnBrk="1" latinLnBrk="0" hangingPunct="1"/>
                      <a:r>
                        <a:rPr lang="en-US" sz="1050" kern="1200">
                          <a:solidFill>
                            <a:schemeClr val="tx1"/>
                          </a:solidFill>
                          <a:latin typeface="Century Gothic" panose="020B0502020202020204" pitchFamily="34" charset="0"/>
                          <a:ea typeface="+mn-ea"/>
                          <a:cs typeface="+mn-cs"/>
                        </a:rPr>
                        <a:t>Unconditional</a:t>
                      </a:r>
                    </a:p>
                  </a:txBody>
                  <a:tcPr marL="36000" marR="36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lumMod val="20000"/>
                        <a:lumOff val="80000"/>
                      </a:schemeClr>
                    </a:solidFill>
                  </a:tcPr>
                </a:tc>
                <a:tc>
                  <a:txBody>
                    <a:bodyPr/>
                    <a:lstStyle/>
                    <a:p>
                      <a:pPr marL="0" algn="ctr" defTabSz="914400" rtl="0" eaLnBrk="1" latinLnBrk="0" hangingPunct="1"/>
                      <a:r>
                        <a:rPr lang="en-US" sz="1050" kern="1200">
                          <a:solidFill>
                            <a:schemeClr val="tx1"/>
                          </a:solidFill>
                          <a:latin typeface="Century Gothic" panose="020B0502020202020204" pitchFamily="34" charset="0"/>
                          <a:ea typeface="+mn-ea"/>
                          <a:cs typeface="+mn-cs"/>
                        </a:rPr>
                        <a:t>Complete</a:t>
                      </a:r>
                    </a:p>
                  </a:txBody>
                  <a:tcPr marL="36000" marR="36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DDF1FF"/>
                    </a:solidFill>
                  </a:tcPr>
                </a:tc>
                <a:tc>
                  <a:txBody>
                    <a:bodyPr/>
                    <a:lstStyle/>
                    <a:p>
                      <a:endParaRPr lang="en-US" sz="160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lumMod val="20000"/>
                        <a:lumOff val="80000"/>
                      </a:schemeClr>
                    </a:solidFill>
                  </a:tcPr>
                </a:tc>
                <a:tc>
                  <a:txBody>
                    <a:bodyPr/>
                    <a:lstStyle/>
                    <a:p>
                      <a:pPr marL="0" indent="0" algn="ctr">
                        <a:buFont typeface="Arial" panose="020B0604020202020204" pitchFamily="34" charset="0"/>
                        <a:buNone/>
                      </a:pPr>
                      <a:r>
                        <a:rPr lang="en-US" sz="1050">
                          <a:latin typeface="Century Gothic" panose="020B0502020202020204" pitchFamily="34" charset="0"/>
                        </a:rPr>
                        <a:t>No</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DDF1FF"/>
                    </a:solidFill>
                  </a:tcPr>
                </a:tc>
                <a:tc>
                  <a:txBody>
                    <a:bodyPr/>
                    <a:lstStyle/>
                    <a:p>
                      <a:pPr algn="ctr"/>
                      <a:r>
                        <a:rPr lang="en-US" sz="1050">
                          <a:latin typeface="Century Gothic" panose="020B0502020202020204" pitchFamily="34" charset="0"/>
                        </a:rPr>
                        <a:t>Yes</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lumMod val="20000"/>
                        <a:lumOff val="80000"/>
                      </a:schemeClr>
                    </a:solidFill>
                  </a:tcPr>
                </a:tc>
                <a:tc>
                  <a:txBody>
                    <a:bodyPr/>
                    <a:lstStyle/>
                    <a:p>
                      <a:pPr algn="ctr"/>
                      <a:r>
                        <a:rPr lang="en-US" sz="1050">
                          <a:latin typeface="Century Gothic" panose="020B0502020202020204" pitchFamily="34" charset="0"/>
                        </a:rPr>
                        <a:t>No</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DDF1FF"/>
                    </a:solidFill>
                  </a:tcPr>
                </a:tc>
                <a:extLst>
                  <a:ext uri="{0D108BD9-81ED-4DB2-BD59-A6C34878D82A}">
                    <a16:rowId xmlns:a16="http://schemas.microsoft.com/office/drawing/2014/main" val="2043391069"/>
                  </a:ext>
                </a:extLst>
              </a:tr>
              <a:tr h="932860">
                <a:tc rowSpan="2"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a:solidFill>
                            <a:schemeClr val="bg1"/>
                          </a:solidFill>
                          <a:latin typeface="Century Gothic" panose="020B0502020202020204" pitchFamily="34" charset="0"/>
                        </a:rPr>
                        <a:t>Archetype 2</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i="1">
                          <a:solidFill>
                            <a:schemeClr val="bg1"/>
                          </a:solidFill>
                          <a:latin typeface="Century Gothic" panose="020B0502020202020204" pitchFamily="34" charset="0"/>
                        </a:rPr>
                        <a:t>Unclear ambition &amp; </a:t>
                      </a:r>
                      <a:r>
                        <a:rPr lang="en-US" sz="1100" b="0" i="1" err="1">
                          <a:solidFill>
                            <a:schemeClr val="bg1"/>
                          </a:solidFill>
                          <a:latin typeface="Century Gothic" panose="020B0502020202020204" pitchFamily="34" charset="0"/>
                        </a:rPr>
                        <a:t>implementa-tion</a:t>
                      </a:r>
                      <a:endParaRPr lang="en-US" sz="1100" b="0" i="1">
                        <a:solidFill>
                          <a:schemeClr val="bg1"/>
                        </a:solidFill>
                        <a:latin typeface="Century Gothic" panose="020B0502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tc rowSpan="2"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a:latin typeface="Century Gothic" panose="020B0502020202020204" pitchFamily="34" charset="0"/>
                        </a:rPr>
                        <a:t>2.A</a:t>
                      </a:r>
                    </a:p>
                  </a:txBody>
                  <a:tcPr anchor="ctr">
                    <a:solidFill>
                      <a:schemeClr val="tx2">
                        <a:lumMod val="40000"/>
                        <a:lumOff val="6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a:latin typeface="Century Gothic" panose="020B0502020202020204" pitchFamily="34" charset="0"/>
                        </a:rPr>
                        <a:t>2.A</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lumMod val="40000"/>
                        <a:lumOff val="60000"/>
                      </a:schemeClr>
                    </a:solidFill>
                  </a:tcPr>
                </a:tc>
                <a:tc rowSpan="2">
                  <a:txBody>
                    <a:bodyPr/>
                    <a:lstStyle/>
                    <a:p>
                      <a:pPr algn="ctr"/>
                      <a:r>
                        <a:rPr lang="en-US" sz="1050">
                          <a:latin typeface="Century Gothic" panose="020B0502020202020204" pitchFamily="34" charset="0"/>
                        </a:rPr>
                        <a:t>66%</a:t>
                      </a:r>
                    </a:p>
                  </a:txBody>
                  <a:tcPr marL="36000" marR="36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lumMod val="20000"/>
                        <a:lumOff val="80000"/>
                      </a:schemeClr>
                    </a:solidFill>
                  </a:tcPr>
                </a:tc>
                <a:tc>
                  <a:txBody>
                    <a:bodyPr/>
                    <a:lstStyle/>
                    <a:p>
                      <a:pPr algn="ctr"/>
                      <a:r>
                        <a:rPr lang="en-US" sz="1050">
                          <a:latin typeface="Century Gothic" panose="020B0502020202020204" pitchFamily="34" charset="0"/>
                        </a:rPr>
                        <a:t>Variable – Relative to BAU or intensity-based</a:t>
                      </a:r>
                    </a:p>
                  </a:txBody>
                  <a:tcPr marL="36000" marR="36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DDF1FF"/>
                    </a:solidFill>
                  </a:tcPr>
                </a:tc>
                <a:tc>
                  <a:txBody>
                    <a:bodyPr/>
                    <a:lstStyle/>
                    <a:p>
                      <a:pPr marL="0" algn="ctr" defTabSz="914400" rtl="0" eaLnBrk="1" latinLnBrk="0" hangingPunct="1"/>
                      <a:r>
                        <a:rPr lang="en-US" sz="1050" kern="1200">
                          <a:solidFill>
                            <a:schemeClr val="tx1"/>
                          </a:solidFill>
                          <a:latin typeface="Century Gothic" panose="020B0502020202020204" pitchFamily="34" charset="0"/>
                          <a:ea typeface="+mn-ea"/>
                          <a:cs typeface="+mn-cs"/>
                        </a:rPr>
                        <a:t>Mostly unconditional</a:t>
                      </a:r>
                    </a:p>
                  </a:txBody>
                  <a:tcPr marL="36000" marR="36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lumMod val="20000"/>
                        <a:lumOff val="80000"/>
                      </a:schemeClr>
                    </a:solidFill>
                  </a:tcPr>
                </a:tc>
                <a:tc>
                  <a:txBody>
                    <a:bodyPr/>
                    <a:lstStyle/>
                    <a:p>
                      <a:pPr marL="0" algn="ctr" defTabSz="914400" rtl="0" eaLnBrk="1" latinLnBrk="0" hangingPunct="1"/>
                      <a:r>
                        <a:rPr lang="en-US" sz="1050" kern="1200">
                          <a:solidFill>
                            <a:schemeClr val="tx1"/>
                          </a:solidFill>
                          <a:latin typeface="Century Gothic" panose="020B0502020202020204" pitchFamily="34" charset="0"/>
                          <a:ea typeface="+mn-ea"/>
                          <a:cs typeface="+mn-cs"/>
                        </a:rPr>
                        <a:t>Partial</a:t>
                      </a:r>
                    </a:p>
                  </a:txBody>
                  <a:tcPr marL="36000" marR="36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DDF1FF"/>
                    </a:solidFill>
                  </a:tcPr>
                </a:tc>
                <a:tc>
                  <a:txBody>
                    <a:bodyPr/>
                    <a:lstStyle/>
                    <a:p>
                      <a:endParaRPr lang="en-US" sz="160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lumMod val="20000"/>
                        <a:lumOff val="80000"/>
                      </a:schemeClr>
                    </a:solidFill>
                  </a:tcPr>
                </a:tc>
                <a:tc>
                  <a:txBody>
                    <a:bodyPr/>
                    <a:lstStyle/>
                    <a:p>
                      <a:pPr marL="0" indent="0" algn="ctr">
                        <a:buFont typeface="Arial" panose="020B0604020202020204" pitchFamily="34" charset="0"/>
                        <a:buNone/>
                      </a:pPr>
                      <a:r>
                        <a:rPr lang="en-US" sz="1050">
                          <a:latin typeface="Century Gothic" panose="020B0502020202020204" pitchFamily="34" charset="0"/>
                        </a:rPr>
                        <a:t>No</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DDF1FF"/>
                    </a:solidFill>
                  </a:tcPr>
                </a:tc>
                <a:tc>
                  <a:txBody>
                    <a:bodyPr/>
                    <a:lstStyle/>
                    <a:p>
                      <a:pPr algn="ctr"/>
                      <a:r>
                        <a:rPr lang="en-US" sz="1050">
                          <a:latin typeface="Century Gothic" panose="020B0502020202020204" pitchFamily="34" charset="0"/>
                        </a:rPr>
                        <a:t>Yes</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lumMod val="20000"/>
                        <a:lumOff val="80000"/>
                      </a:schemeClr>
                    </a:solidFill>
                  </a:tcPr>
                </a:tc>
                <a:tc>
                  <a:txBody>
                    <a:bodyPr/>
                    <a:lstStyle/>
                    <a:p>
                      <a:pPr algn="ctr"/>
                      <a:r>
                        <a:rPr lang="en-US" sz="1050">
                          <a:latin typeface="Century Gothic" panose="020B0502020202020204" pitchFamily="34" charset="0"/>
                        </a:rPr>
                        <a:t>No</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DDF1FF"/>
                    </a:solidFill>
                  </a:tcPr>
                </a:tc>
                <a:extLst>
                  <a:ext uri="{0D108BD9-81ED-4DB2-BD59-A6C34878D82A}">
                    <a16:rowId xmlns:a16="http://schemas.microsoft.com/office/drawing/2014/main" val="1016655060"/>
                  </a:ext>
                </a:extLst>
              </a:tr>
              <a:tr h="932860">
                <a:tc gridSpan="2"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400" b="1">
                        <a:latin typeface="Century Gothic" panose="020B0502020202020204" pitchFamily="34" charset="0"/>
                      </a:endParaRPr>
                    </a:p>
                  </a:txBody>
                  <a:tcPr anchor="ctr"/>
                </a:tc>
                <a:tc hMerge="1"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a:latin typeface="Century Gothic" panose="020B0502020202020204" pitchFamily="34" charset="0"/>
                        </a:rPr>
                        <a:t>2.B</a:t>
                      </a:r>
                    </a:p>
                  </a:txBody>
                  <a:tcPr anchor="ctr">
                    <a:solidFill>
                      <a:schemeClr val="tx2">
                        <a:lumMod val="40000"/>
                        <a:lumOff val="6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a:latin typeface="Century Gothic" panose="020B0502020202020204" pitchFamily="34" charset="0"/>
                        </a:rPr>
                        <a:t>2.B</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lumMod val="40000"/>
                        <a:lumOff val="60000"/>
                      </a:schemeClr>
                    </a:solidFill>
                  </a:tcPr>
                </a:tc>
                <a:tc vMerge="1">
                  <a:txBody>
                    <a:bodyPr/>
                    <a:lstStyle/>
                    <a:p>
                      <a:pPr algn="ctr"/>
                      <a:endParaRPr lang="en-US" sz="1100">
                        <a:latin typeface="Century Gothic" panose="020B0502020202020204" pitchFamily="34" charset="0"/>
                      </a:endParaRPr>
                    </a:p>
                  </a:txBody>
                  <a:tcPr marL="36000" marR="36000" anchor="ctr">
                    <a:solidFill>
                      <a:schemeClr val="bg1"/>
                    </a:solidFill>
                  </a:tcPr>
                </a:tc>
                <a:tc>
                  <a:txBody>
                    <a:bodyPr/>
                    <a:lstStyle/>
                    <a:p>
                      <a:pPr algn="ctr"/>
                      <a:r>
                        <a:rPr lang="en-US" sz="1050">
                          <a:latin typeface="Century Gothic" panose="020B0502020202020204" pitchFamily="34" charset="0"/>
                        </a:rPr>
                        <a:t>Variable – Relative to BAU or intensity-based</a:t>
                      </a:r>
                    </a:p>
                  </a:txBody>
                  <a:tcPr marL="36000" marR="36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DDF1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kern="1200">
                          <a:solidFill>
                            <a:schemeClr val="tx1"/>
                          </a:solidFill>
                          <a:latin typeface="Century Gothic" panose="020B0502020202020204" pitchFamily="34" charset="0"/>
                          <a:ea typeface="+mn-ea"/>
                          <a:cs typeface="+mn-cs"/>
                        </a:rPr>
                        <a:t>Mostly unconditional</a:t>
                      </a:r>
                    </a:p>
                  </a:txBody>
                  <a:tcPr marL="36000" marR="36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lumMod val="20000"/>
                        <a:lumOff val="80000"/>
                      </a:schemeClr>
                    </a:solidFill>
                  </a:tcPr>
                </a:tc>
                <a:tc>
                  <a:txBody>
                    <a:bodyPr/>
                    <a:lstStyle/>
                    <a:p>
                      <a:pPr marL="0" algn="ctr" defTabSz="914400" rtl="0" eaLnBrk="1" latinLnBrk="0" hangingPunct="1"/>
                      <a:r>
                        <a:rPr lang="en-US" sz="1050" kern="1200">
                          <a:solidFill>
                            <a:schemeClr val="tx1"/>
                          </a:solidFill>
                          <a:latin typeface="Century Gothic" panose="020B0502020202020204" pitchFamily="34" charset="0"/>
                          <a:ea typeface="+mn-ea"/>
                          <a:cs typeface="+mn-cs"/>
                        </a:rPr>
                        <a:t>Partial</a:t>
                      </a:r>
                    </a:p>
                  </a:txBody>
                  <a:tcPr marL="36000" marR="36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DDF1FF"/>
                    </a:solidFill>
                  </a:tcPr>
                </a:tc>
                <a:tc>
                  <a:txBody>
                    <a:bodyPr/>
                    <a:lstStyle/>
                    <a:p>
                      <a:endParaRPr lang="en-US" sz="160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lumMod val="20000"/>
                        <a:lumOff val="80000"/>
                      </a:schemeClr>
                    </a:solidFill>
                  </a:tcPr>
                </a:tc>
                <a:tc>
                  <a:txBody>
                    <a:bodyPr/>
                    <a:lstStyle/>
                    <a:p>
                      <a:pPr marL="0" indent="0" algn="ctr">
                        <a:buFont typeface="Arial" panose="020B0604020202020204" pitchFamily="34" charset="0"/>
                        <a:buNone/>
                      </a:pPr>
                      <a:r>
                        <a:rPr lang="en-US" sz="1050">
                          <a:latin typeface="Century Gothic" panose="020B0502020202020204" pitchFamily="34" charset="0"/>
                        </a:rPr>
                        <a:t>No</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DDF1FF"/>
                    </a:solidFill>
                  </a:tcPr>
                </a:tc>
                <a:tc>
                  <a:txBody>
                    <a:bodyPr/>
                    <a:lstStyle/>
                    <a:p>
                      <a:pPr algn="ctr"/>
                      <a:r>
                        <a:rPr lang="en-US" sz="1050">
                          <a:latin typeface="Century Gothic" panose="020B0502020202020204" pitchFamily="34" charset="0"/>
                        </a:rPr>
                        <a:t>No</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lumMod val="20000"/>
                        <a:lumOff val="80000"/>
                      </a:schemeClr>
                    </a:solidFill>
                  </a:tcPr>
                </a:tc>
                <a:tc>
                  <a:txBody>
                    <a:bodyPr/>
                    <a:lstStyle/>
                    <a:p>
                      <a:pPr algn="ctr"/>
                      <a:r>
                        <a:rPr lang="en-US" sz="1050">
                          <a:latin typeface="Century Gothic" panose="020B0502020202020204" pitchFamily="34" charset="0"/>
                        </a:rPr>
                        <a:t>No</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DDF1FF"/>
                    </a:solidFill>
                  </a:tcPr>
                </a:tc>
                <a:extLst>
                  <a:ext uri="{0D108BD9-81ED-4DB2-BD59-A6C34878D82A}">
                    <a16:rowId xmlns:a16="http://schemas.microsoft.com/office/drawing/2014/main" val="153473681"/>
                  </a:ext>
                </a:extLst>
              </a:tr>
              <a:tr h="988672">
                <a:tc grid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a:solidFill>
                            <a:schemeClr val="bg1"/>
                          </a:solidFill>
                          <a:latin typeface="Century Gothic" panose="020B0502020202020204" pitchFamily="34" charset="0"/>
                        </a:rPr>
                        <a:t>Archetype 3</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i="1">
                          <a:solidFill>
                            <a:schemeClr val="bg1"/>
                          </a:solidFill>
                          <a:latin typeface="Century Gothic" panose="020B0502020202020204" pitchFamily="34" charset="0"/>
                        </a:rPr>
                        <a:t>Clear ambition &amp; implementation, support required for delivery</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400" b="1">
                        <a:latin typeface="Century Gothic" panose="020B0502020202020204" pitchFamily="34" charset="0"/>
                      </a:endParaRPr>
                    </a:p>
                  </a:txBody>
                  <a:tcPr anchor="ct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400" b="1">
                        <a:solidFill>
                          <a:schemeClr val="bg1"/>
                        </a:solidFill>
                        <a:latin typeface="Century Gothic" panose="020B0502020202020204" pitchFamily="34" charset="0"/>
                      </a:endParaRPr>
                    </a:p>
                  </a:txBody>
                  <a:tcPr anchor="ctr">
                    <a:solidFill>
                      <a:schemeClr val="tx2"/>
                    </a:solidFill>
                  </a:tcPr>
                </a:tc>
                <a:tc>
                  <a:txBody>
                    <a:bodyPr/>
                    <a:lstStyle/>
                    <a:p>
                      <a:pPr algn="ctr"/>
                      <a:r>
                        <a:rPr lang="en-US" sz="1050">
                          <a:latin typeface="Century Gothic" panose="020B0502020202020204" pitchFamily="34" charset="0"/>
                        </a:rPr>
                        <a:t>4%</a:t>
                      </a:r>
                    </a:p>
                  </a:txBody>
                  <a:tcPr marL="36000" marR="36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lumMod val="20000"/>
                        <a:lumOff val="80000"/>
                      </a:schemeClr>
                    </a:solidFill>
                  </a:tcPr>
                </a:tc>
                <a:tc>
                  <a:txBody>
                    <a:bodyPr/>
                    <a:lstStyle/>
                    <a:p>
                      <a:pPr algn="ctr"/>
                      <a:r>
                        <a:rPr lang="en-US" sz="1050">
                          <a:latin typeface="Century Gothic" panose="020B0502020202020204" pitchFamily="34" charset="0"/>
                        </a:rPr>
                        <a:t>Relative to BAU</a:t>
                      </a:r>
                    </a:p>
                  </a:txBody>
                  <a:tcPr marL="36000" marR="36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DDF1FF"/>
                    </a:solidFill>
                  </a:tcPr>
                </a:tc>
                <a:tc>
                  <a:txBody>
                    <a:bodyPr/>
                    <a:lstStyle/>
                    <a:p>
                      <a:pPr marL="0" algn="ctr" defTabSz="914400" rtl="0" eaLnBrk="1" latinLnBrk="0" hangingPunct="1"/>
                      <a:r>
                        <a:rPr lang="en-US" sz="1050" kern="1200">
                          <a:solidFill>
                            <a:schemeClr val="tx1"/>
                          </a:solidFill>
                          <a:latin typeface="Century Gothic" panose="020B0502020202020204" pitchFamily="34" charset="0"/>
                          <a:ea typeface="+mn-ea"/>
                          <a:cs typeface="+mn-cs"/>
                        </a:rPr>
                        <a:t>Mostly conditional</a:t>
                      </a:r>
                    </a:p>
                  </a:txBody>
                  <a:tcPr marL="36000" marR="36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lumMod val="20000"/>
                        <a:lumOff val="80000"/>
                      </a:schemeClr>
                    </a:solidFill>
                  </a:tcPr>
                </a:tc>
                <a:tc>
                  <a:txBody>
                    <a:bodyPr/>
                    <a:lstStyle/>
                    <a:p>
                      <a:pPr marL="0" algn="ctr" defTabSz="914400" rtl="0" eaLnBrk="1" latinLnBrk="0" hangingPunct="1"/>
                      <a:r>
                        <a:rPr lang="en-US" sz="1050" kern="1200">
                          <a:solidFill>
                            <a:schemeClr val="tx1"/>
                          </a:solidFill>
                          <a:latin typeface="Century Gothic" panose="020B0502020202020204" pitchFamily="34" charset="0"/>
                          <a:ea typeface="+mn-ea"/>
                          <a:cs typeface="+mn-cs"/>
                        </a:rPr>
                        <a:t>Complete</a:t>
                      </a:r>
                    </a:p>
                  </a:txBody>
                  <a:tcPr marL="36000" marR="36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DDF1FF"/>
                    </a:solidFill>
                  </a:tcPr>
                </a:tc>
                <a:tc>
                  <a:txBody>
                    <a:bodyPr/>
                    <a:lstStyle/>
                    <a:p>
                      <a:endParaRPr lang="en-US" sz="160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50">
                          <a:latin typeface="Century Gothic" panose="020B0502020202020204" pitchFamily="34" charset="0"/>
                        </a:rPr>
                        <a:t>Yes</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DDF1FF"/>
                    </a:solidFill>
                  </a:tcPr>
                </a:tc>
                <a:tc>
                  <a:txBody>
                    <a:bodyPr/>
                    <a:lstStyle/>
                    <a:p>
                      <a:pPr algn="ctr"/>
                      <a:r>
                        <a:rPr lang="en-US" sz="1050">
                          <a:latin typeface="Century Gothic" panose="020B0502020202020204" pitchFamily="34" charset="0"/>
                        </a:rPr>
                        <a:t>Yes</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lumMod val="20000"/>
                        <a:lumOff val="80000"/>
                      </a:schemeClr>
                    </a:solidFill>
                  </a:tcPr>
                </a:tc>
                <a:tc>
                  <a:txBody>
                    <a:bodyPr/>
                    <a:lstStyle/>
                    <a:p>
                      <a:pPr algn="ctr"/>
                      <a:r>
                        <a:rPr lang="en-US" sz="1050">
                          <a:latin typeface="Century Gothic" panose="020B0502020202020204" pitchFamily="34" charset="0"/>
                        </a:rPr>
                        <a:t>Yes</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DDF1FF"/>
                    </a:solidFill>
                  </a:tcPr>
                </a:tc>
                <a:extLst>
                  <a:ext uri="{0D108BD9-81ED-4DB2-BD59-A6C34878D82A}">
                    <a16:rowId xmlns:a16="http://schemas.microsoft.com/office/drawing/2014/main" val="1407796945"/>
                  </a:ext>
                </a:extLst>
              </a:tr>
            </a:tbl>
          </a:graphicData>
        </a:graphic>
      </p:graphicFrame>
      <p:graphicFrame>
        <p:nvGraphicFramePr>
          <p:cNvPr id="81" name="Chart 80">
            <a:extLst>
              <a:ext uri="{FF2B5EF4-FFF2-40B4-BE49-F238E27FC236}">
                <a16:creationId xmlns:a16="http://schemas.microsoft.com/office/drawing/2014/main" id="{4A12F272-F68A-DF64-2A18-2BADDE50AB75}"/>
              </a:ext>
            </a:extLst>
          </p:cNvPr>
          <p:cNvGraphicFramePr/>
          <p:nvPr>
            <p:custDataLst>
              <p:tags r:id="rId2"/>
            </p:custDataLst>
          </p:nvPr>
        </p:nvGraphicFramePr>
        <p:xfrm>
          <a:off x="6099175" y="2103438"/>
          <a:ext cx="2678113" cy="1706562"/>
        </p:xfrm>
        <a:graphic>
          <a:graphicData uri="http://schemas.openxmlformats.org/drawingml/2006/chart">
            <c:chart xmlns:c="http://schemas.openxmlformats.org/drawingml/2006/chart" xmlns:r="http://schemas.openxmlformats.org/officeDocument/2006/relationships" r:id="rId21"/>
          </a:graphicData>
        </a:graphic>
      </p:graphicFrame>
      <p:sp>
        <p:nvSpPr>
          <p:cNvPr id="12" name="Text Placeholder 2">
            <a:extLst>
              <a:ext uri="{FF2B5EF4-FFF2-40B4-BE49-F238E27FC236}">
                <a16:creationId xmlns:a16="http://schemas.microsoft.com/office/drawing/2014/main" id="{45BF25F4-A12E-2E6D-CD37-163ED635F220}"/>
              </a:ext>
            </a:extLst>
          </p:cNvPr>
          <p:cNvSpPr>
            <a:spLocks noGrp="1"/>
          </p:cNvSpPr>
          <p:nvPr>
            <p:custDataLst>
              <p:tags r:id="rId3"/>
            </p:custDataLst>
          </p:nvPr>
        </p:nvSpPr>
        <p:spPr bwMode="auto">
          <a:xfrm>
            <a:off x="6143625" y="2513013"/>
            <a:ext cx="1508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56F6FA88-01D2-4EBA-9660-BCC5020A17FC}" type="datetime'''''''''E''''''''''''''''''''''''''''''''''''U'''''''">
              <a:rPr lang="en-US" altLang="en-US" sz="1000" smtClean="0"/>
              <a:pPr marL="0" lvl="0" indent="0" algn="r">
                <a:spcBef>
                  <a:spcPct val="0"/>
                </a:spcBef>
                <a:spcAft>
                  <a:spcPct val="0"/>
                </a:spcAft>
                <a:buNone/>
              </a:pPr>
              <a:t>EU</a:t>
            </a:fld>
            <a:endParaRPr lang="en-US" sz="1000" noProof="0"/>
          </a:p>
        </p:txBody>
      </p:sp>
      <p:sp>
        <p:nvSpPr>
          <p:cNvPr id="13" name="Text Placeholder 2">
            <a:extLst>
              <a:ext uri="{FF2B5EF4-FFF2-40B4-BE49-F238E27FC236}">
                <a16:creationId xmlns:a16="http://schemas.microsoft.com/office/drawing/2014/main" id="{96737FEE-7373-E9B5-0DC6-B79C49299524}"/>
              </a:ext>
            </a:extLst>
          </p:cNvPr>
          <p:cNvSpPr>
            <a:spLocks noGrp="1"/>
          </p:cNvSpPr>
          <p:nvPr>
            <p:custDataLst>
              <p:tags r:id="rId4"/>
            </p:custDataLst>
          </p:nvPr>
        </p:nvSpPr>
        <p:spPr bwMode="auto">
          <a:xfrm>
            <a:off x="6148388" y="2720975"/>
            <a:ext cx="1460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7FAED426-E755-4836-A3E8-8A23C6DCC354}" type="datetime'''''''''''''''U''''''''''''''S'''">
              <a:rPr lang="en-US" altLang="en-US" sz="1000" smtClean="0"/>
              <a:pPr marL="0" lvl="0" indent="0" algn="r">
                <a:spcBef>
                  <a:spcPct val="0"/>
                </a:spcBef>
                <a:spcAft>
                  <a:spcPct val="0"/>
                </a:spcAft>
                <a:buNone/>
              </a:pPr>
              <a:t>US</a:t>
            </a:fld>
            <a:endParaRPr lang="en-US" sz="1000" noProof="0"/>
          </a:p>
        </p:txBody>
      </p:sp>
      <p:sp>
        <p:nvSpPr>
          <p:cNvPr id="14" name="Text Placeholder 2">
            <a:extLst>
              <a:ext uri="{FF2B5EF4-FFF2-40B4-BE49-F238E27FC236}">
                <a16:creationId xmlns:a16="http://schemas.microsoft.com/office/drawing/2014/main" id="{90FF08F8-5D68-60E3-A3AA-507E77938230}"/>
              </a:ext>
            </a:extLst>
          </p:cNvPr>
          <p:cNvSpPr>
            <a:spLocks noGrp="1"/>
          </p:cNvSpPr>
          <p:nvPr>
            <p:custDataLst>
              <p:tags r:id="rId5"/>
            </p:custDataLst>
          </p:nvPr>
        </p:nvSpPr>
        <p:spPr bwMode="auto">
          <a:xfrm>
            <a:off x="6145213" y="2930525"/>
            <a:ext cx="1492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D7294873-6FEF-46C3-88D0-9484D2CDA9FC}" type="datetime'''''''''''''''''''''J''''''''''''''''''''''''''a'''''''''''''">
              <a:rPr lang="en-US" altLang="en-US" sz="1000" smtClean="0"/>
              <a:pPr marL="0" lvl="0" indent="0" algn="r">
                <a:spcBef>
                  <a:spcPct val="0"/>
                </a:spcBef>
                <a:spcAft>
                  <a:spcPct val="0"/>
                </a:spcAft>
                <a:buNone/>
              </a:pPr>
              <a:t>Ja</a:t>
            </a:fld>
            <a:endParaRPr lang="en-US" sz="1000" noProof="0"/>
          </a:p>
        </p:txBody>
      </p:sp>
      <p:sp>
        <p:nvSpPr>
          <p:cNvPr id="15" name="Text Placeholder 2">
            <a:extLst>
              <a:ext uri="{FF2B5EF4-FFF2-40B4-BE49-F238E27FC236}">
                <a16:creationId xmlns:a16="http://schemas.microsoft.com/office/drawing/2014/main" id="{C835B8C3-DC10-067C-CE8C-EF187ED2B855}"/>
              </a:ext>
            </a:extLst>
          </p:cNvPr>
          <p:cNvSpPr>
            <a:spLocks noGrp="1"/>
          </p:cNvSpPr>
          <p:nvPr>
            <p:custDataLst>
              <p:tags r:id="rId6"/>
            </p:custDataLst>
          </p:nvPr>
        </p:nvSpPr>
        <p:spPr bwMode="auto">
          <a:xfrm>
            <a:off x="6118225" y="3138488"/>
            <a:ext cx="1762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6F3906E4-FCD6-4318-868B-821A31C28195}" type="datetime'''N''''''''''''''''o'''''''''''''">
              <a:rPr lang="en-US" altLang="en-US" sz="1000" smtClean="0"/>
              <a:pPr marL="0" lvl="0" indent="0" algn="r">
                <a:spcBef>
                  <a:spcPct val="0"/>
                </a:spcBef>
                <a:spcAft>
                  <a:spcPct val="0"/>
                </a:spcAft>
                <a:buNone/>
              </a:pPr>
              <a:t>No</a:t>
            </a:fld>
            <a:endParaRPr lang="en-US" sz="1000" noProof="0"/>
          </a:p>
        </p:txBody>
      </p:sp>
      <p:sp>
        <p:nvSpPr>
          <p:cNvPr id="16" name="Text Placeholder 2">
            <a:extLst>
              <a:ext uri="{FF2B5EF4-FFF2-40B4-BE49-F238E27FC236}">
                <a16:creationId xmlns:a16="http://schemas.microsoft.com/office/drawing/2014/main" id="{747ED9A0-3276-F350-E154-0F58EE4288BE}"/>
              </a:ext>
            </a:extLst>
          </p:cNvPr>
          <p:cNvSpPr>
            <a:spLocks noGrp="1"/>
          </p:cNvSpPr>
          <p:nvPr>
            <p:custDataLst>
              <p:tags r:id="rId7"/>
            </p:custDataLst>
          </p:nvPr>
        </p:nvSpPr>
        <p:spPr bwMode="auto">
          <a:xfrm>
            <a:off x="6103938" y="3346450"/>
            <a:ext cx="1905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704E0F89-07AC-42D9-B713-DAD2D85B0FAD}" type="datetime'''''''''''''''''''''''''''''''''''''C''''''''''''''a'''''''''">
              <a:rPr lang="en-US" altLang="en-US" sz="1000" smtClean="0"/>
              <a:pPr marL="0" lvl="0" indent="0" algn="r">
                <a:spcBef>
                  <a:spcPct val="0"/>
                </a:spcBef>
                <a:spcAft>
                  <a:spcPct val="0"/>
                </a:spcAft>
                <a:buNone/>
              </a:pPr>
              <a:t>Ca</a:t>
            </a:fld>
            <a:endParaRPr lang="en-US" sz="1000" noProof="0"/>
          </a:p>
        </p:txBody>
      </p:sp>
      <p:sp>
        <p:nvSpPr>
          <p:cNvPr id="17" name="Text Placeholder 2">
            <a:extLst>
              <a:ext uri="{FF2B5EF4-FFF2-40B4-BE49-F238E27FC236}">
                <a16:creationId xmlns:a16="http://schemas.microsoft.com/office/drawing/2014/main" id="{A9AF5E1E-177A-EC41-CB8B-314582DF70A6}"/>
              </a:ext>
            </a:extLst>
          </p:cNvPr>
          <p:cNvSpPr>
            <a:spLocks noGrp="1"/>
          </p:cNvSpPr>
          <p:nvPr>
            <p:custDataLst>
              <p:tags r:id="rId8"/>
            </p:custDataLst>
          </p:nvPr>
        </p:nvSpPr>
        <p:spPr bwMode="auto">
          <a:xfrm>
            <a:off x="6183313" y="3554413"/>
            <a:ext cx="1111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2A8A4795-7A71-4102-BC8C-10FD957A582F}" type="datetime'''''''''''''''''B''''''''''''''''''''''r'">
              <a:rPr lang="en-US" altLang="en-US" sz="1000" smtClean="0"/>
              <a:pPr marL="0" lvl="0" indent="0" algn="r">
                <a:spcBef>
                  <a:spcPct val="0"/>
                </a:spcBef>
                <a:spcAft>
                  <a:spcPct val="0"/>
                </a:spcAft>
                <a:buNone/>
              </a:pPr>
              <a:t>Br</a:t>
            </a:fld>
            <a:endParaRPr lang="en-US" sz="1000" noProof="0"/>
          </a:p>
        </p:txBody>
      </p:sp>
      <p:pic>
        <p:nvPicPr>
          <p:cNvPr id="18" name="Picture 2" descr="European Union - Wikipedia">
            <a:extLst>
              <a:ext uri="{FF2B5EF4-FFF2-40B4-BE49-F238E27FC236}">
                <a16:creationId xmlns:a16="http://schemas.microsoft.com/office/drawing/2014/main" id="{40214310-041B-E3D3-A8B8-8A15895EB18E}"/>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6015930" y="2497138"/>
            <a:ext cx="314327" cy="209550"/>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8" descr="United States of America Logo PNG Transparent &amp; SVG Vector - Freebie Supply">
            <a:extLst>
              <a:ext uri="{FF2B5EF4-FFF2-40B4-BE49-F238E27FC236}">
                <a16:creationId xmlns:a16="http://schemas.microsoft.com/office/drawing/2014/main" id="{3BE35547-62AC-EFEA-C0DB-00D2E4BCFB74}"/>
              </a:ext>
            </a:extLst>
          </p:cNvPr>
          <p:cNvPicPr>
            <a:picLocks noChangeAspect="1" noChangeArrowheads="1"/>
          </p:cNvPicPr>
          <p:nvPr/>
        </p:nvPicPr>
        <p:blipFill rotWithShape="1">
          <a:blip r:embed="rId23">
            <a:extLst>
              <a:ext uri="{28A0092B-C50C-407E-A947-70E740481C1C}">
                <a14:useLocalDpi xmlns:a14="http://schemas.microsoft.com/office/drawing/2010/main" val="0"/>
              </a:ext>
            </a:extLst>
          </a:blip>
          <a:srcRect l="3542" t="19711" r="4166" b="20075"/>
          <a:stretch/>
        </p:blipFill>
        <p:spPr bwMode="auto">
          <a:xfrm>
            <a:off x="6015930" y="2759795"/>
            <a:ext cx="314327" cy="209550"/>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2" descr="Japan Logo PNG Vector (EPS) Free Download">
            <a:extLst>
              <a:ext uri="{FF2B5EF4-FFF2-40B4-BE49-F238E27FC236}">
                <a16:creationId xmlns:a16="http://schemas.microsoft.com/office/drawing/2014/main" id="{1593C3A5-8DAA-FB61-7F52-AD2532FB0065}"/>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6014739" y="2988076"/>
            <a:ext cx="316709" cy="211138"/>
          </a:xfrm>
          <a:prstGeom prst="rect">
            <a:avLst/>
          </a:prstGeom>
          <a:noFill/>
          <a:ln>
            <a:solidFill>
              <a:schemeClr val="bg1">
                <a:lumMod val="95000"/>
              </a:schemeClr>
            </a:solidFill>
          </a:ln>
          <a:extLst>
            <a:ext uri="{909E8E84-426E-40DD-AFC4-6F175D3DCCD1}">
              <a14:hiddenFill xmlns:a14="http://schemas.microsoft.com/office/drawing/2010/main">
                <a:solidFill>
                  <a:srgbClr val="FFFFFF"/>
                </a:solidFill>
              </a14:hiddenFill>
            </a:ext>
          </a:extLst>
        </p:spPr>
      </p:pic>
      <p:pic>
        <p:nvPicPr>
          <p:cNvPr id="21" name="Picture 4" descr="Norway Logo PNG Vector (AI) Free Download">
            <a:extLst>
              <a:ext uri="{FF2B5EF4-FFF2-40B4-BE49-F238E27FC236}">
                <a16:creationId xmlns:a16="http://schemas.microsoft.com/office/drawing/2014/main" id="{2FC448B6-8024-9087-AB31-7045F11F6893}"/>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6015930" y="3243195"/>
            <a:ext cx="314327" cy="209550"/>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6" descr="Flag of Canada Logo PNG Vector (EPS) Free Download">
            <a:extLst>
              <a:ext uri="{FF2B5EF4-FFF2-40B4-BE49-F238E27FC236}">
                <a16:creationId xmlns:a16="http://schemas.microsoft.com/office/drawing/2014/main" id="{D5732C8C-506C-3DCD-1612-1C73A3E72310}"/>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6014739" y="3516039"/>
            <a:ext cx="316709" cy="211138"/>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12" descr="Brazil - Wikipedia">
            <a:extLst>
              <a:ext uri="{FF2B5EF4-FFF2-40B4-BE49-F238E27FC236}">
                <a16:creationId xmlns:a16="http://schemas.microsoft.com/office/drawing/2014/main" id="{EA8018B0-2275-CA10-B03F-727F7463414E}"/>
              </a:ext>
            </a:extLst>
          </p:cNvPr>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6015930" y="3762016"/>
            <a:ext cx="314327" cy="20955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71" name="Chart 70">
            <a:extLst>
              <a:ext uri="{FF2B5EF4-FFF2-40B4-BE49-F238E27FC236}">
                <a16:creationId xmlns:a16="http://schemas.microsoft.com/office/drawing/2014/main" id="{1774CE94-D1BE-E68D-A984-A05C87878D17}"/>
              </a:ext>
            </a:extLst>
          </p:cNvPr>
          <p:cNvGraphicFramePr/>
          <p:nvPr>
            <p:custDataLst>
              <p:tags r:id="rId9"/>
            </p:custDataLst>
          </p:nvPr>
        </p:nvGraphicFramePr>
        <p:xfrm>
          <a:off x="6297613" y="3940175"/>
          <a:ext cx="2281237" cy="1035050"/>
        </p:xfrm>
        <a:graphic>
          <a:graphicData uri="http://schemas.openxmlformats.org/drawingml/2006/chart">
            <c:chart xmlns:c="http://schemas.openxmlformats.org/drawingml/2006/chart" xmlns:r="http://schemas.openxmlformats.org/officeDocument/2006/relationships" r:id="rId28"/>
          </a:graphicData>
        </a:graphic>
      </p:graphicFrame>
      <p:sp>
        <p:nvSpPr>
          <p:cNvPr id="25" name="Text Placeholder 2">
            <a:extLst>
              <a:ext uri="{FF2B5EF4-FFF2-40B4-BE49-F238E27FC236}">
                <a16:creationId xmlns:a16="http://schemas.microsoft.com/office/drawing/2014/main" id="{51D107A8-37CC-5D52-99C0-DA8AE0AA2656}"/>
              </a:ext>
            </a:extLst>
          </p:cNvPr>
          <p:cNvSpPr>
            <a:spLocks noGrp="1"/>
          </p:cNvSpPr>
          <p:nvPr>
            <p:custDataLst>
              <p:tags r:id="rId10"/>
            </p:custDataLst>
          </p:nvPr>
        </p:nvSpPr>
        <p:spPr bwMode="auto">
          <a:xfrm>
            <a:off x="6113463" y="4171950"/>
            <a:ext cx="1809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3BB28EB8-A450-460A-9C22-56AFECD4A381}" type="datetime'''''''''''C''''''''''''''''''''''''h'''''''''''''">
              <a:rPr lang="en-US" altLang="en-US" sz="1000" smtClean="0"/>
              <a:pPr marL="0" lvl="0" indent="0" algn="r">
                <a:spcBef>
                  <a:spcPct val="0"/>
                </a:spcBef>
                <a:spcAft>
                  <a:spcPct val="0"/>
                </a:spcAft>
                <a:buNone/>
              </a:pPr>
              <a:t>Ch</a:t>
            </a:fld>
            <a:endParaRPr lang="en-US" sz="1000" noProof="0"/>
          </a:p>
        </p:txBody>
      </p:sp>
      <p:sp>
        <p:nvSpPr>
          <p:cNvPr id="26" name="Text Placeholder 2">
            <a:extLst>
              <a:ext uri="{FF2B5EF4-FFF2-40B4-BE49-F238E27FC236}">
                <a16:creationId xmlns:a16="http://schemas.microsoft.com/office/drawing/2014/main" id="{3509C152-6DCA-2E63-3C13-010C47B4971A}"/>
              </a:ext>
            </a:extLst>
          </p:cNvPr>
          <p:cNvSpPr>
            <a:spLocks noGrp="1"/>
          </p:cNvSpPr>
          <p:nvPr>
            <p:custDataLst>
              <p:tags r:id="rId11"/>
            </p:custDataLst>
          </p:nvPr>
        </p:nvSpPr>
        <p:spPr bwMode="auto">
          <a:xfrm>
            <a:off x="6188075" y="4606925"/>
            <a:ext cx="1063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B484655C-57C6-42C0-8E92-D5FFEC3F6700}" type="datetime'''''''''''''''''''''''''''''I''''''''''''''''''''''''''n'''''">
              <a:rPr lang="en-US" altLang="en-US" sz="1000" smtClean="0"/>
              <a:pPr marL="0" lvl="0" indent="0" algn="r">
                <a:spcBef>
                  <a:spcPct val="0"/>
                </a:spcBef>
                <a:spcAft>
                  <a:spcPct val="0"/>
                </a:spcAft>
                <a:buNone/>
              </a:pPr>
              <a:t>In</a:t>
            </a:fld>
            <a:endParaRPr lang="en-US" sz="1000" noProof="0"/>
          </a:p>
        </p:txBody>
      </p:sp>
      <p:pic>
        <p:nvPicPr>
          <p:cNvPr id="27" name="Picture 10" descr="India - Wikipedia">
            <a:extLst>
              <a:ext uri="{FF2B5EF4-FFF2-40B4-BE49-F238E27FC236}">
                <a16:creationId xmlns:a16="http://schemas.microsoft.com/office/drawing/2014/main" id="{526A2C5D-91A2-ACA0-EAD3-05FA148CBD37}"/>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6013548" y="4580498"/>
            <a:ext cx="319090" cy="212725"/>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
            <a:extLst>
              <a:ext uri="{FF2B5EF4-FFF2-40B4-BE49-F238E27FC236}">
                <a16:creationId xmlns:a16="http://schemas.microsoft.com/office/drawing/2014/main" id="{81021100-7A9D-D6CB-31CC-DF71CD60E3BA}"/>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6015930" y="4126894"/>
            <a:ext cx="314327" cy="20955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77" name="Chart 76">
            <a:extLst>
              <a:ext uri="{FF2B5EF4-FFF2-40B4-BE49-F238E27FC236}">
                <a16:creationId xmlns:a16="http://schemas.microsoft.com/office/drawing/2014/main" id="{98C1902F-DA17-7AF8-E9DC-3DB27211128E}"/>
              </a:ext>
            </a:extLst>
          </p:cNvPr>
          <p:cNvGraphicFramePr/>
          <p:nvPr>
            <p:custDataLst>
              <p:tags r:id="rId12"/>
            </p:custDataLst>
          </p:nvPr>
        </p:nvGraphicFramePr>
        <p:xfrm>
          <a:off x="6297613" y="4848225"/>
          <a:ext cx="2281237" cy="846138"/>
        </p:xfrm>
        <a:graphic>
          <a:graphicData uri="http://schemas.openxmlformats.org/drawingml/2006/chart">
            <c:chart xmlns:c="http://schemas.openxmlformats.org/drawingml/2006/chart" xmlns:r="http://schemas.openxmlformats.org/officeDocument/2006/relationships" r:id="rId31"/>
          </a:graphicData>
        </a:graphic>
      </p:graphicFrame>
      <p:sp>
        <p:nvSpPr>
          <p:cNvPr id="30" name="Text Placeholder 2">
            <a:extLst>
              <a:ext uri="{FF2B5EF4-FFF2-40B4-BE49-F238E27FC236}">
                <a16:creationId xmlns:a16="http://schemas.microsoft.com/office/drawing/2014/main" id="{113DEBA2-9580-5620-B3DC-9E5E26B6FE4D}"/>
              </a:ext>
            </a:extLst>
          </p:cNvPr>
          <p:cNvSpPr>
            <a:spLocks noGrp="1"/>
          </p:cNvSpPr>
          <p:nvPr>
            <p:custDataLst>
              <p:tags r:id="rId13"/>
            </p:custDataLst>
          </p:nvPr>
        </p:nvSpPr>
        <p:spPr bwMode="auto">
          <a:xfrm>
            <a:off x="6076950" y="4975225"/>
            <a:ext cx="2174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CFE44E3C-C061-476C-9A86-FB17B5024B4E}" type="datetime'''''''''''''''''''''''''''''''''Ar''''''g'''''''''''''''">
              <a:rPr lang="en-US" altLang="en-US" sz="1000" smtClean="0"/>
              <a:pPr marL="0" lvl="0" indent="0" algn="r">
                <a:spcBef>
                  <a:spcPct val="0"/>
                </a:spcBef>
                <a:spcAft>
                  <a:spcPct val="0"/>
                </a:spcAft>
                <a:buNone/>
              </a:pPr>
              <a:t>Arg</a:t>
            </a:fld>
            <a:endParaRPr lang="en-US" sz="1000" noProof="0"/>
          </a:p>
        </p:txBody>
      </p:sp>
      <p:sp>
        <p:nvSpPr>
          <p:cNvPr id="31" name="Text Placeholder 2">
            <a:extLst>
              <a:ext uri="{FF2B5EF4-FFF2-40B4-BE49-F238E27FC236}">
                <a16:creationId xmlns:a16="http://schemas.microsoft.com/office/drawing/2014/main" id="{BEAEA0DA-948A-6A18-11C9-F9C14CBA72D4}"/>
              </a:ext>
            </a:extLst>
          </p:cNvPr>
          <p:cNvSpPr>
            <a:spLocks noGrp="1"/>
          </p:cNvSpPr>
          <p:nvPr>
            <p:custDataLst>
              <p:tags r:id="rId14"/>
            </p:custDataLst>
          </p:nvPr>
        </p:nvSpPr>
        <p:spPr bwMode="auto">
          <a:xfrm>
            <a:off x="6137275" y="5202238"/>
            <a:ext cx="1571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5E4D163A-BDA9-467F-B629-26FEE8D16E8A}" type="datetime'''''''''''''''''S''A'''''''''''''''">
              <a:rPr lang="en-US" altLang="en-US" sz="1000" smtClean="0"/>
              <a:pPr marL="0" lvl="0" indent="0" algn="r">
                <a:spcBef>
                  <a:spcPct val="0"/>
                </a:spcBef>
                <a:spcAft>
                  <a:spcPct val="0"/>
                </a:spcAft>
                <a:buNone/>
              </a:pPr>
              <a:t>SA</a:t>
            </a:fld>
            <a:endParaRPr lang="en-US" sz="1000" noProof="0"/>
          </a:p>
        </p:txBody>
      </p:sp>
      <p:sp>
        <p:nvSpPr>
          <p:cNvPr id="32" name="Text Placeholder 2">
            <a:extLst>
              <a:ext uri="{FF2B5EF4-FFF2-40B4-BE49-F238E27FC236}">
                <a16:creationId xmlns:a16="http://schemas.microsoft.com/office/drawing/2014/main" id="{CBFD54F3-3935-C1B3-17E7-E08B24B0A4E5}"/>
              </a:ext>
            </a:extLst>
          </p:cNvPr>
          <p:cNvSpPr>
            <a:spLocks noGrp="1"/>
          </p:cNvSpPr>
          <p:nvPr>
            <p:custDataLst>
              <p:tags r:id="rId15"/>
            </p:custDataLst>
          </p:nvPr>
        </p:nvSpPr>
        <p:spPr bwMode="auto">
          <a:xfrm>
            <a:off x="6140450" y="5429250"/>
            <a:ext cx="1539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919C6134-E258-4973-89E4-6534FCF7F26E}" type="datetime'''''''''''''''''N''''''Z'''''''''''''''''''''''''">
              <a:rPr lang="en-US" altLang="en-US" sz="1000" smtClean="0"/>
              <a:pPr marL="0" lvl="0" indent="0" algn="r">
                <a:spcBef>
                  <a:spcPct val="0"/>
                </a:spcBef>
                <a:spcAft>
                  <a:spcPct val="0"/>
                </a:spcAft>
                <a:buNone/>
              </a:pPr>
              <a:t>NZ</a:t>
            </a:fld>
            <a:endParaRPr lang="en-US" sz="1000" noProof="0"/>
          </a:p>
        </p:txBody>
      </p:sp>
      <p:pic>
        <p:nvPicPr>
          <p:cNvPr id="33" name="Picture 32">
            <a:extLst>
              <a:ext uri="{FF2B5EF4-FFF2-40B4-BE49-F238E27FC236}">
                <a16:creationId xmlns:a16="http://schemas.microsoft.com/office/drawing/2014/main" id="{03D11997-62A8-647E-C319-CAC177B7823C}"/>
              </a:ext>
            </a:extLst>
          </p:cNvPr>
          <p:cNvPicPr>
            <a:picLocks noChangeAspect="1"/>
          </p:cNvPicPr>
          <p:nvPr/>
        </p:nvPicPr>
        <p:blipFill>
          <a:blip r:embed="rId32"/>
          <a:stretch>
            <a:fillRect/>
          </a:stretch>
        </p:blipFill>
        <p:spPr>
          <a:xfrm>
            <a:off x="6015930" y="5451127"/>
            <a:ext cx="314326" cy="209550"/>
          </a:xfrm>
          <a:prstGeom prst="rect">
            <a:avLst/>
          </a:prstGeom>
        </p:spPr>
      </p:pic>
      <p:pic>
        <p:nvPicPr>
          <p:cNvPr id="34" name="Picture 2" descr="Flag of Saudi Arabia | History, Symbolism &amp; Meaning | Britannica">
            <a:extLst>
              <a:ext uri="{FF2B5EF4-FFF2-40B4-BE49-F238E27FC236}">
                <a16:creationId xmlns:a16="http://schemas.microsoft.com/office/drawing/2014/main" id="{A59DEE9A-DCC2-9841-233B-0A9960292722}"/>
              </a:ext>
            </a:extLst>
          </p:cNvPr>
          <p:cNvPicPr>
            <a:picLocks noChangeAspect="1" noChangeArrowheads="1"/>
          </p:cNvPicPr>
          <p:nvPr/>
        </p:nvPicPr>
        <p:blipFill>
          <a:blip r:embed="rId33">
            <a:extLst>
              <a:ext uri="{28A0092B-C50C-407E-A947-70E740481C1C}">
                <a14:useLocalDpi xmlns:a14="http://schemas.microsoft.com/office/drawing/2010/main" val="0"/>
              </a:ext>
            </a:extLst>
          </a:blip>
          <a:srcRect/>
          <a:stretch>
            <a:fillRect/>
          </a:stretch>
        </p:blipFill>
        <p:spPr bwMode="auto">
          <a:xfrm>
            <a:off x="6015930" y="5188720"/>
            <a:ext cx="314326" cy="209550"/>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4" descr="Flag of Argentina | History, Design &amp; Colors | Britannica">
            <a:extLst>
              <a:ext uri="{FF2B5EF4-FFF2-40B4-BE49-F238E27FC236}">
                <a16:creationId xmlns:a16="http://schemas.microsoft.com/office/drawing/2014/main" id="{DDC487DB-DAE3-53F7-8B34-B754AD12CC3C}"/>
              </a:ext>
            </a:extLst>
          </p:cNvPr>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6015930" y="4940451"/>
            <a:ext cx="314326" cy="20955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76" name="Chart 75">
            <a:extLst>
              <a:ext uri="{FF2B5EF4-FFF2-40B4-BE49-F238E27FC236}">
                <a16:creationId xmlns:a16="http://schemas.microsoft.com/office/drawing/2014/main" id="{9575B0CA-798C-DE76-CFE4-AA1E955858F1}"/>
              </a:ext>
            </a:extLst>
          </p:cNvPr>
          <p:cNvGraphicFramePr/>
          <p:nvPr>
            <p:custDataLst>
              <p:tags r:id="rId16"/>
            </p:custDataLst>
          </p:nvPr>
        </p:nvGraphicFramePr>
        <p:xfrm>
          <a:off x="6297613" y="5600700"/>
          <a:ext cx="2281237" cy="706438"/>
        </p:xfrm>
        <a:graphic>
          <a:graphicData uri="http://schemas.openxmlformats.org/drawingml/2006/chart">
            <c:chart xmlns:c="http://schemas.openxmlformats.org/drawingml/2006/chart" xmlns:r="http://schemas.openxmlformats.org/officeDocument/2006/relationships" r:id="rId35"/>
          </a:graphicData>
        </a:graphic>
      </p:graphicFrame>
      <p:sp>
        <p:nvSpPr>
          <p:cNvPr id="37" name="Text Placeholder 2">
            <a:extLst>
              <a:ext uri="{FF2B5EF4-FFF2-40B4-BE49-F238E27FC236}">
                <a16:creationId xmlns:a16="http://schemas.microsoft.com/office/drawing/2014/main" id="{0F9CB268-2AAC-669D-93D9-6CEE63FAC91F}"/>
              </a:ext>
            </a:extLst>
          </p:cNvPr>
          <p:cNvSpPr>
            <a:spLocks noGrp="1"/>
          </p:cNvSpPr>
          <p:nvPr>
            <p:custDataLst>
              <p:tags r:id="rId17"/>
            </p:custDataLst>
          </p:nvPr>
        </p:nvSpPr>
        <p:spPr bwMode="auto">
          <a:xfrm>
            <a:off x="6183313" y="5749925"/>
            <a:ext cx="1111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26ACD530-C786-47F1-8F1D-732108C86F3F}" type="datetime'''''''''''E''''''''''''t'''''">
              <a:rPr lang="en-US" altLang="en-US" sz="1000" smtClean="0"/>
              <a:pPr marL="0" lvl="0" indent="0" algn="r">
                <a:spcBef>
                  <a:spcPct val="0"/>
                </a:spcBef>
                <a:spcAft>
                  <a:spcPct val="0"/>
                </a:spcAft>
                <a:buNone/>
              </a:pPr>
              <a:t>Et</a:t>
            </a:fld>
            <a:endParaRPr lang="en-US" sz="1000" noProof="0"/>
          </a:p>
        </p:txBody>
      </p:sp>
      <p:pic>
        <p:nvPicPr>
          <p:cNvPr id="38" name="Picture 37">
            <a:extLst>
              <a:ext uri="{FF2B5EF4-FFF2-40B4-BE49-F238E27FC236}">
                <a16:creationId xmlns:a16="http://schemas.microsoft.com/office/drawing/2014/main" id="{2EDB1978-A6D0-87AB-080B-9A057EBD3260}"/>
              </a:ext>
            </a:extLst>
          </p:cNvPr>
          <p:cNvPicPr>
            <a:picLocks noChangeAspect="1"/>
          </p:cNvPicPr>
          <p:nvPr/>
        </p:nvPicPr>
        <p:blipFill>
          <a:blip r:embed="rId36"/>
          <a:stretch>
            <a:fillRect/>
          </a:stretch>
        </p:blipFill>
        <p:spPr>
          <a:xfrm>
            <a:off x="6015930" y="5755966"/>
            <a:ext cx="314326" cy="209550"/>
          </a:xfrm>
          <a:prstGeom prst="rect">
            <a:avLst/>
          </a:prstGeom>
        </p:spPr>
      </p:pic>
      <p:pic>
        <p:nvPicPr>
          <p:cNvPr id="39" name="Picture 2" descr="Flag of the Gambia | Meaning, Colors &amp; History | Britannica">
            <a:extLst>
              <a:ext uri="{FF2B5EF4-FFF2-40B4-BE49-F238E27FC236}">
                <a16:creationId xmlns:a16="http://schemas.microsoft.com/office/drawing/2014/main" id="{645D2D9B-06CF-4744-3C8A-A64F63AA3468}"/>
              </a:ext>
            </a:extLst>
          </p:cNvPr>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6015930" y="6007891"/>
            <a:ext cx="314326" cy="2095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5451419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7ABD133-26C5-21C8-4B91-2A485C09FA0C}"/>
              </a:ext>
            </a:extLst>
          </p:cNvPr>
          <p:cNvGraphicFramePr>
            <a:graphicFrameLocks noChangeAspect="1"/>
          </p:cNvGraphicFramePr>
          <p:nvPr>
            <p:custDataLst>
              <p:tags r:id="rId1"/>
            </p:custDataLst>
            <p:extLst>
              <p:ext uri="{D42A27DB-BD31-4B8C-83A1-F6EECF244321}">
                <p14:modId xmlns:p14="http://schemas.microsoft.com/office/powerpoint/2010/main" val="23933242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57ABD133-26C5-21C8-4B91-2A485C09FA0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E615835C-187F-29A3-E7D3-B342DB852B08}"/>
              </a:ext>
            </a:extLst>
          </p:cNvPr>
          <p:cNvSpPr>
            <a:spLocks noGrp="1"/>
          </p:cNvSpPr>
          <p:nvPr>
            <p:ph type="title"/>
          </p:nvPr>
        </p:nvSpPr>
        <p:spPr/>
        <p:txBody>
          <a:bodyPr vert="horz"/>
          <a:lstStyle/>
          <a:p>
            <a:r>
              <a:rPr lang="en-GB" sz="2000"/>
              <a:t>NDC targets should be underpinned by a clear strategic vision of how the energy system will transition over time – NDCs could include several indicators to reflect this understanding and track progress</a:t>
            </a:r>
          </a:p>
        </p:txBody>
      </p:sp>
      <p:sp>
        <p:nvSpPr>
          <p:cNvPr id="3" name="Slide Number Placeholder 2">
            <a:extLst>
              <a:ext uri="{FF2B5EF4-FFF2-40B4-BE49-F238E27FC236}">
                <a16:creationId xmlns:a16="http://schemas.microsoft.com/office/drawing/2014/main" id="{9D459184-6C88-2440-C13A-07C2954450A2}"/>
              </a:ext>
            </a:extLst>
          </p:cNvPr>
          <p:cNvSpPr>
            <a:spLocks noGrp="1"/>
          </p:cNvSpPr>
          <p:nvPr>
            <p:ph type="sldNum" sz="quarter" idx="12"/>
          </p:nvPr>
        </p:nvSpPr>
        <p:spPr/>
        <p:txBody>
          <a:bodyPr/>
          <a:lstStyle/>
          <a:p>
            <a:fld id="{DDF71BC8-773F-4A54-968E-450E29C75AD4}" type="slidenum">
              <a:rPr lang="en-GB" smtClean="0"/>
              <a:pPr/>
              <a:t>19</a:t>
            </a:fld>
            <a:endParaRPr lang="en-GB"/>
          </a:p>
        </p:txBody>
      </p:sp>
      <p:sp>
        <p:nvSpPr>
          <p:cNvPr id="4" name="Footer Placeholder 3">
            <a:extLst>
              <a:ext uri="{FF2B5EF4-FFF2-40B4-BE49-F238E27FC236}">
                <a16:creationId xmlns:a16="http://schemas.microsoft.com/office/drawing/2014/main" id="{263EE243-CA4E-B772-A48C-BA822D9F9A34}"/>
              </a:ext>
            </a:extLst>
          </p:cNvPr>
          <p:cNvSpPr>
            <a:spLocks noGrp="1"/>
          </p:cNvSpPr>
          <p:nvPr>
            <p:ph type="ftr" sz="quarter" idx="13"/>
          </p:nvPr>
        </p:nvSpPr>
        <p:spPr/>
        <p:txBody>
          <a:bodyPr/>
          <a:lstStyle/>
          <a:p>
            <a:endParaRPr lang="en-GB"/>
          </a:p>
        </p:txBody>
      </p:sp>
      <p:pic>
        <p:nvPicPr>
          <p:cNvPr id="9" name="Picture 8">
            <a:extLst>
              <a:ext uri="{FF2B5EF4-FFF2-40B4-BE49-F238E27FC236}">
                <a16:creationId xmlns:a16="http://schemas.microsoft.com/office/drawing/2014/main" id="{E37CF01C-C0E7-D42C-5EFA-232706CF5638}"/>
              </a:ext>
            </a:extLst>
          </p:cNvPr>
          <p:cNvPicPr>
            <a:picLocks noChangeAspect="1"/>
          </p:cNvPicPr>
          <p:nvPr/>
        </p:nvPicPr>
        <p:blipFill>
          <a:blip r:embed="rId5"/>
          <a:stretch>
            <a:fillRect/>
          </a:stretch>
        </p:blipFill>
        <p:spPr>
          <a:xfrm>
            <a:off x="2121374" y="1152602"/>
            <a:ext cx="7949253" cy="5142663"/>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15874660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A570C5B-1540-480C-B044-716A226E1A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26" imgH="526" progId="TCLayout.ActiveDocument.1">
                  <p:embed/>
                </p:oleObj>
              </mc:Choice>
              <mc:Fallback>
                <p:oleObj name="think-cell Slide" r:id="rId6" imgW="526" imgH="526" progId="TCLayout.ActiveDocument.1">
                  <p:embed/>
                  <p:pic>
                    <p:nvPicPr>
                      <p:cNvPr id="7" name="Object 6" hidden="1">
                        <a:extLst>
                          <a:ext uri="{FF2B5EF4-FFF2-40B4-BE49-F238E27FC236}">
                            <a16:creationId xmlns:a16="http://schemas.microsoft.com/office/drawing/2014/main" id="{4A570C5B-1540-480C-B044-716A226E1AB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DA23873F-CD05-43EC-AC73-2EC2C1D08845}"/>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400" b="1" i="0" u="none" strike="noStrike" kern="1200" cap="none" spc="0" normalizeH="0" baseline="0" noProof="0">
              <a:ln>
                <a:noFill/>
              </a:ln>
              <a:solidFill>
                <a:srgbClr val="FFFFFF"/>
              </a:solidFill>
              <a:effectLst/>
              <a:uLnTx/>
              <a:uFillTx/>
              <a:latin typeface="Century Gothic" panose="020B0502020202020204" pitchFamily="34" charset="0"/>
              <a:ea typeface="+mn-ea"/>
              <a:cs typeface="+mn-cs"/>
              <a:sym typeface="Century Gothic" panose="020B0502020202020204" pitchFamily="34" charset="0"/>
            </a:endParaRPr>
          </a:p>
        </p:txBody>
      </p:sp>
      <p:sp>
        <p:nvSpPr>
          <p:cNvPr id="85" name="Rectangle 84">
            <a:extLst>
              <a:ext uri="{FF2B5EF4-FFF2-40B4-BE49-F238E27FC236}">
                <a16:creationId xmlns:a16="http://schemas.microsoft.com/office/drawing/2014/main" id="{B8845BCA-AE51-4AAF-AD48-762D67B614D3}"/>
              </a:ext>
            </a:extLst>
          </p:cNvPr>
          <p:cNvSpPr/>
          <p:nvPr/>
        </p:nvSpPr>
        <p:spPr>
          <a:xfrm>
            <a:off x="6020185" y="274820"/>
            <a:ext cx="6171815" cy="6197888"/>
          </a:xfrm>
          <a:prstGeom prst="rect">
            <a:avLst/>
          </a:prstGeom>
          <a:solidFill>
            <a:schemeClr val="accent4">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0" name="Slide Number Placeholder 3">
            <a:extLst>
              <a:ext uri="{FF2B5EF4-FFF2-40B4-BE49-F238E27FC236}">
                <a16:creationId xmlns:a16="http://schemas.microsoft.com/office/drawing/2014/main" id="{A93DD49C-3D0D-4EC2-AD19-63DBFBA11EF9}"/>
              </a:ext>
            </a:extLst>
          </p:cNvPr>
          <p:cNvSpPr>
            <a:spLocks noGrp="1"/>
          </p:cNvSpPr>
          <p:nvPr>
            <p:ph type="sldNum" sz="quarter" idx="12"/>
          </p:nvPr>
        </p:nvSpPr>
        <p:spPr>
          <a:xfrm>
            <a:off x="11314734" y="6342890"/>
            <a:ext cx="505963" cy="374690"/>
          </a:xfrm>
        </p:spPr>
        <p:txBody>
          <a:bodyPr/>
          <a:lstStyle/>
          <a:p>
            <a:fld id="{ABB6D191-819E-455F-BC39-F2381519C0C1}" type="slidenum">
              <a:rPr lang="en-GB" noProof="0" smtClean="0"/>
              <a:pPr/>
              <a:t>2</a:t>
            </a:fld>
            <a:endParaRPr lang="en-GB" noProof="0"/>
          </a:p>
        </p:txBody>
      </p:sp>
      <p:grpSp>
        <p:nvGrpSpPr>
          <p:cNvPr id="1032" name="Group 1031">
            <a:extLst>
              <a:ext uri="{FF2B5EF4-FFF2-40B4-BE49-F238E27FC236}">
                <a16:creationId xmlns:a16="http://schemas.microsoft.com/office/drawing/2014/main" id="{9583E400-3A82-454B-A235-91E135B67284}"/>
              </a:ext>
            </a:extLst>
          </p:cNvPr>
          <p:cNvGrpSpPr/>
          <p:nvPr/>
        </p:nvGrpSpPr>
        <p:grpSpPr>
          <a:xfrm>
            <a:off x="256501" y="2137221"/>
            <a:ext cx="3887111" cy="2585512"/>
            <a:chOff x="598087" y="2054883"/>
            <a:chExt cx="3887111" cy="2585512"/>
          </a:xfrm>
        </p:grpSpPr>
        <p:sp>
          <p:nvSpPr>
            <p:cNvPr id="64" name="Rectangle 63">
              <a:extLst>
                <a:ext uri="{FF2B5EF4-FFF2-40B4-BE49-F238E27FC236}">
                  <a16:creationId xmlns:a16="http://schemas.microsoft.com/office/drawing/2014/main" id="{9AF47D3B-9D30-4187-B731-4599E3827B2B}"/>
                </a:ext>
              </a:extLst>
            </p:cNvPr>
            <p:cNvSpPr/>
            <p:nvPr/>
          </p:nvSpPr>
          <p:spPr>
            <a:xfrm>
              <a:off x="646204" y="3748385"/>
              <a:ext cx="1512000" cy="792000"/>
            </a:xfrm>
            <a:prstGeom prst="rect">
              <a:avLst/>
            </a:prstGeom>
            <a:noFill/>
            <a:ln w="25400" cap="flat" cmpd="sng" algn="ctr">
              <a:noFill/>
              <a:prstDash val="solid"/>
            </a:ln>
            <a:effectLst/>
            <a:extLst>
              <a:ext uri="{91240B29-F687-4F45-9708-019B960494DF}">
                <a14:hiddenLine xmlns:a14="http://schemas.microsoft.com/office/drawing/2010/main" w="25400" cap="flat" cmpd="sng" algn="ctr">
                  <a:solidFill>
                    <a:schemeClr val="accent6">
                      <a:lumMod val="20000"/>
                      <a:lumOff val="80000"/>
                      <a:alpha val="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b"/>
            <a:lstStyle/>
            <a:p>
              <a:pPr>
                <a:defRPr/>
              </a:pPr>
              <a:endParaRPr lang="en-GB" sz="1150">
                <a:solidFill>
                  <a:srgbClr val="004876">
                    <a:lumMod val="100000"/>
                  </a:srgbClr>
                </a:solidFill>
                <a:latin typeface="Century Gothic"/>
                <a:ea typeface="ＭＳ Ｐゴシック"/>
              </a:endParaRPr>
            </a:p>
            <a:p>
              <a:pPr>
                <a:defRPr/>
              </a:pPr>
              <a:r>
                <a:rPr lang="en-GB" sz="1150">
                  <a:solidFill>
                    <a:srgbClr val="004876">
                      <a:lumMod val="100000"/>
                    </a:srgbClr>
                  </a:solidFill>
                  <a:latin typeface="Century Gothic"/>
                  <a:ea typeface="ＭＳ Ｐゴシック"/>
                </a:rPr>
                <a:t>Chair</a:t>
              </a:r>
              <a:endParaRPr lang="en-GB">
                <a:solidFill>
                  <a:srgbClr val="FFFFFF"/>
                </a:solidFill>
                <a:latin typeface="Century Gothic"/>
                <a:ea typeface="ＭＳ Ｐゴシック"/>
              </a:endParaRPr>
            </a:p>
            <a:p>
              <a:pPr marL="0" marR="0" lvl="0" indent="0" defTabSz="914400">
                <a:lnSpc>
                  <a:spcPct val="100000"/>
                </a:lnSpc>
                <a:spcBef>
                  <a:spcPts val="0"/>
                </a:spcBef>
                <a:spcAft>
                  <a:spcPts val="0"/>
                </a:spcAft>
                <a:buClrTx/>
                <a:buSzTx/>
                <a:buFontTx/>
                <a:buNone/>
                <a:tabLst/>
                <a:defRPr/>
              </a:pPr>
              <a:r>
                <a:rPr lang="en-GB" sz="1150">
                  <a:solidFill>
                    <a:srgbClr val="004876">
                      <a:lumMod val="100000"/>
                    </a:srgbClr>
                  </a:solidFill>
                  <a:latin typeface="Century Gothic"/>
                  <a:ea typeface="ＭＳ Ｐゴシック"/>
                </a:rPr>
                <a:t>Adair</a:t>
              </a:r>
              <a:r>
                <a:rPr kumimoji="0" lang="en-GB" sz="1150" b="0" i="0" u="none" strike="noStrike" kern="1200" cap="none" spc="0" normalizeH="0" baseline="0" noProof="0">
                  <a:ln>
                    <a:noFill/>
                  </a:ln>
                  <a:solidFill>
                    <a:srgbClr val="004876">
                      <a:lumMod val="100000"/>
                    </a:srgbClr>
                  </a:solidFill>
                  <a:effectLst/>
                  <a:uLnTx/>
                  <a:uFillTx/>
                  <a:latin typeface="Century Gothic"/>
                  <a:ea typeface="ＭＳ Ｐゴシック"/>
                </a:rPr>
                <a:t> Turner</a:t>
              </a:r>
              <a:endParaRPr lang="en-GB">
                <a:latin typeface="Century Gothic"/>
              </a:endParaRPr>
            </a:p>
          </p:txBody>
        </p:sp>
        <p:sp>
          <p:nvSpPr>
            <p:cNvPr id="67" name="Rectangle 66">
              <a:extLst>
                <a:ext uri="{FF2B5EF4-FFF2-40B4-BE49-F238E27FC236}">
                  <a16:creationId xmlns:a16="http://schemas.microsoft.com/office/drawing/2014/main" id="{DAF185BB-6131-4B6E-9A8E-9F4BA62D0FE1}"/>
                </a:ext>
              </a:extLst>
            </p:cNvPr>
            <p:cNvSpPr/>
            <p:nvPr/>
          </p:nvSpPr>
          <p:spPr>
            <a:xfrm>
              <a:off x="598087" y="2054883"/>
              <a:ext cx="3887111" cy="2585512"/>
            </a:xfrm>
            <a:prstGeom prst="rect">
              <a:avLst/>
            </a:prstGeom>
            <a:noFill/>
            <a:ln w="19050" cap="flat" cmpd="sng" algn="ctr">
              <a:solidFill>
                <a:schemeClr val="tx2"/>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err="1">
                <a:ln>
                  <a:noFill/>
                </a:ln>
                <a:solidFill>
                  <a:srgbClr val="595959"/>
                </a:solidFill>
                <a:effectLst/>
                <a:uLnTx/>
                <a:uFillTx/>
                <a:latin typeface="Century Gothic" panose="020B0502020202020204" pitchFamily="34" charset="0"/>
                <a:ea typeface="ＭＳ Ｐゴシック"/>
              </a:endParaRPr>
            </a:p>
          </p:txBody>
        </p:sp>
        <p:cxnSp>
          <p:nvCxnSpPr>
            <p:cNvPr id="76" name="Straight Connector 75">
              <a:extLst>
                <a:ext uri="{FF2B5EF4-FFF2-40B4-BE49-F238E27FC236}">
                  <a16:creationId xmlns:a16="http://schemas.microsoft.com/office/drawing/2014/main" id="{9A234BCA-47B3-4883-94BB-4CDBE154915B}"/>
                </a:ext>
              </a:extLst>
            </p:cNvPr>
            <p:cNvCxnSpPr>
              <a:cxnSpLocks/>
            </p:cNvCxnSpPr>
            <p:nvPr/>
          </p:nvCxnSpPr>
          <p:spPr>
            <a:xfrm flipH="1">
              <a:off x="784859" y="3689829"/>
              <a:ext cx="3469532" cy="0"/>
            </a:xfrm>
            <a:prstGeom prst="line">
              <a:avLst/>
            </a:prstGeom>
            <a:ln w="12700" cap="flat" cmpd="sng" algn="ctr">
              <a:solidFill>
                <a:schemeClr val="tx2">
                  <a:lumMod val="100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8" name="Picture 7" descr="A close up of a logo&#10;&#10;Description automatically generated">
              <a:extLst>
                <a:ext uri="{FF2B5EF4-FFF2-40B4-BE49-F238E27FC236}">
                  <a16:creationId xmlns:a16="http://schemas.microsoft.com/office/drawing/2014/main" id="{98A30CCD-9E59-4926-B59E-C2BA820D3B52}"/>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63571" y="2197647"/>
              <a:ext cx="1614485" cy="1403515"/>
            </a:xfrm>
            <a:prstGeom prst="rect">
              <a:avLst/>
            </a:prstGeom>
          </p:spPr>
        </p:pic>
      </p:grpSp>
      <p:grpSp>
        <p:nvGrpSpPr>
          <p:cNvPr id="42" name="Group 41">
            <a:extLst>
              <a:ext uri="{FF2B5EF4-FFF2-40B4-BE49-F238E27FC236}">
                <a16:creationId xmlns:a16="http://schemas.microsoft.com/office/drawing/2014/main" id="{559A859B-34EC-47EE-43C0-A34CB50A5838}"/>
              </a:ext>
            </a:extLst>
          </p:cNvPr>
          <p:cNvGrpSpPr/>
          <p:nvPr/>
        </p:nvGrpSpPr>
        <p:grpSpPr>
          <a:xfrm>
            <a:off x="4692952" y="378938"/>
            <a:ext cx="1295790" cy="1008775"/>
            <a:chOff x="4844238" y="485424"/>
            <a:chExt cx="1295790" cy="1008775"/>
          </a:xfrm>
        </p:grpSpPr>
        <p:sp>
          <p:nvSpPr>
            <p:cNvPr id="4" name="Rectangle: Top Corners Rounded 3">
              <a:extLst>
                <a:ext uri="{FF2B5EF4-FFF2-40B4-BE49-F238E27FC236}">
                  <a16:creationId xmlns:a16="http://schemas.microsoft.com/office/drawing/2014/main" id="{7C6D2CAE-7F9F-4AB1-B351-96C9357ED61F}"/>
                </a:ext>
              </a:extLst>
            </p:cNvPr>
            <p:cNvSpPr>
              <a:spLocks/>
            </p:cNvSpPr>
            <p:nvPr/>
          </p:nvSpPr>
          <p:spPr>
            <a:xfrm rot="16200000">
              <a:off x="4987745" y="341917"/>
              <a:ext cx="1008775" cy="1295790"/>
            </a:xfrm>
            <a:prstGeom prst="round2Same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en-US" sz="1400">
                <a:ln>
                  <a:noFill/>
                </a:ln>
                <a:solidFill>
                  <a:schemeClr val="bg1"/>
                </a:solidFill>
                <a:latin typeface="Century Gothic" panose="020B0502020202020204" pitchFamily="34" charset="0"/>
              </a:endParaRPr>
            </a:p>
          </p:txBody>
        </p:sp>
        <p:sp>
          <p:nvSpPr>
            <p:cNvPr id="95" name="Rectangle 94">
              <a:extLst>
                <a:ext uri="{FF2B5EF4-FFF2-40B4-BE49-F238E27FC236}">
                  <a16:creationId xmlns:a16="http://schemas.microsoft.com/office/drawing/2014/main" id="{E416E505-448E-478F-A0CC-1918E7963BF8}"/>
                </a:ext>
              </a:extLst>
            </p:cNvPr>
            <p:cNvSpPr>
              <a:spLocks/>
            </p:cNvSpPr>
            <p:nvPr/>
          </p:nvSpPr>
          <p:spPr>
            <a:xfrm>
              <a:off x="4969883" y="882090"/>
              <a:ext cx="1063915" cy="215444"/>
            </a:xfrm>
            <a:prstGeom prst="rect">
              <a:avLst/>
            </a:prstGeom>
            <a:noFill/>
            <a:ln w="9525"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bg1"/>
                  </a:solidFill>
                  <a:effectLst/>
                  <a:uLnTx/>
                  <a:uFillTx/>
                  <a:latin typeface="Century Gothic" panose="020B0502020202020204" pitchFamily="34" charset="0"/>
                  <a:ea typeface="ＭＳ Ｐゴシック"/>
                  <a:sym typeface="Arial"/>
                </a:rPr>
                <a:t>Energy</a:t>
              </a:r>
            </a:p>
          </p:txBody>
        </p:sp>
      </p:grpSp>
      <p:grpSp>
        <p:nvGrpSpPr>
          <p:cNvPr id="72" name="Group 71">
            <a:extLst>
              <a:ext uri="{FF2B5EF4-FFF2-40B4-BE49-F238E27FC236}">
                <a16:creationId xmlns:a16="http://schemas.microsoft.com/office/drawing/2014/main" id="{F4E9053D-9162-BFC0-780D-3337354D5997}"/>
              </a:ext>
            </a:extLst>
          </p:cNvPr>
          <p:cNvGrpSpPr>
            <a:grpSpLocks/>
          </p:cNvGrpSpPr>
          <p:nvPr/>
        </p:nvGrpSpPr>
        <p:grpSpPr>
          <a:xfrm>
            <a:off x="6277131" y="1736361"/>
            <a:ext cx="5788793" cy="72000"/>
            <a:chOff x="6154091" y="1627954"/>
            <a:chExt cx="5731478" cy="72000"/>
          </a:xfrm>
        </p:grpSpPr>
        <p:sp>
          <p:nvSpPr>
            <p:cNvPr id="98" name="Rectangle: Rounded Corners 97">
              <a:extLst>
                <a:ext uri="{FF2B5EF4-FFF2-40B4-BE49-F238E27FC236}">
                  <a16:creationId xmlns:a16="http://schemas.microsoft.com/office/drawing/2014/main" id="{4018794F-DA0A-436B-AD12-1F759EE6788A}"/>
                </a:ext>
              </a:extLst>
            </p:cNvPr>
            <p:cNvSpPr/>
            <p:nvPr/>
          </p:nvSpPr>
          <p:spPr>
            <a:xfrm>
              <a:off x="11273569" y="1627954"/>
              <a:ext cx="612000" cy="72000"/>
            </a:xfrm>
            <a:prstGeom prst="roundRect">
              <a:avLst>
                <a:gd name="adj" fmla="val 50000"/>
              </a:avLst>
            </a:prstGeom>
            <a:solidFill>
              <a:srgbClr val="004876"/>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a:ln>
                  <a:noFill/>
                </a:ln>
                <a:solidFill>
                  <a:schemeClr val="bg1"/>
                </a:solidFill>
                <a:latin typeface="Century Gothic" panose="020B0502020202020204" pitchFamily="34" charset="0"/>
              </a:endParaRPr>
            </a:p>
          </p:txBody>
        </p:sp>
        <p:cxnSp>
          <p:nvCxnSpPr>
            <p:cNvPr id="97" name="Straight Connector 96">
              <a:extLst>
                <a:ext uri="{FF2B5EF4-FFF2-40B4-BE49-F238E27FC236}">
                  <a16:creationId xmlns:a16="http://schemas.microsoft.com/office/drawing/2014/main" id="{F74E469E-438C-44AE-9E6F-9A4B82B67E31}"/>
                </a:ext>
              </a:extLst>
            </p:cNvPr>
            <p:cNvCxnSpPr>
              <a:cxnSpLocks/>
            </p:cNvCxnSpPr>
            <p:nvPr/>
          </p:nvCxnSpPr>
          <p:spPr>
            <a:xfrm>
              <a:off x="6154091" y="1663954"/>
              <a:ext cx="5523559" cy="0"/>
            </a:xfrm>
            <a:prstGeom prst="line">
              <a:avLst/>
            </a:prstGeom>
            <a:ln w="19050">
              <a:solidFill>
                <a:schemeClr val="tx2"/>
              </a:solidFill>
              <a:prstDash val="sysDot"/>
            </a:ln>
          </p:spPr>
          <p:style>
            <a:lnRef idx="1">
              <a:schemeClr val="accent1"/>
            </a:lnRef>
            <a:fillRef idx="0">
              <a:schemeClr val="accent1"/>
            </a:fillRef>
            <a:effectRef idx="0">
              <a:schemeClr val="accent1"/>
            </a:effectRef>
            <a:fontRef idx="minor">
              <a:schemeClr val="tx1"/>
            </a:fontRef>
          </p:style>
        </p:cxnSp>
      </p:grpSp>
      <p:grpSp>
        <p:nvGrpSpPr>
          <p:cNvPr id="73" name="Group 72">
            <a:extLst>
              <a:ext uri="{FF2B5EF4-FFF2-40B4-BE49-F238E27FC236}">
                <a16:creationId xmlns:a16="http://schemas.microsoft.com/office/drawing/2014/main" id="{083F49B7-865C-19A7-C753-191089B7A03F}"/>
              </a:ext>
            </a:extLst>
          </p:cNvPr>
          <p:cNvGrpSpPr>
            <a:grpSpLocks/>
          </p:cNvGrpSpPr>
          <p:nvPr/>
        </p:nvGrpSpPr>
        <p:grpSpPr>
          <a:xfrm>
            <a:off x="6277131" y="4921770"/>
            <a:ext cx="5788793" cy="72000"/>
            <a:chOff x="6154091" y="4012229"/>
            <a:chExt cx="5731478" cy="72000"/>
          </a:xfrm>
        </p:grpSpPr>
        <p:sp>
          <p:nvSpPr>
            <p:cNvPr id="104" name="Rectangle: Rounded Corners 103">
              <a:extLst>
                <a:ext uri="{FF2B5EF4-FFF2-40B4-BE49-F238E27FC236}">
                  <a16:creationId xmlns:a16="http://schemas.microsoft.com/office/drawing/2014/main" id="{7601E903-DBBA-4111-82EC-AD7289E3D5B6}"/>
                </a:ext>
              </a:extLst>
            </p:cNvPr>
            <p:cNvSpPr/>
            <p:nvPr/>
          </p:nvSpPr>
          <p:spPr>
            <a:xfrm>
              <a:off x="11273569" y="4012229"/>
              <a:ext cx="612000" cy="72000"/>
            </a:xfrm>
            <a:prstGeom prst="roundRect">
              <a:avLst>
                <a:gd name="adj" fmla="val 50000"/>
              </a:avLst>
            </a:prstGeom>
            <a:solidFill>
              <a:srgbClr val="004876"/>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a:ln>
                  <a:noFill/>
                </a:ln>
                <a:solidFill>
                  <a:schemeClr val="bg1"/>
                </a:solidFill>
                <a:latin typeface="Century Gothic" panose="020B0502020202020204" pitchFamily="34" charset="0"/>
              </a:endParaRPr>
            </a:p>
          </p:txBody>
        </p:sp>
        <p:cxnSp>
          <p:nvCxnSpPr>
            <p:cNvPr id="103" name="Straight Connector 102">
              <a:extLst>
                <a:ext uri="{FF2B5EF4-FFF2-40B4-BE49-F238E27FC236}">
                  <a16:creationId xmlns:a16="http://schemas.microsoft.com/office/drawing/2014/main" id="{7B4A7503-54F2-4A41-BDE6-0AF61447D761}"/>
                </a:ext>
              </a:extLst>
            </p:cNvPr>
            <p:cNvCxnSpPr>
              <a:cxnSpLocks/>
            </p:cNvCxnSpPr>
            <p:nvPr/>
          </p:nvCxnSpPr>
          <p:spPr>
            <a:xfrm>
              <a:off x="6154091" y="4048229"/>
              <a:ext cx="5523559" cy="0"/>
            </a:xfrm>
            <a:prstGeom prst="line">
              <a:avLst/>
            </a:prstGeom>
            <a:ln w="19050">
              <a:solidFill>
                <a:schemeClr val="tx2"/>
              </a:solidFill>
              <a:prstDash val="sysDot"/>
            </a:ln>
          </p:spPr>
          <p:style>
            <a:lnRef idx="1">
              <a:schemeClr val="accent1"/>
            </a:lnRef>
            <a:fillRef idx="0">
              <a:schemeClr val="accent1"/>
            </a:fillRef>
            <a:effectRef idx="0">
              <a:schemeClr val="accent1"/>
            </a:effectRef>
            <a:fontRef idx="minor">
              <a:schemeClr val="tx1"/>
            </a:fontRef>
          </p:style>
        </p:cxnSp>
      </p:grpSp>
      <p:pic>
        <p:nvPicPr>
          <p:cNvPr id="18" name="Picture 17">
            <a:extLst>
              <a:ext uri="{FF2B5EF4-FFF2-40B4-BE49-F238E27FC236}">
                <a16:creationId xmlns:a16="http://schemas.microsoft.com/office/drawing/2014/main" id="{701E5FB9-3C17-41C2-B197-E8011AC4CA19}"/>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l="21531" t="21531" r="21531" b="21531"/>
          <a:stretch/>
        </p:blipFill>
        <p:spPr>
          <a:xfrm>
            <a:off x="11512587" y="1163429"/>
            <a:ext cx="375471" cy="375471"/>
          </a:xfrm>
          <a:prstGeom prst="rect">
            <a:avLst/>
          </a:prstGeom>
          <a:noFill/>
          <a:ln>
            <a:noFill/>
          </a:ln>
        </p:spPr>
      </p:pic>
      <p:pic>
        <p:nvPicPr>
          <p:cNvPr id="65" name="Picture 64" descr="Icon&#10;&#10;Description automatically generated with medium confidence">
            <a:extLst>
              <a:ext uri="{FF2B5EF4-FFF2-40B4-BE49-F238E27FC236}">
                <a16:creationId xmlns:a16="http://schemas.microsoft.com/office/drawing/2014/main" id="{8302A588-4B13-4112-B1E8-44EE589F5DD5}"/>
              </a:ext>
            </a:extLst>
          </p:cNvPr>
          <p:cNvPicPr>
            <a:picLocks noChangeAspect="1"/>
          </p:cNvPicPr>
          <p:nvPr/>
        </p:nvPicPr>
        <p:blipFill>
          <a:blip r:embed="rId10"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136664" y="336557"/>
            <a:ext cx="828657" cy="299114"/>
          </a:xfrm>
          <a:prstGeom prst="rect">
            <a:avLst/>
          </a:prstGeom>
        </p:spPr>
      </p:pic>
      <p:pic>
        <p:nvPicPr>
          <p:cNvPr id="15" name="Picture 4" descr="https://tse3.mm.bing.net/th?id=OIP.bCPPD-_jmH-ub2eRijNqwAEsBq&amp;pid=Api">
            <a:extLst>
              <a:ext uri="{FF2B5EF4-FFF2-40B4-BE49-F238E27FC236}">
                <a16:creationId xmlns:a16="http://schemas.microsoft.com/office/drawing/2014/main" id="{8FAA8842-1FFD-4724-B57F-74C98803D979}"/>
              </a:ext>
            </a:extLst>
          </p:cNvPr>
          <p:cNvPicPr>
            <a:picLocks noChangeAspect="1" noChangeArrowheads="1"/>
          </p:cNvPicPr>
          <p:nvPr/>
        </p:nvPicPr>
        <p:blipFill rotWithShape="1">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rcRect l="4201" t="12413" r="7544" b="20808"/>
          <a:stretch/>
        </p:blipFill>
        <p:spPr bwMode="auto">
          <a:xfrm>
            <a:off x="6304190" y="1338866"/>
            <a:ext cx="1118791" cy="299114"/>
          </a:xfrm>
          <a:prstGeom prst="rect">
            <a:avLst/>
          </a:prstGeom>
          <a:noFill/>
        </p:spPr>
      </p:pic>
      <p:pic>
        <p:nvPicPr>
          <p:cNvPr id="52" name="Picture 51">
            <a:extLst>
              <a:ext uri="{FF2B5EF4-FFF2-40B4-BE49-F238E27FC236}">
                <a16:creationId xmlns:a16="http://schemas.microsoft.com/office/drawing/2014/main" id="{894A247C-E6B2-4F2E-9287-014E5EFC1224}"/>
              </a:ext>
            </a:extLst>
          </p:cNvPr>
          <p:cNvPicPr>
            <a:picLocks noChangeAspect="1"/>
          </p:cNvPicPr>
          <p:nvPr/>
        </p:nvPicPr>
        <p:blipFill rotWithShape="1">
          <a:blip r:embed="rId12" cstate="print">
            <a:clrChange>
              <a:clrFrom>
                <a:srgbClr val="FFFFFF"/>
              </a:clrFrom>
              <a:clrTo>
                <a:srgbClr val="FFFFFF">
                  <a:alpha val="0"/>
                </a:srgbClr>
              </a:clrTo>
            </a:clrChange>
            <a:extLst>
              <a:ext uri="{28A0092B-C50C-407E-A947-70E740481C1C}">
                <a14:useLocalDpi xmlns:a14="http://schemas.microsoft.com/office/drawing/2010/main" val="0"/>
              </a:ext>
            </a:extLst>
          </a:blip>
          <a:srcRect t="30227" b="26575"/>
          <a:stretch/>
        </p:blipFill>
        <p:spPr>
          <a:xfrm>
            <a:off x="7041819" y="828857"/>
            <a:ext cx="899184" cy="388429"/>
          </a:xfrm>
          <a:prstGeom prst="rect">
            <a:avLst/>
          </a:prstGeom>
        </p:spPr>
      </p:pic>
      <p:pic>
        <p:nvPicPr>
          <p:cNvPr id="39" name="Picture 38" descr="Logo&#10;&#10;Description automatically generated">
            <a:extLst>
              <a:ext uri="{FF2B5EF4-FFF2-40B4-BE49-F238E27FC236}">
                <a16:creationId xmlns:a16="http://schemas.microsoft.com/office/drawing/2014/main" id="{DE521637-3490-46E8-91D0-96D8AE0F9DBB}"/>
              </a:ext>
            </a:extLst>
          </p:cNvPr>
          <p:cNvPicPr>
            <a:picLocks noChangeAspect="1"/>
          </p:cNvPicPr>
          <p:nvPr/>
        </p:nvPicPr>
        <p:blipFill>
          <a:blip r:embed="rId1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915958" y="447656"/>
            <a:ext cx="757444" cy="246074"/>
          </a:xfrm>
          <a:prstGeom prst="rect">
            <a:avLst/>
          </a:prstGeom>
        </p:spPr>
      </p:pic>
      <p:pic>
        <p:nvPicPr>
          <p:cNvPr id="1026" name="Picture 2" descr="LONGi's bifacial PERC solar cells hit world record 'bifaciality' | Solar  Builder">
            <a:extLst>
              <a:ext uri="{FF2B5EF4-FFF2-40B4-BE49-F238E27FC236}">
                <a16:creationId xmlns:a16="http://schemas.microsoft.com/office/drawing/2014/main" id="{502D05A2-D6EC-443C-BA1D-C6497834DB82}"/>
              </a:ext>
            </a:extLst>
          </p:cNvPr>
          <p:cNvPicPr>
            <a:picLocks noChangeAspect="1" noChangeArrowheads="1"/>
          </p:cNvPicPr>
          <p:nvPr/>
        </p:nvPicPr>
        <p:blipFill rotWithShape="1">
          <a:blip r:embed="rId14" cstate="print">
            <a:clrChange>
              <a:clrFrom>
                <a:srgbClr val="FFFFFF"/>
              </a:clrFrom>
              <a:clrTo>
                <a:srgbClr val="FFFFFF">
                  <a:alpha val="0"/>
                </a:srgbClr>
              </a:clrTo>
            </a:clrChange>
            <a:extLst>
              <a:ext uri="{28A0092B-C50C-407E-A947-70E740481C1C}">
                <a14:useLocalDpi xmlns:a14="http://schemas.microsoft.com/office/drawing/2010/main" val="0"/>
              </a:ext>
            </a:extLst>
          </a:blip>
          <a:srcRect l="1511" t="27013" r="44561" b="34894"/>
          <a:stretch/>
        </p:blipFill>
        <p:spPr bwMode="auto">
          <a:xfrm>
            <a:off x="7722361" y="1354208"/>
            <a:ext cx="616507" cy="307476"/>
          </a:xfrm>
          <a:prstGeom prst="rect">
            <a:avLst/>
          </a:prstGeom>
          <a:noFill/>
          <a:extLst>
            <a:ext uri="{909E8E84-426E-40DD-AFC4-6F175D3DCCD1}">
              <a14:hiddenFill xmlns:a14="http://schemas.microsoft.com/office/drawing/2010/main">
                <a:solidFill>
                  <a:srgbClr val="FFFFFF"/>
                </a:solidFill>
              </a14:hiddenFill>
            </a:ext>
          </a:extLst>
        </p:spPr>
      </p:pic>
      <p:grpSp>
        <p:nvGrpSpPr>
          <p:cNvPr id="43" name="Group 42">
            <a:extLst>
              <a:ext uri="{FF2B5EF4-FFF2-40B4-BE49-F238E27FC236}">
                <a16:creationId xmlns:a16="http://schemas.microsoft.com/office/drawing/2014/main" id="{A27E6DE4-C4FC-5984-2AC7-1A0343119556}"/>
              </a:ext>
            </a:extLst>
          </p:cNvPr>
          <p:cNvGrpSpPr/>
          <p:nvPr/>
        </p:nvGrpSpPr>
        <p:grpSpPr>
          <a:xfrm>
            <a:off x="4717936" y="1984363"/>
            <a:ext cx="1295790" cy="1008775"/>
            <a:chOff x="4844238" y="1708790"/>
            <a:chExt cx="1295790" cy="1008775"/>
          </a:xfrm>
        </p:grpSpPr>
        <p:sp>
          <p:nvSpPr>
            <p:cNvPr id="90" name="Rectangle: Top Corners Rounded 89">
              <a:extLst>
                <a:ext uri="{FF2B5EF4-FFF2-40B4-BE49-F238E27FC236}">
                  <a16:creationId xmlns:a16="http://schemas.microsoft.com/office/drawing/2014/main" id="{DBA8F430-629F-490B-A656-F1B5361FF836}"/>
                </a:ext>
              </a:extLst>
            </p:cNvPr>
            <p:cNvSpPr>
              <a:spLocks/>
            </p:cNvSpPr>
            <p:nvPr/>
          </p:nvSpPr>
          <p:spPr>
            <a:xfrm rot="16200000">
              <a:off x="4987745" y="1565283"/>
              <a:ext cx="1008775" cy="1295790"/>
            </a:xfrm>
            <a:prstGeom prst="round2Same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en-US" sz="1400">
                <a:ln>
                  <a:noFill/>
                </a:ln>
                <a:solidFill>
                  <a:schemeClr val="bg1"/>
                </a:solidFill>
                <a:latin typeface="Century Gothic" panose="020B0502020202020204" pitchFamily="34" charset="0"/>
              </a:endParaRPr>
            </a:p>
          </p:txBody>
        </p:sp>
        <p:sp>
          <p:nvSpPr>
            <p:cNvPr id="108" name="Rectangle 107">
              <a:extLst>
                <a:ext uri="{FF2B5EF4-FFF2-40B4-BE49-F238E27FC236}">
                  <a16:creationId xmlns:a16="http://schemas.microsoft.com/office/drawing/2014/main" id="{F5BF6494-D9DA-4CBC-87FD-DF3B1F2B6CA6}"/>
                </a:ext>
              </a:extLst>
            </p:cNvPr>
            <p:cNvSpPr>
              <a:spLocks/>
            </p:cNvSpPr>
            <p:nvPr/>
          </p:nvSpPr>
          <p:spPr>
            <a:xfrm>
              <a:off x="4969883" y="2105456"/>
              <a:ext cx="1063915" cy="215444"/>
            </a:xfrm>
            <a:prstGeom prst="rect">
              <a:avLst/>
            </a:prstGeom>
            <a:noFill/>
            <a:ln w="9525"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bg1"/>
                  </a:solidFill>
                  <a:effectLst/>
                  <a:uLnTx/>
                  <a:uFillTx/>
                  <a:latin typeface="Century Gothic" panose="020B0502020202020204" pitchFamily="34" charset="0"/>
                  <a:ea typeface="ＭＳ Ｐゴシック"/>
                  <a:sym typeface="Arial"/>
                </a:rPr>
                <a:t>Industry</a:t>
              </a:r>
            </a:p>
          </p:txBody>
        </p:sp>
      </p:grpSp>
      <p:grpSp>
        <p:nvGrpSpPr>
          <p:cNvPr id="44" name="Group 43">
            <a:extLst>
              <a:ext uri="{FF2B5EF4-FFF2-40B4-BE49-F238E27FC236}">
                <a16:creationId xmlns:a16="http://schemas.microsoft.com/office/drawing/2014/main" id="{610F16D8-A0B2-630B-A9F0-8197E469D855}"/>
              </a:ext>
            </a:extLst>
          </p:cNvPr>
          <p:cNvGrpSpPr/>
          <p:nvPr/>
        </p:nvGrpSpPr>
        <p:grpSpPr>
          <a:xfrm>
            <a:off x="4717936" y="3589788"/>
            <a:ext cx="1295790" cy="1008775"/>
            <a:chOff x="4844238" y="2932156"/>
            <a:chExt cx="1295790" cy="1008775"/>
          </a:xfrm>
        </p:grpSpPr>
        <p:sp>
          <p:nvSpPr>
            <p:cNvPr id="91" name="Rectangle: Top Corners Rounded 90">
              <a:extLst>
                <a:ext uri="{FF2B5EF4-FFF2-40B4-BE49-F238E27FC236}">
                  <a16:creationId xmlns:a16="http://schemas.microsoft.com/office/drawing/2014/main" id="{626026EF-C082-4E92-A66E-E958990763BE}"/>
                </a:ext>
              </a:extLst>
            </p:cNvPr>
            <p:cNvSpPr>
              <a:spLocks/>
            </p:cNvSpPr>
            <p:nvPr/>
          </p:nvSpPr>
          <p:spPr>
            <a:xfrm rot="16200000">
              <a:off x="4987745" y="2788649"/>
              <a:ext cx="1008775" cy="1295790"/>
            </a:xfrm>
            <a:prstGeom prst="round2Same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en-US" sz="1400">
                <a:ln>
                  <a:noFill/>
                </a:ln>
                <a:solidFill>
                  <a:schemeClr val="bg1"/>
                </a:solidFill>
                <a:latin typeface="Century Gothic" panose="020B0502020202020204" pitchFamily="34" charset="0"/>
              </a:endParaRPr>
            </a:p>
          </p:txBody>
        </p:sp>
        <p:sp>
          <p:nvSpPr>
            <p:cNvPr id="109" name="Rectangle 108">
              <a:extLst>
                <a:ext uri="{FF2B5EF4-FFF2-40B4-BE49-F238E27FC236}">
                  <a16:creationId xmlns:a16="http://schemas.microsoft.com/office/drawing/2014/main" id="{86D23DA2-FC9B-4B89-8CF3-78C3B0D7CD5D}"/>
                </a:ext>
              </a:extLst>
            </p:cNvPr>
            <p:cNvSpPr>
              <a:spLocks/>
            </p:cNvSpPr>
            <p:nvPr/>
          </p:nvSpPr>
          <p:spPr>
            <a:xfrm>
              <a:off x="4969883" y="3328822"/>
              <a:ext cx="1063915" cy="215444"/>
            </a:xfrm>
            <a:prstGeom prst="rect">
              <a:avLst/>
            </a:prstGeom>
            <a:noFill/>
            <a:ln w="9525"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defRPr/>
              </a:pPr>
              <a:r>
                <a:rPr lang="en-GB" sz="1400" b="1">
                  <a:solidFill>
                    <a:schemeClr val="bg1"/>
                  </a:solidFill>
                  <a:latin typeface="Century Gothic" panose="020B0502020202020204" pitchFamily="34" charset="0"/>
                  <a:ea typeface="ＭＳ Ｐゴシック"/>
                </a:rPr>
                <a:t>Finance</a:t>
              </a:r>
              <a:endParaRPr lang="en-GB" sz="1400" b="1" i="0" u="none" strike="noStrike" kern="1200" cap="none" spc="0" normalizeH="0" baseline="0" noProof="0">
                <a:ln>
                  <a:noFill/>
                </a:ln>
                <a:solidFill>
                  <a:schemeClr val="bg1"/>
                </a:solidFill>
                <a:effectLst/>
                <a:uLnTx/>
                <a:uFillTx/>
                <a:latin typeface="Century Gothic" panose="020B0502020202020204" pitchFamily="34" charset="0"/>
                <a:ea typeface="ＭＳ Ｐゴシック"/>
              </a:endParaRPr>
            </a:p>
          </p:txBody>
        </p:sp>
      </p:grpSp>
      <p:grpSp>
        <p:nvGrpSpPr>
          <p:cNvPr id="45" name="Group 44">
            <a:extLst>
              <a:ext uri="{FF2B5EF4-FFF2-40B4-BE49-F238E27FC236}">
                <a16:creationId xmlns:a16="http://schemas.microsoft.com/office/drawing/2014/main" id="{F9D1D428-D2C9-AA48-DE3C-AD2195D454AE}"/>
              </a:ext>
            </a:extLst>
          </p:cNvPr>
          <p:cNvGrpSpPr/>
          <p:nvPr/>
        </p:nvGrpSpPr>
        <p:grpSpPr>
          <a:xfrm>
            <a:off x="4717936" y="5248252"/>
            <a:ext cx="1295790" cy="1008775"/>
            <a:chOff x="4844238" y="4605227"/>
            <a:chExt cx="1295790" cy="1008775"/>
          </a:xfrm>
        </p:grpSpPr>
        <p:sp>
          <p:nvSpPr>
            <p:cNvPr id="92" name="Rectangle: Top Corners Rounded 91">
              <a:extLst>
                <a:ext uri="{FF2B5EF4-FFF2-40B4-BE49-F238E27FC236}">
                  <a16:creationId xmlns:a16="http://schemas.microsoft.com/office/drawing/2014/main" id="{39A2339A-4FA2-4CD5-BC21-54D40FEF0EE9}"/>
                </a:ext>
              </a:extLst>
            </p:cNvPr>
            <p:cNvSpPr>
              <a:spLocks/>
            </p:cNvSpPr>
            <p:nvPr/>
          </p:nvSpPr>
          <p:spPr>
            <a:xfrm rot="16200000">
              <a:off x="4987745" y="4461720"/>
              <a:ext cx="1008775" cy="1295790"/>
            </a:xfrm>
            <a:prstGeom prst="round2Same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en-US" sz="1400">
                <a:ln>
                  <a:noFill/>
                </a:ln>
                <a:solidFill>
                  <a:schemeClr val="bg1"/>
                </a:solidFill>
                <a:latin typeface="Century Gothic" panose="020B0502020202020204" pitchFamily="34" charset="0"/>
              </a:endParaRPr>
            </a:p>
          </p:txBody>
        </p:sp>
        <p:sp>
          <p:nvSpPr>
            <p:cNvPr id="110" name="Rectangle 109">
              <a:extLst>
                <a:ext uri="{FF2B5EF4-FFF2-40B4-BE49-F238E27FC236}">
                  <a16:creationId xmlns:a16="http://schemas.microsoft.com/office/drawing/2014/main" id="{22E74AC5-7BD0-4A44-B34D-BFB407CEE7A7}"/>
                </a:ext>
              </a:extLst>
            </p:cNvPr>
            <p:cNvSpPr>
              <a:spLocks/>
            </p:cNvSpPr>
            <p:nvPr/>
          </p:nvSpPr>
          <p:spPr>
            <a:xfrm>
              <a:off x="4944899" y="5001893"/>
              <a:ext cx="1170144" cy="215444"/>
            </a:xfrm>
            <a:prstGeom prst="rect">
              <a:avLst/>
            </a:prstGeom>
            <a:noFill/>
            <a:ln w="9525"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defRPr/>
              </a:pPr>
              <a:r>
                <a:rPr lang="en-GB" sz="1400" b="1">
                  <a:solidFill>
                    <a:schemeClr val="bg1"/>
                  </a:solidFill>
                  <a:latin typeface="Century Gothic"/>
                  <a:ea typeface="ＭＳ Ｐゴシック"/>
                </a:rPr>
                <a:t>Civil society</a:t>
              </a:r>
              <a:endParaRPr lang="en-GB" sz="1400" b="1" i="0" u="none" strike="noStrike" kern="1200" cap="none" spc="0" normalizeH="0" baseline="0" noProof="0">
                <a:ln>
                  <a:noFill/>
                </a:ln>
                <a:solidFill>
                  <a:schemeClr val="bg1"/>
                </a:solidFill>
                <a:effectLst/>
                <a:uLnTx/>
                <a:uFillTx/>
                <a:latin typeface="Century Gothic"/>
                <a:ea typeface="ＭＳ Ｐゴシック"/>
              </a:endParaRPr>
            </a:p>
          </p:txBody>
        </p:sp>
      </p:grpSp>
      <p:sp>
        <p:nvSpPr>
          <p:cNvPr id="111" name="Rectangle 110">
            <a:extLst>
              <a:ext uri="{FF2B5EF4-FFF2-40B4-BE49-F238E27FC236}">
                <a16:creationId xmlns:a16="http://schemas.microsoft.com/office/drawing/2014/main" id="{FB9C57DB-4B9D-4AE0-B215-A86306506419}"/>
              </a:ext>
            </a:extLst>
          </p:cNvPr>
          <p:cNvSpPr>
            <a:spLocks/>
          </p:cNvSpPr>
          <p:nvPr/>
        </p:nvSpPr>
        <p:spPr>
          <a:xfrm>
            <a:off x="336057" y="5003736"/>
            <a:ext cx="2850242" cy="215444"/>
          </a:xfrm>
          <a:prstGeom prst="rect">
            <a:avLst/>
          </a:prstGeom>
          <a:noFill/>
          <a:ln w="9525"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defRPr/>
            </a:pPr>
            <a:r>
              <a:rPr lang="en-GB" sz="1400" b="1">
                <a:solidFill>
                  <a:schemeClr val="tx2"/>
                </a:solidFill>
                <a:latin typeface="Century Gothic" panose="020B0502020202020204" pitchFamily="34" charset="0"/>
                <a:ea typeface="ＭＳ Ｐゴシック"/>
              </a:rPr>
              <a:t>Knowledge partners</a:t>
            </a:r>
            <a:endParaRPr lang="en-GB" sz="1400" b="1" i="0" u="none" strike="noStrike" kern="1200" cap="none" spc="0" normalizeH="0" baseline="0" noProof="0">
              <a:ln>
                <a:noFill/>
              </a:ln>
              <a:solidFill>
                <a:schemeClr val="tx2"/>
              </a:solidFill>
              <a:effectLst/>
              <a:uLnTx/>
              <a:uFillTx/>
              <a:latin typeface="Century Gothic" panose="020B0502020202020204" pitchFamily="34" charset="0"/>
              <a:ea typeface="ＭＳ Ｐゴシック"/>
            </a:endParaRPr>
          </a:p>
        </p:txBody>
      </p:sp>
      <p:pic>
        <p:nvPicPr>
          <p:cNvPr id="55" name="Picture 54">
            <a:extLst>
              <a:ext uri="{FF2B5EF4-FFF2-40B4-BE49-F238E27FC236}">
                <a16:creationId xmlns:a16="http://schemas.microsoft.com/office/drawing/2014/main" id="{11854057-096B-45E6-92AD-6F9C4D1C164A}"/>
              </a:ext>
            </a:extLst>
          </p:cNvPr>
          <p:cNvPicPr>
            <a:picLocks noChangeAspect="1"/>
          </p:cNvPicPr>
          <p:nvPr/>
        </p:nvPicPr>
        <p:blipFill>
          <a:blip r:embed="rId15">
            <a:clrChange>
              <a:clrFrom>
                <a:srgbClr val="FFFFFF"/>
              </a:clrFrom>
              <a:clrTo>
                <a:srgbClr val="FFFFFF">
                  <a:alpha val="0"/>
                </a:srgbClr>
              </a:clrTo>
            </a:clrChange>
          </a:blip>
          <a:stretch>
            <a:fillRect/>
          </a:stretch>
        </p:blipFill>
        <p:spPr>
          <a:xfrm>
            <a:off x="1922213" y="5312121"/>
            <a:ext cx="1368000" cy="230653"/>
          </a:xfrm>
          <a:prstGeom prst="rect">
            <a:avLst/>
          </a:prstGeom>
        </p:spPr>
      </p:pic>
      <p:pic>
        <p:nvPicPr>
          <p:cNvPr id="79" name="Picture 78">
            <a:extLst>
              <a:ext uri="{FF2B5EF4-FFF2-40B4-BE49-F238E27FC236}">
                <a16:creationId xmlns:a16="http://schemas.microsoft.com/office/drawing/2014/main" id="{B1BB03F9-248D-41F9-80FE-9E9F582662B2}"/>
              </a:ext>
            </a:extLst>
          </p:cNvPr>
          <p:cNvPicPr>
            <a:picLocks noChangeAspect="1"/>
          </p:cNvPicPr>
          <p:nvPr>
            <p:custDataLst>
              <p:tags r:id="rId3"/>
            </p:custDataLst>
          </p:nvPr>
        </p:nvPicPr>
        <p:blipFill rotWithShape="1">
          <a:blip r:embed="rId16" cstate="print">
            <a:extLst>
              <a:ext uri="{28A0092B-C50C-407E-A947-70E740481C1C}">
                <a14:useLocalDpi xmlns:a14="http://schemas.microsoft.com/office/drawing/2010/main" val="0"/>
              </a:ext>
            </a:extLst>
          </a:blip>
          <a:srcRect/>
          <a:stretch/>
        </p:blipFill>
        <p:spPr>
          <a:xfrm>
            <a:off x="330412" y="5260673"/>
            <a:ext cx="1263654" cy="344270"/>
          </a:xfrm>
          <a:prstGeom prst="rect">
            <a:avLst/>
          </a:prstGeom>
        </p:spPr>
      </p:pic>
      <p:cxnSp>
        <p:nvCxnSpPr>
          <p:cNvPr id="119" name="Connector: Elbow 118">
            <a:extLst>
              <a:ext uri="{FF2B5EF4-FFF2-40B4-BE49-F238E27FC236}">
                <a16:creationId xmlns:a16="http://schemas.microsoft.com/office/drawing/2014/main" id="{C1BF1E70-E362-44B7-A8D2-2D98FA3AA75A}"/>
              </a:ext>
            </a:extLst>
          </p:cNvPr>
          <p:cNvCxnSpPr>
            <a:cxnSpLocks/>
            <a:stCxn id="67" idx="3"/>
            <a:endCxn id="4" idx="3"/>
          </p:cNvCxnSpPr>
          <p:nvPr/>
        </p:nvCxnSpPr>
        <p:spPr>
          <a:xfrm flipV="1">
            <a:off x="4143612" y="883326"/>
            <a:ext cx="549340" cy="2546651"/>
          </a:xfrm>
          <a:prstGeom prst="bentConnector3">
            <a:avLst>
              <a:gd name="adj1" fmla="val 50000"/>
            </a:avLst>
          </a:prstGeom>
          <a:ln w="6350">
            <a:solidFill>
              <a:schemeClr val="accent1"/>
            </a:solidFill>
            <a:prstDash val="solid"/>
            <a:headEnd type="none"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123" name="Connector: Elbow 122">
            <a:extLst>
              <a:ext uri="{FF2B5EF4-FFF2-40B4-BE49-F238E27FC236}">
                <a16:creationId xmlns:a16="http://schemas.microsoft.com/office/drawing/2014/main" id="{B4226AE8-EA47-4891-9BCA-89B2D23A145E}"/>
              </a:ext>
            </a:extLst>
          </p:cNvPr>
          <p:cNvCxnSpPr>
            <a:cxnSpLocks/>
            <a:stCxn id="67" idx="3"/>
            <a:endCxn id="90" idx="3"/>
          </p:cNvCxnSpPr>
          <p:nvPr/>
        </p:nvCxnSpPr>
        <p:spPr>
          <a:xfrm flipV="1">
            <a:off x="4143612" y="2488751"/>
            <a:ext cx="574324" cy="941226"/>
          </a:xfrm>
          <a:prstGeom prst="bentConnector3">
            <a:avLst>
              <a:gd name="adj1" fmla="val 50000"/>
            </a:avLst>
          </a:prstGeom>
          <a:ln w="6350">
            <a:solidFill>
              <a:schemeClr val="accent1"/>
            </a:solidFill>
            <a:prstDash val="solid"/>
            <a:headEnd type="none"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133" name="Connector: Elbow 132">
            <a:extLst>
              <a:ext uri="{FF2B5EF4-FFF2-40B4-BE49-F238E27FC236}">
                <a16:creationId xmlns:a16="http://schemas.microsoft.com/office/drawing/2014/main" id="{361E1B33-4833-4061-B46C-376D0940D523}"/>
              </a:ext>
            </a:extLst>
          </p:cNvPr>
          <p:cNvCxnSpPr>
            <a:cxnSpLocks/>
            <a:stCxn id="67" idx="3"/>
          </p:cNvCxnSpPr>
          <p:nvPr/>
        </p:nvCxnSpPr>
        <p:spPr>
          <a:xfrm>
            <a:off x="4143612" y="3429977"/>
            <a:ext cx="574324" cy="2322663"/>
          </a:xfrm>
          <a:prstGeom prst="bentConnector3">
            <a:avLst>
              <a:gd name="adj1" fmla="val 50000"/>
            </a:avLst>
          </a:prstGeom>
          <a:ln w="6350">
            <a:solidFill>
              <a:schemeClr val="accent1"/>
            </a:solidFill>
            <a:prstDash val="solid"/>
            <a:headEnd type="none" w="med" len="med"/>
            <a:tailEnd type="triangle" w="lg" len="lg"/>
          </a:ln>
        </p:spPr>
        <p:style>
          <a:lnRef idx="1">
            <a:schemeClr val="accent1"/>
          </a:lnRef>
          <a:fillRef idx="0">
            <a:schemeClr val="accent1"/>
          </a:fillRef>
          <a:effectRef idx="0">
            <a:schemeClr val="accent1"/>
          </a:effectRef>
          <a:fontRef idx="minor">
            <a:schemeClr val="tx1"/>
          </a:fontRef>
        </p:style>
      </p:cxnSp>
      <p:pic>
        <p:nvPicPr>
          <p:cNvPr id="58" name="Picture 58" descr="Logo, icon&#10;&#10;Description automatically generated">
            <a:extLst>
              <a:ext uri="{FF2B5EF4-FFF2-40B4-BE49-F238E27FC236}">
                <a16:creationId xmlns:a16="http://schemas.microsoft.com/office/drawing/2014/main" id="{6DE1BBD0-D214-C042-E469-EE7FE9C1DBF6}"/>
              </a:ext>
            </a:extLst>
          </p:cNvPr>
          <p:cNvPicPr>
            <a:picLocks noChangeAspect="1"/>
          </p:cNvPicPr>
          <p:nvPr/>
        </p:nvPicPr>
        <p:blipFill>
          <a:blip r:embed="rId17"/>
          <a:stretch>
            <a:fillRect/>
          </a:stretch>
        </p:blipFill>
        <p:spPr>
          <a:xfrm>
            <a:off x="8155012" y="657078"/>
            <a:ext cx="617868" cy="505903"/>
          </a:xfrm>
          <a:prstGeom prst="rect">
            <a:avLst/>
          </a:prstGeom>
        </p:spPr>
      </p:pic>
      <p:pic>
        <p:nvPicPr>
          <p:cNvPr id="12" name="Picture 11" descr="Logo, company name&#10;&#10;Description automatically generated">
            <a:extLst>
              <a:ext uri="{FF2B5EF4-FFF2-40B4-BE49-F238E27FC236}">
                <a16:creationId xmlns:a16="http://schemas.microsoft.com/office/drawing/2014/main" id="{1BEB8D84-8724-8228-175B-7C42BBC2CCC3}"/>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8650864" y="1282085"/>
            <a:ext cx="1295791" cy="415041"/>
          </a:xfrm>
          <a:prstGeom prst="rect">
            <a:avLst/>
          </a:prstGeom>
        </p:spPr>
      </p:pic>
      <p:pic>
        <p:nvPicPr>
          <p:cNvPr id="1028" name="Picture 4" descr="Image result for octopus energy LOGO">
            <a:extLst>
              <a:ext uri="{FF2B5EF4-FFF2-40B4-BE49-F238E27FC236}">
                <a16:creationId xmlns:a16="http://schemas.microsoft.com/office/drawing/2014/main" id="{16E66D24-8B09-4A3A-E85C-5E6DA4767B48}"/>
              </a:ext>
            </a:extLst>
          </p:cNvPr>
          <p:cNvPicPr>
            <a:picLocks noChangeAspect="1" noChangeArrowheads="1"/>
          </p:cNvPicPr>
          <p:nvPr/>
        </p:nvPicPr>
        <p:blipFill>
          <a:blip r:embed="rId19" cstate="print">
            <a:clrChange>
              <a:clrFrom>
                <a:srgbClr val="FFFFFF"/>
              </a:clrFrom>
              <a:clrTo>
                <a:srgbClr val="FFFFFF">
                  <a:alpha val="0"/>
                </a:srgbClr>
              </a:clrTo>
            </a:clrChange>
            <a:alphaModFix/>
            <a:extLst>
              <a:ext uri="{28A0092B-C50C-407E-A947-70E740481C1C}">
                <a14:useLocalDpi xmlns:a14="http://schemas.microsoft.com/office/drawing/2010/main" val="0"/>
              </a:ext>
            </a:extLst>
          </a:blip>
          <a:srcRect/>
          <a:stretch>
            <a:fillRect/>
          </a:stretch>
        </p:blipFill>
        <p:spPr bwMode="auto">
          <a:xfrm>
            <a:off x="10051379" y="722027"/>
            <a:ext cx="852141" cy="444595"/>
          </a:xfrm>
          <a:prstGeom prst="rect">
            <a:avLst/>
          </a:prstGeom>
          <a:noFill/>
          <a:ln>
            <a:noFill/>
          </a:ln>
        </p:spPr>
        <p:style>
          <a:lnRef idx="0">
            <a:scrgbClr r="0" g="0" b="0"/>
          </a:lnRef>
          <a:fillRef idx="0">
            <a:scrgbClr r="0" g="0" b="0"/>
          </a:fillRef>
          <a:effectRef idx="0">
            <a:scrgbClr r="0" g="0" b="0"/>
          </a:effectRef>
          <a:fontRef idx="minor">
            <a:schemeClr val="dk1"/>
          </a:fontRef>
        </p:style>
      </p:pic>
      <p:cxnSp>
        <p:nvCxnSpPr>
          <p:cNvPr id="23" name="Connector: Elbow 22">
            <a:extLst>
              <a:ext uri="{FF2B5EF4-FFF2-40B4-BE49-F238E27FC236}">
                <a16:creationId xmlns:a16="http://schemas.microsoft.com/office/drawing/2014/main" id="{36D9A035-623E-8ED8-A20F-6AF05D07FAF3}"/>
              </a:ext>
            </a:extLst>
          </p:cNvPr>
          <p:cNvCxnSpPr>
            <a:cxnSpLocks/>
            <a:stCxn id="67" idx="3"/>
            <a:endCxn id="91" idx="3"/>
          </p:cNvCxnSpPr>
          <p:nvPr/>
        </p:nvCxnSpPr>
        <p:spPr>
          <a:xfrm>
            <a:off x="4143612" y="3429977"/>
            <a:ext cx="574324" cy="664199"/>
          </a:xfrm>
          <a:prstGeom prst="bentConnector3">
            <a:avLst>
              <a:gd name="adj1" fmla="val 50000"/>
            </a:avLst>
          </a:prstGeom>
          <a:ln w="6350">
            <a:solidFill>
              <a:schemeClr val="accent1"/>
            </a:solidFill>
            <a:prstDash val="solid"/>
            <a:headEnd type="none" w="med" len="med"/>
            <a:tailEnd type="triangle" w="lg" len="lg"/>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E2EA4E0B-08F5-DCBA-02AF-E73BE9A58DAC}"/>
              </a:ext>
            </a:extLst>
          </p:cNvPr>
          <p:cNvSpPr/>
          <p:nvPr/>
        </p:nvSpPr>
        <p:spPr>
          <a:xfrm>
            <a:off x="254832" y="4945505"/>
            <a:ext cx="3874958" cy="976859"/>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US" sz="1400">
              <a:ln>
                <a:noFill/>
              </a:ln>
              <a:solidFill>
                <a:schemeClr val="bg1"/>
              </a:solidFill>
              <a:latin typeface="Century Gothic" panose="020B0502020202020204" pitchFamily="34" charset="0"/>
            </a:endParaRPr>
          </a:p>
        </p:txBody>
      </p:sp>
      <p:grpSp>
        <p:nvGrpSpPr>
          <p:cNvPr id="33" name="Group 32">
            <a:extLst>
              <a:ext uri="{FF2B5EF4-FFF2-40B4-BE49-F238E27FC236}">
                <a16:creationId xmlns:a16="http://schemas.microsoft.com/office/drawing/2014/main" id="{CBD2B602-4C40-BBBB-42D2-7BC3BE8DA2FD}"/>
              </a:ext>
            </a:extLst>
          </p:cNvPr>
          <p:cNvGrpSpPr>
            <a:grpSpLocks/>
          </p:cNvGrpSpPr>
          <p:nvPr/>
        </p:nvGrpSpPr>
        <p:grpSpPr>
          <a:xfrm>
            <a:off x="6289623" y="3335311"/>
            <a:ext cx="5788793" cy="72000"/>
            <a:chOff x="6154091" y="5581388"/>
            <a:chExt cx="5731478" cy="72000"/>
          </a:xfrm>
        </p:grpSpPr>
        <p:cxnSp>
          <p:nvCxnSpPr>
            <p:cNvPr id="31" name="Straight Connector 30">
              <a:extLst>
                <a:ext uri="{FF2B5EF4-FFF2-40B4-BE49-F238E27FC236}">
                  <a16:creationId xmlns:a16="http://schemas.microsoft.com/office/drawing/2014/main" id="{77637E9D-12C5-BB57-7EDF-46BFEBDFBE2F}"/>
                </a:ext>
              </a:extLst>
            </p:cNvPr>
            <p:cNvCxnSpPr>
              <a:cxnSpLocks/>
            </p:cNvCxnSpPr>
            <p:nvPr/>
          </p:nvCxnSpPr>
          <p:spPr>
            <a:xfrm>
              <a:off x="6154091" y="5617388"/>
              <a:ext cx="5523559" cy="0"/>
            </a:xfrm>
            <a:prstGeom prst="line">
              <a:avLst/>
            </a:prstGeom>
            <a:ln w="19050">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32" name="Rectangle: Rounded Corners 31">
              <a:extLst>
                <a:ext uri="{FF2B5EF4-FFF2-40B4-BE49-F238E27FC236}">
                  <a16:creationId xmlns:a16="http://schemas.microsoft.com/office/drawing/2014/main" id="{10CB2DC0-D787-84CA-4680-B712031A6518}"/>
                </a:ext>
              </a:extLst>
            </p:cNvPr>
            <p:cNvSpPr/>
            <p:nvPr/>
          </p:nvSpPr>
          <p:spPr>
            <a:xfrm>
              <a:off x="11273569" y="5581388"/>
              <a:ext cx="612000" cy="72000"/>
            </a:xfrm>
            <a:prstGeom prst="roundRect">
              <a:avLst>
                <a:gd name="adj" fmla="val 50000"/>
              </a:avLst>
            </a:prstGeom>
            <a:solidFill>
              <a:srgbClr val="004876"/>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a:ln>
                  <a:noFill/>
                </a:ln>
                <a:solidFill>
                  <a:schemeClr val="bg1"/>
                </a:solidFill>
                <a:latin typeface="Century Gothic" panose="020B0502020202020204" pitchFamily="34" charset="0"/>
              </a:endParaRPr>
            </a:p>
          </p:txBody>
        </p:sp>
      </p:grpSp>
      <p:pic>
        <p:nvPicPr>
          <p:cNvPr id="50" name="Picture 4" descr="Rio Tinto | Business News">
            <a:extLst>
              <a:ext uri="{FF2B5EF4-FFF2-40B4-BE49-F238E27FC236}">
                <a16:creationId xmlns:a16="http://schemas.microsoft.com/office/drawing/2014/main" id="{119655AF-6410-03E5-9E8B-35EA40B8D2F1}"/>
              </a:ext>
            </a:extLst>
          </p:cNvPr>
          <p:cNvPicPr>
            <a:picLocks noChangeAspect="1" noChangeArrowheads="1"/>
          </p:cNvPicPr>
          <p:nvPr/>
        </p:nvPicPr>
        <p:blipFill>
          <a:blip r:embed="rId20" cstate="print">
            <a:clrChange>
              <a:clrFrom>
                <a:srgbClr val="FCFCFC"/>
              </a:clrFrom>
              <a:clrTo>
                <a:srgbClr val="FCFCFC">
                  <a:alpha val="0"/>
                </a:srgbClr>
              </a:clrTo>
            </a:clrChange>
            <a:extLst>
              <a:ext uri="{28A0092B-C50C-407E-A947-70E740481C1C}">
                <a14:useLocalDpi xmlns:a14="http://schemas.microsoft.com/office/drawing/2010/main" val="0"/>
              </a:ext>
            </a:extLst>
          </a:blip>
          <a:srcRect/>
          <a:stretch>
            <a:fillRect/>
          </a:stretch>
        </p:blipFill>
        <p:spPr bwMode="auto">
          <a:xfrm>
            <a:off x="8550705" y="2850038"/>
            <a:ext cx="751586" cy="162258"/>
          </a:xfrm>
          <a:prstGeom prst="rect">
            <a:avLst/>
          </a:prstGeom>
          <a:noFill/>
        </p:spPr>
      </p:pic>
      <p:pic>
        <p:nvPicPr>
          <p:cNvPr id="56" name="Picture 21" descr="Image result for ssab logo">
            <a:extLst>
              <a:ext uri="{FF2B5EF4-FFF2-40B4-BE49-F238E27FC236}">
                <a16:creationId xmlns:a16="http://schemas.microsoft.com/office/drawing/2014/main" id="{E9953882-AA17-BA23-1FF8-36052D02FCAF}"/>
              </a:ext>
            </a:extLst>
          </p:cNvPr>
          <p:cNvPicPr>
            <a:picLocks noChangeAspect="1" noChangeArrowheads="1"/>
          </p:cNvPicPr>
          <p:nvPr/>
        </p:nvPicPr>
        <p:blipFill rotWithShape="1">
          <a:blip r:embed="rId21" cstate="print">
            <a:clrChange>
              <a:clrFrom>
                <a:srgbClr val="FCFEFC"/>
              </a:clrFrom>
              <a:clrTo>
                <a:srgbClr val="FCFEFC">
                  <a:alpha val="0"/>
                </a:srgbClr>
              </a:clrTo>
            </a:clrChange>
            <a:extLst>
              <a:ext uri="{28A0092B-C50C-407E-A947-70E740481C1C}">
                <a14:useLocalDpi xmlns:a14="http://schemas.microsoft.com/office/drawing/2010/main" val="0"/>
              </a:ext>
            </a:extLst>
          </a:blip>
          <a:srcRect l="-1444" t="31141" r="1444" b="31325"/>
          <a:stretch/>
        </p:blipFill>
        <p:spPr bwMode="auto">
          <a:xfrm>
            <a:off x="9748044" y="2335449"/>
            <a:ext cx="543763" cy="204096"/>
          </a:xfrm>
          <a:prstGeom prst="rect">
            <a:avLst/>
          </a:prstGeom>
          <a:noFill/>
          <a:extLst>
            <a:ext uri="{909E8E84-426E-40DD-AFC4-6F175D3DCCD1}">
              <a14:hiddenFill xmlns:a14="http://schemas.microsoft.com/office/drawing/2010/main">
                <a:solidFill>
                  <a:srgbClr val="FFFFFF"/>
                </a:solidFill>
              </a14:hiddenFill>
            </a:ext>
          </a:extLst>
        </p:spPr>
      </p:pic>
      <p:pic>
        <p:nvPicPr>
          <p:cNvPr id="60" name="Picture 5" descr="Image result for heathrow logo">
            <a:extLst>
              <a:ext uri="{FF2B5EF4-FFF2-40B4-BE49-F238E27FC236}">
                <a16:creationId xmlns:a16="http://schemas.microsoft.com/office/drawing/2014/main" id="{53073010-1415-2840-225B-7E596FD0FD67}"/>
              </a:ext>
            </a:extLst>
          </p:cNvPr>
          <p:cNvPicPr>
            <a:picLocks noChangeAspect="1" noChangeArrowheads="1"/>
          </p:cNvPicPr>
          <p:nvPr/>
        </p:nvPicPr>
        <p:blipFill>
          <a:blip r:embed="rId22" cstate="print">
            <a:clrChange>
              <a:clrFrom>
                <a:srgbClr val="FCFCFC"/>
              </a:clrFrom>
              <a:clrTo>
                <a:srgbClr val="FCFCFC">
                  <a:alpha val="0"/>
                </a:srgbClr>
              </a:clrTo>
            </a:clrChange>
            <a:extLst>
              <a:ext uri="{28A0092B-C50C-407E-A947-70E740481C1C}">
                <a14:useLocalDpi xmlns:a14="http://schemas.microsoft.com/office/drawing/2010/main" val="0"/>
              </a:ext>
            </a:extLst>
          </a:blip>
          <a:srcRect/>
          <a:stretch>
            <a:fillRect/>
          </a:stretch>
        </p:blipFill>
        <p:spPr bwMode="auto">
          <a:xfrm>
            <a:off x="7316032" y="2299326"/>
            <a:ext cx="1034255" cy="195213"/>
          </a:xfrm>
          <a:prstGeom prst="rect">
            <a:avLst/>
          </a:prstGeom>
          <a:noFill/>
          <a:extLst>
            <a:ext uri="{909E8E84-426E-40DD-AFC4-6F175D3DCCD1}">
              <a14:hiddenFill xmlns:a14="http://schemas.microsoft.com/office/drawing/2010/main">
                <a:solidFill>
                  <a:srgbClr val="FFFFFF"/>
                </a:solidFill>
              </a14:hiddenFill>
            </a:ext>
          </a:extLst>
        </p:spPr>
      </p:pic>
      <p:pic>
        <p:nvPicPr>
          <p:cNvPr id="62" name="Picture 61" descr="A picture containing drawing&#10;&#10;Description automatically generated">
            <a:extLst>
              <a:ext uri="{FF2B5EF4-FFF2-40B4-BE49-F238E27FC236}">
                <a16:creationId xmlns:a16="http://schemas.microsoft.com/office/drawing/2014/main" id="{5BC4A445-DBB7-B2F3-3994-466EC3EB49EE}"/>
              </a:ext>
            </a:extLst>
          </p:cNvPr>
          <p:cNvPicPr>
            <a:picLocks noChangeAspect="1"/>
          </p:cNvPicPr>
          <p:nvPr/>
        </p:nvPicPr>
        <p:blipFill rotWithShape="1">
          <a:blip r:embed="rId23" cstate="print">
            <a:clrChange>
              <a:clrFrom>
                <a:srgbClr val="FCFCFC"/>
              </a:clrFrom>
              <a:clrTo>
                <a:srgbClr val="FCFCFC">
                  <a:alpha val="0"/>
                </a:srgbClr>
              </a:clrTo>
            </a:clrChange>
            <a:extLst>
              <a:ext uri="{28A0092B-C50C-407E-A947-70E740481C1C}">
                <a14:useLocalDpi xmlns:a14="http://schemas.microsoft.com/office/drawing/2010/main" val="0"/>
              </a:ext>
            </a:extLst>
          </a:blip>
          <a:srcRect l="20617" r="23129"/>
          <a:stretch/>
        </p:blipFill>
        <p:spPr>
          <a:xfrm>
            <a:off x="11547148" y="2070861"/>
            <a:ext cx="422803" cy="421464"/>
          </a:xfrm>
          <a:prstGeom prst="rect">
            <a:avLst/>
          </a:prstGeom>
        </p:spPr>
      </p:pic>
      <p:pic>
        <p:nvPicPr>
          <p:cNvPr id="70" name="Picture 69" descr="Logo&#10;&#10;Description automatically generated">
            <a:extLst>
              <a:ext uri="{FF2B5EF4-FFF2-40B4-BE49-F238E27FC236}">
                <a16:creationId xmlns:a16="http://schemas.microsoft.com/office/drawing/2014/main" id="{7C3C8FCB-0BE3-F6C7-886C-4E3E3C4556CB}"/>
              </a:ext>
            </a:extLst>
          </p:cNvPr>
          <p:cNvPicPr>
            <a:picLocks noChangeAspect="1"/>
          </p:cNvPicPr>
          <p:nvPr/>
        </p:nvPicPr>
        <p:blipFill>
          <a:blip r:embed="rId24" cstate="print">
            <a:clrChange>
              <a:clrFrom>
                <a:srgbClr val="FCFCFC"/>
              </a:clrFrom>
              <a:clrTo>
                <a:srgbClr val="FCFCFC">
                  <a:alpha val="0"/>
                </a:srgbClr>
              </a:clrTo>
            </a:clrChange>
            <a:extLst>
              <a:ext uri="{28A0092B-C50C-407E-A947-70E740481C1C}">
                <a14:useLocalDpi xmlns:a14="http://schemas.microsoft.com/office/drawing/2010/main" val="0"/>
              </a:ext>
            </a:extLst>
          </a:blip>
          <a:stretch>
            <a:fillRect/>
          </a:stretch>
        </p:blipFill>
        <p:spPr>
          <a:xfrm>
            <a:off x="11308165" y="2804135"/>
            <a:ext cx="673588" cy="204097"/>
          </a:xfrm>
          <a:prstGeom prst="rect">
            <a:avLst/>
          </a:prstGeom>
        </p:spPr>
      </p:pic>
      <p:pic>
        <p:nvPicPr>
          <p:cNvPr id="86" name="Picture 85">
            <a:extLst>
              <a:ext uri="{FF2B5EF4-FFF2-40B4-BE49-F238E27FC236}">
                <a16:creationId xmlns:a16="http://schemas.microsoft.com/office/drawing/2014/main" id="{F363762B-FF05-4396-71EC-107F10236CA1}"/>
              </a:ext>
            </a:extLst>
          </p:cNvPr>
          <p:cNvPicPr>
            <a:picLocks noChangeAspect="1"/>
          </p:cNvPicPr>
          <p:nvPr/>
        </p:nvPicPr>
        <p:blipFill rotWithShape="1">
          <a:blip r:embed="rId25">
            <a:clrChange>
              <a:clrFrom>
                <a:srgbClr val="FFFFFF"/>
              </a:clrFrom>
              <a:clrTo>
                <a:srgbClr val="FFFFFF">
                  <a:alpha val="0"/>
                </a:srgbClr>
              </a:clrTo>
            </a:clrChange>
          </a:blip>
          <a:srcRect l="4568" t="15697" r="6781" b="21705"/>
          <a:stretch/>
        </p:blipFill>
        <p:spPr>
          <a:xfrm>
            <a:off x="7421812" y="2833839"/>
            <a:ext cx="858297" cy="209079"/>
          </a:xfrm>
          <a:prstGeom prst="rect">
            <a:avLst/>
          </a:prstGeom>
        </p:spPr>
      </p:pic>
      <p:pic>
        <p:nvPicPr>
          <p:cNvPr id="93" name="Picture 55">
            <a:extLst>
              <a:ext uri="{FF2B5EF4-FFF2-40B4-BE49-F238E27FC236}">
                <a16:creationId xmlns:a16="http://schemas.microsoft.com/office/drawing/2014/main" id="{FCB4CA71-CB50-E3DF-454D-B41D1CA8012F}"/>
              </a:ext>
            </a:extLst>
          </p:cNvPr>
          <p:cNvPicPr>
            <a:picLocks noChangeAspect="1"/>
          </p:cNvPicPr>
          <p:nvPr/>
        </p:nvPicPr>
        <p:blipFill>
          <a:blip r:embed="rId26"/>
          <a:stretch>
            <a:fillRect/>
          </a:stretch>
        </p:blipFill>
        <p:spPr>
          <a:xfrm>
            <a:off x="8589915" y="2372578"/>
            <a:ext cx="831018" cy="132257"/>
          </a:xfrm>
          <a:prstGeom prst="rect">
            <a:avLst/>
          </a:prstGeom>
        </p:spPr>
      </p:pic>
      <p:pic>
        <p:nvPicPr>
          <p:cNvPr id="99" name="Picture 59" descr="Logo&#10;&#10;Description automatically generated">
            <a:extLst>
              <a:ext uri="{FF2B5EF4-FFF2-40B4-BE49-F238E27FC236}">
                <a16:creationId xmlns:a16="http://schemas.microsoft.com/office/drawing/2014/main" id="{D2EE540C-431F-3EB7-6824-877EC2ED5BBE}"/>
              </a:ext>
            </a:extLst>
          </p:cNvPr>
          <p:cNvPicPr>
            <a:picLocks noChangeAspect="1"/>
          </p:cNvPicPr>
          <p:nvPr/>
        </p:nvPicPr>
        <p:blipFill>
          <a:blip r:embed="rId27"/>
          <a:stretch>
            <a:fillRect/>
          </a:stretch>
        </p:blipFill>
        <p:spPr>
          <a:xfrm>
            <a:off x="6192960" y="2778469"/>
            <a:ext cx="1017918" cy="255428"/>
          </a:xfrm>
          <a:prstGeom prst="rect">
            <a:avLst/>
          </a:prstGeom>
        </p:spPr>
      </p:pic>
      <p:pic>
        <p:nvPicPr>
          <p:cNvPr id="128" name="Picture 18" descr="http://www.ebrd.com/images/ebrd-sprite.png">
            <a:extLst>
              <a:ext uri="{FF2B5EF4-FFF2-40B4-BE49-F238E27FC236}">
                <a16:creationId xmlns:a16="http://schemas.microsoft.com/office/drawing/2014/main" id="{C25DAD2B-5EF5-7E2F-5E57-EE1D2079FB11}"/>
              </a:ext>
            </a:extLst>
          </p:cNvPr>
          <p:cNvPicPr>
            <a:picLocks noChangeAspect="1" noChangeArrowheads="1"/>
          </p:cNvPicPr>
          <p:nvPr/>
        </p:nvPicPr>
        <p:blipFill rotWithShape="1">
          <a:blip r:embed="rId28" cstate="print">
            <a:clrChange>
              <a:clrFrom>
                <a:srgbClr val="FFFFFF"/>
              </a:clrFrom>
              <a:clrTo>
                <a:srgbClr val="FFFFFF">
                  <a:alpha val="0"/>
                </a:srgbClr>
              </a:clrTo>
            </a:clrChange>
            <a:extLst>
              <a:ext uri="{28A0092B-C50C-407E-A947-70E740481C1C}">
                <a14:useLocalDpi xmlns:a14="http://schemas.microsoft.com/office/drawing/2010/main" val="0"/>
              </a:ext>
            </a:extLst>
          </a:blip>
          <a:srcRect r="36405" b="85177"/>
          <a:stretch/>
        </p:blipFill>
        <p:spPr bwMode="auto">
          <a:xfrm>
            <a:off x="6330415" y="4374661"/>
            <a:ext cx="1243442" cy="275978"/>
          </a:xfrm>
          <a:prstGeom prst="rect">
            <a:avLst/>
          </a:prstGeom>
          <a:noFill/>
        </p:spPr>
      </p:pic>
      <p:pic>
        <p:nvPicPr>
          <p:cNvPr id="135" name="Picture 134" descr="A picture containing drawing&#10;&#10;Description automatically generated">
            <a:extLst>
              <a:ext uri="{FF2B5EF4-FFF2-40B4-BE49-F238E27FC236}">
                <a16:creationId xmlns:a16="http://schemas.microsoft.com/office/drawing/2014/main" id="{67B9780C-B646-42E4-0F64-CA2E9557A387}"/>
              </a:ext>
            </a:extLst>
          </p:cNvPr>
          <p:cNvPicPr>
            <a:picLocks noChangeAspect="1"/>
          </p:cNvPicPr>
          <p:nvPr/>
        </p:nvPicPr>
        <p:blipFill>
          <a:blip r:embed="rId29"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431640" y="4365092"/>
            <a:ext cx="1300560" cy="242834"/>
          </a:xfrm>
          <a:prstGeom prst="rect">
            <a:avLst/>
          </a:prstGeom>
        </p:spPr>
      </p:pic>
      <p:pic>
        <p:nvPicPr>
          <p:cNvPr id="142" name="Picture 4">
            <a:extLst>
              <a:ext uri="{FF2B5EF4-FFF2-40B4-BE49-F238E27FC236}">
                <a16:creationId xmlns:a16="http://schemas.microsoft.com/office/drawing/2014/main" id="{CF7FC04A-1FC1-D3D1-A67F-DED3AA1FBD78}"/>
              </a:ext>
            </a:extLst>
          </p:cNvPr>
          <p:cNvPicPr>
            <a:picLocks noChangeAspect="1" noChangeArrowheads="1"/>
          </p:cNvPicPr>
          <p:nvPr/>
        </p:nvPicPr>
        <p:blipFill>
          <a:blip r:embed="rId30"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510287" y="3614306"/>
            <a:ext cx="616931" cy="446795"/>
          </a:xfrm>
          <a:prstGeom prst="rect">
            <a:avLst/>
          </a:prstGeom>
          <a:noFill/>
          <a:extLst>
            <a:ext uri="{909E8E84-426E-40DD-AFC4-6F175D3DCCD1}">
              <a14:hiddenFill xmlns:a14="http://schemas.microsoft.com/office/drawing/2010/main">
                <a:solidFill>
                  <a:srgbClr val="FFFFFF"/>
                </a:solidFill>
              </a14:hiddenFill>
            </a:ext>
          </a:extLst>
        </p:spPr>
      </p:pic>
      <p:pic>
        <p:nvPicPr>
          <p:cNvPr id="144" name="Picture 41">
            <a:extLst>
              <a:ext uri="{FF2B5EF4-FFF2-40B4-BE49-F238E27FC236}">
                <a16:creationId xmlns:a16="http://schemas.microsoft.com/office/drawing/2014/main" id="{36DF4D86-9E50-9D8C-968E-79DB3AFDC8C7}"/>
              </a:ext>
            </a:extLst>
          </p:cNvPr>
          <p:cNvPicPr>
            <a:picLocks noChangeAspect="1"/>
          </p:cNvPicPr>
          <p:nvPr/>
        </p:nvPicPr>
        <p:blipFill>
          <a:blip r:embed="rId31"/>
          <a:stretch>
            <a:fillRect/>
          </a:stretch>
        </p:blipFill>
        <p:spPr>
          <a:xfrm>
            <a:off x="7822027" y="4369516"/>
            <a:ext cx="1268032" cy="282246"/>
          </a:xfrm>
          <a:prstGeom prst="rect">
            <a:avLst/>
          </a:prstGeom>
        </p:spPr>
      </p:pic>
      <p:pic>
        <p:nvPicPr>
          <p:cNvPr id="148" name="Picture 12" descr="Shape, circle&#10;&#10;Description automatically generated">
            <a:extLst>
              <a:ext uri="{FF2B5EF4-FFF2-40B4-BE49-F238E27FC236}">
                <a16:creationId xmlns:a16="http://schemas.microsoft.com/office/drawing/2014/main" id="{934B1AAC-3D29-6BF7-128C-2E872A699086}"/>
              </a:ext>
            </a:extLst>
          </p:cNvPr>
          <p:cNvPicPr>
            <a:picLocks noChangeAspect="1"/>
          </p:cNvPicPr>
          <p:nvPr/>
        </p:nvPicPr>
        <p:blipFill>
          <a:blip r:embed="rId32"/>
          <a:stretch>
            <a:fillRect/>
          </a:stretch>
        </p:blipFill>
        <p:spPr>
          <a:xfrm>
            <a:off x="9298374" y="4199159"/>
            <a:ext cx="888522" cy="525944"/>
          </a:xfrm>
          <a:prstGeom prst="rect">
            <a:avLst/>
          </a:prstGeom>
        </p:spPr>
      </p:pic>
      <p:pic>
        <p:nvPicPr>
          <p:cNvPr id="152" name="Picture 151" descr="Logo&#10;&#10;Description automatically generated">
            <a:extLst>
              <a:ext uri="{FF2B5EF4-FFF2-40B4-BE49-F238E27FC236}">
                <a16:creationId xmlns:a16="http://schemas.microsoft.com/office/drawing/2014/main" id="{D71C1CF3-5D87-9CAF-E935-3066A7237CF4}"/>
              </a:ext>
            </a:extLst>
          </p:cNvPr>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a:off x="7553737" y="5509404"/>
            <a:ext cx="397250" cy="397250"/>
          </a:xfrm>
          <a:prstGeom prst="rect">
            <a:avLst/>
          </a:prstGeom>
        </p:spPr>
      </p:pic>
      <p:pic>
        <p:nvPicPr>
          <p:cNvPr id="154" name="Picture 153" descr="A picture containing graphical user interface&#10;&#10;Description automatically generated">
            <a:extLst>
              <a:ext uri="{FF2B5EF4-FFF2-40B4-BE49-F238E27FC236}">
                <a16:creationId xmlns:a16="http://schemas.microsoft.com/office/drawing/2014/main" id="{42A001D5-46C1-6E3C-9557-F0428902571F}"/>
              </a:ext>
            </a:extLst>
          </p:cNvPr>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6587641" y="4992062"/>
            <a:ext cx="1077073" cy="516995"/>
          </a:xfrm>
          <a:prstGeom prst="rect">
            <a:avLst/>
          </a:prstGeom>
        </p:spPr>
      </p:pic>
      <p:pic>
        <p:nvPicPr>
          <p:cNvPr id="156" name="Picture 155" descr="Logo&#10;&#10;Description automatically generated">
            <a:extLst>
              <a:ext uri="{FF2B5EF4-FFF2-40B4-BE49-F238E27FC236}">
                <a16:creationId xmlns:a16="http://schemas.microsoft.com/office/drawing/2014/main" id="{A9D62696-3AD4-0F96-2322-1F924AD83DA5}"/>
              </a:ext>
            </a:extLst>
          </p:cNvPr>
          <p:cNvPicPr>
            <a:picLocks noChangeAspect="1"/>
          </p:cNvPicPr>
          <p:nvPr/>
        </p:nvPicPr>
        <p:blipFill>
          <a:blip r:embed="rId35" cstate="print">
            <a:extLst>
              <a:ext uri="{28A0092B-C50C-407E-A947-70E740481C1C}">
                <a14:useLocalDpi xmlns:a14="http://schemas.microsoft.com/office/drawing/2010/main" val="0"/>
              </a:ext>
            </a:extLst>
          </a:blip>
          <a:stretch>
            <a:fillRect/>
          </a:stretch>
        </p:blipFill>
        <p:spPr>
          <a:xfrm>
            <a:off x="9108871" y="5092924"/>
            <a:ext cx="476675" cy="497809"/>
          </a:xfrm>
          <a:prstGeom prst="rect">
            <a:avLst/>
          </a:prstGeom>
        </p:spPr>
      </p:pic>
      <p:pic>
        <p:nvPicPr>
          <p:cNvPr id="158" name="Picture 157" descr="Logo&#10;&#10;Description automatically generated">
            <a:extLst>
              <a:ext uri="{FF2B5EF4-FFF2-40B4-BE49-F238E27FC236}">
                <a16:creationId xmlns:a16="http://schemas.microsoft.com/office/drawing/2014/main" id="{D927C893-40A2-81B4-68D2-25BCF4437445}"/>
              </a:ext>
            </a:extLst>
          </p:cNvPr>
          <p:cNvPicPr>
            <a:picLocks noChangeAspect="1"/>
          </p:cNvPicPr>
          <p:nvPr/>
        </p:nvPicPr>
        <p:blipFill rotWithShape="1">
          <a:blip r:embed="rId36" cstate="print">
            <a:extLst>
              <a:ext uri="{28A0092B-C50C-407E-A947-70E740481C1C}">
                <a14:useLocalDpi xmlns:a14="http://schemas.microsoft.com/office/drawing/2010/main" val="0"/>
              </a:ext>
            </a:extLst>
          </a:blip>
          <a:srcRect l="26715" t="5849" r="28316" b="40339"/>
          <a:stretch/>
        </p:blipFill>
        <p:spPr>
          <a:xfrm>
            <a:off x="6193176" y="5586584"/>
            <a:ext cx="827868" cy="396262"/>
          </a:xfrm>
          <a:prstGeom prst="rect">
            <a:avLst/>
          </a:prstGeom>
        </p:spPr>
      </p:pic>
      <p:pic>
        <p:nvPicPr>
          <p:cNvPr id="160" name="Picture 159">
            <a:extLst>
              <a:ext uri="{FF2B5EF4-FFF2-40B4-BE49-F238E27FC236}">
                <a16:creationId xmlns:a16="http://schemas.microsoft.com/office/drawing/2014/main" id="{F2C6964E-2BE4-57E1-C7CE-7064EBA83E24}"/>
              </a:ext>
            </a:extLst>
          </p:cNvPr>
          <p:cNvPicPr>
            <a:picLocks noChangeAspect="1"/>
          </p:cNvPicPr>
          <p:nvPr/>
        </p:nvPicPr>
        <p:blipFill rotWithShape="1">
          <a:blip r:embed="rId37" cstate="print">
            <a:extLst>
              <a:ext uri="{28A0092B-C50C-407E-A947-70E740481C1C}">
                <a14:useLocalDpi xmlns:a14="http://schemas.microsoft.com/office/drawing/2010/main" val="0"/>
              </a:ext>
            </a:extLst>
          </a:blip>
          <a:srcRect l="34453" r="33664" b="39491"/>
          <a:stretch/>
        </p:blipFill>
        <p:spPr>
          <a:xfrm>
            <a:off x="7989982" y="5034687"/>
            <a:ext cx="741364" cy="441162"/>
          </a:xfrm>
          <a:prstGeom prst="rect">
            <a:avLst/>
          </a:prstGeom>
        </p:spPr>
      </p:pic>
      <p:pic>
        <p:nvPicPr>
          <p:cNvPr id="162" name="Picture 161" descr="Logo, company name&#10;&#10;Description automatically generated">
            <a:extLst>
              <a:ext uri="{FF2B5EF4-FFF2-40B4-BE49-F238E27FC236}">
                <a16:creationId xmlns:a16="http://schemas.microsoft.com/office/drawing/2014/main" id="{FEA906BC-71A6-1010-18AC-7B8112101DE7}"/>
              </a:ext>
            </a:extLst>
          </p:cNvPr>
          <p:cNvPicPr>
            <a:picLocks noChangeAspect="1"/>
          </p:cNvPicPr>
          <p:nvPr/>
        </p:nvPicPr>
        <p:blipFill>
          <a:blip r:embed="rId38" cstate="print">
            <a:extLst>
              <a:ext uri="{28A0092B-C50C-407E-A947-70E740481C1C}">
                <a14:useLocalDpi xmlns:a14="http://schemas.microsoft.com/office/drawing/2010/main" val="0"/>
              </a:ext>
            </a:extLst>
          </a:blip>
          <a:stretch>
            <a:fillRect/>
          </a:stretch>
        </p:blipFill>
        <p:spPr>
          <a:xfrm>
            <a:off x="9648476" y="5486913"/>
            <a:ext cx="523341" cy="523341"/>
          </a:xfrm>
          <a:prstGeom prst="rect">
            <a:avLst/>
          </a:prstGeom>
        </p:spPr>
      </p:pic>
      <p:pic>
        <p:nvPicPr>
          <p:cNvPr id="164" name="Picture 163" descr="Text&#10;&#10;Description automatically generated">
            <a:extLst>
              <a:ext uri="{FF2B5EF4-FFF2-40B4-BE49-F238E27FC236}">
                <a16:creationId xmlns:a16="http://schemas.microsoft.com/office/drawing/2014/main" id="{4BD44087-24B3-A7C7-A11A-D11A8BB88CCB}"/>
              </a:ext>
            </a:extLst>
          </p:cNvPr>
          <p:cNvPicPr>
            <a:picLocks noChangeAspect="1"/>
          </p:cNvPicPr>
          <p:nvPr/>
        </p:nvPicPr>
        <p:blipFill rotWithShape="1">
          <a:blip r:embed="rId39" cstate="print">
            <a:extLst>
              <a:ext uri="{28A0092B-C50C-407E-A947-70E740481C1C}">
                <a14:useLocalDpi xmlns:a14="http://schemas.microsoft.com/office/drawing/2010/main" val="0"/>
              </a:ext>
            </a:extLst>
          </a:blip>
          <a:srcRect l="25685" r="24020" b="27941"/>
          <a:stretch/>
        </p:blipFill>
        <p:spPr>
          <a:xfrm>
            <a:off x="9382552" y="6090833"/>
            <a:ext cx="1275229" cy="328221"/>
          </a:xfrm>
          <a:prstGeom prst="rect">
            <a:avLst/>
          </a:prstGeom>
        </p:spPr>
      </p:pic>
      <p:pic>
        <p:nvPicPr>
          <p:cNvPr id="166" name="Picture 165" descr="A picture containing text&#10;&#10;Description automatically generated">
            <a:extLst>
              <a:ext uri="{FF2B5EF4-FFF2-40B4-BE49-F238E27FC236}">
                <a16:creationId xmlns:a16="http://schemas.microsoft.com/office/drawing/2014/main" id="{85003CA2-4F67-4DBF-7761-18C474393EF6}"/>
              </a:ext>
            </a:extLst>
          </p:cNvPr>
          <p:cNvPicPr>
            <a:picLocks noChangeAspect="1"/>
          </p:cNvPicPr>
          <p:nvPr/>
        </p:nvPicPr>
        <p:blipFill rotWithShape="1">
          <a:blip r:embed="rId40" cstate="print">
            <a:extLst>
              <a:ext uri="{28A0092B-C50C-407E-A947-70E740481C1C}">
                <a14:useLocalDpi xmlns:a14="http://schemas.microsoft.com/office/drawing/2010/main" val="0"/>
              </a:ext>
            </a:extLst>
          </a:blip>
          <a:srcRect b="14044"/>
          <a:stretch/>
        </p:blipFill>
        <p:spPr>
          <a:xfrm>
            <a:off x="10120054" y="5110898"/>
            <a:ext cx="1225940" cy="417036"/>
          </a:xfrm>
          <a:prstGeom prst="rect">
            <a:avLst/>
          </a:prstGeom>
        </p:spPr>
      </p:pic>
      <p:pic>
        <p:nvPicPr>
          <p:cNvPr id="168" name="Picture 167" descr="A picture containing text&#10;&#10;Description automatically generated">
            <a:extLst>
              <a:ext uri="{FF2B5EF4-FFF2-40B4-BE49-F238E27FC236}">
                <a16:creationId xmlns:a16="http://schemas.microsoft.com/office/drawing/2014/main" id="{580AD0D4-F3E8-47F4-772B-634FACCAE5FB}"/>
              </a:ext>
            </a:extLst>
          </p:cNvPr>
          <p:cNvPicPr>
            <a:picLocks noChangeAspect="1"/>
          </p:cNvPicPr>
          <p:nvPr/>
        </p:nvPicPr>
        <p:blipFill rotWithShape="1">
          <a:blip r:embed="rId41" cstate="print">
            <a:extLst>
              <a:ext uri="{28A0092B-C50C-407E-A947-70E740481C1C}">
                <a14:useLocalDpi xmlns:a14="http://schemas.microsoft.com/office/drawing/2010/main" val="0"/>
              </a:ext>
            </a:extLst>
          </a:blip>
          <a:srcRect l="5553" t="22334" r="32763" b="27087"/>
          <a:stretch/>
        </p:blipFill>
        <p:spPr>
          <a:xfrm>
            <a:off x="10866063" y="5917617"/>
            <a:ext cx="1111776" cy="468569"/>
          </a:xfrm>
          <a:prstGeom prst="rect">
            <a:avLst/>
          </a:prstGeom>
        </p:spPr>
      </p:pic>
      <p:pic>
        <p:nvPicPr>
          <p:cNvPr id="170" name="Picture 169" descr="A picture containing chart&#10;&#10;Description automatically generated">
            <a:extLst>
              <a:ext uri="{FF2B5EF4-FFF2-40B4-BE49-F238E27FC236}">
                <a16:creationId xmlns:a16="http://schemas.microsoft.com/office/drawing/2014/main" id="{871C0AED-4CA7-5F96-195D-0F382863F77B}"/>
              </a:ext>
            </a:extLst>
          </p:cNvPr>
          <p:cNvPicPr>
            <a:picLocks noChangeAspect="1"/>
          </p:cNvPicPr>
          <p:nvPr/>
        </p:nvPicPr>
        <p:blipFill>
          <a:blip r:embed="rId42" cstate="print">
            <a:extLst>
              <a:ext uri="{BEBA8EAE-BF5A-486C-A8C5-ECC9F3942E4B}">
                <a14:imgProps xmlns:a14="http://schemas.microsoft.com/office/drawing/2010/main">
                  <a14:imgLayer r:embed="rId43">
                    <a14:imgEffect>
                      <a14:artisticCement/>
                    </a14:imgEffect>
                  </a14:imgLayer>
                </a14:imgProps>
              </a:ext>
              <a:ext uri="{28A0092B-C50C-407E-A947-70E740481C1C}">
                <a14:useLocalDpi xmlns:a14="http://schemas.microsoft.com/office/drawing/2010/main" val="0"/>
              </a:ext>
            </a:extLst>
          </a:blip>
          <a:stretch>
            <a:fillRect/>
          </a:stretch>
        </p:blipFill>
        <p:spPr>
          <a:xfrm>
            <a:off x="11459458" y="5092323"/>
            <a:ext cx="510250" cy="510250"/>
          </a:xfrm>
          <a:prstGeom prst="rect">
            <a:avLst/>
          </a:prstGeom>
        </p:spPr>
      </p:pic>
      <p:pic>
        <p:nvPicPr>
          <p:cNvPr id="2" name="Picture 4" descr="Logo&#10;&#10;Description automatically generated">
            <a:extLst>
              <a:ext uri="{FF2B5EF4-FFF2-40B4-BE49-F238E27FC236}">
                <a16:creationId xmlns:a16="http://schemas.microsoft.com/office/drawing/2014/main" id="{6ADA8C4E-D8F3-27A6-7FAC-A171A908644D}"/>
              </a:ext>
            </a:extLst>
          </p:cNvPr>
          <p:cNvPicPr>
            <a:picLocks noChangeAspect="1"/>
          </p:cNvPicPr>
          <p:nvPr/>
        </p:nvPicPr>
        <p:blipFill>
          <a:blip r:embed="rId44"/>
          <a:stretch>
            <a:fillRect/>
          </a:stretch>
        </p:blipFill>
        <p:spPr>
          <a:xfrm>
            <a:off x="10402114" y="452273"/>
            <a:ext cx="943445" cy="182887"/>
          </a:xfrm>
          <a:prstGeom prst="rect">
            <a:avLst/>
          </a:prstGeom>
        </p:spPr>
      </p:pic>
      <p:pic>
        <p:nvPicPr>
          <p:cNvPr id="5" name="Picture 8" descr="A picture containing text, aircraft, balloon, vector graphics&#10;&#10;Description automatically generated">
            <a:extLst>
              <a:ext uri="{FF2B5EF4-FFF2-40B4-BE49-F238E27FC236}">
                <a16:creationId xmlns:a16="http://schemas.microsoft.com/office/drawing/2014/main" id="{7A07EAB3-1016-06E1-295C-B7EDBF8B9C24}"/>
              </a:ext>
            </a:extLst>
          </p:cNvPr>
          <p:cNvPicPr>
            <a:picLocks noChangeAspect="1"/>
          </p:cNvPicPr>
          <p:nvPr/>
        </p:nvPicPr>
        <p:blipFill>
          <a:blip r:embed="rId45"/>
          <a:stretch>
            <a:fillRect/>
          </a:stretch>
        </p:blipFill>
        <p:spPr>
          <a:xfrm>
            <a:off x="6191475" y="715563"/>
            <a:ext cx="424426" cy="566936"/>
          </a:xfrm>
          <a:prstGeom prst="rect">
            <a:avLst/>
          </a:prstGeom>
        </p:spPr>
      </p:pic>
      <p:pic>
        <p:nvPicPr>
          <p:cNvPr id="11" name="Picture 12" descr="Logo&#10;&#10;Description automatically generated">
            <a:extLst>
              <a:ext uri="{FF2B5EF4-FFF2-40B4-BE49-F238E27FC236}">
                <a16:creationId xmlns:a16="http://schemas.microsoft.com/office/drawing/2014/main" id="{83544CEA-C041-294A-A656-A579C0346FFF}"/>
              </a:ext>
            </a:extLst>
          </p:cNvPr>
          <p:cNvPicPr>
            <a:picLocks noChangeAspect="1"/>
          </p:cNvPicPr>
          <p:nvPr/>
        </p:nvPicPr>
        <p:blipFill>
          <a:blip r:embed="rId46"/>
          <a:stretch>
            <a:fillRect/>
          </a:stretch>
        </p:blipFill>
        <p:spPr>
          <a:xfrm>
            <a:off x="6182448" y="2060553"/>
            <a:ext cx="1038941" cy="421254"/>
          </a:xfrm>
          <a:prstGeom prst="rect">
            <a:avLst/>
          </a:prstGeom>
        </p:spPr>
      </p:pic>
      <p:pic>
        <p:nvPicPr>
          <p:cNvPr id="13" name="Picture 13" descr="A picture containing text, tableware, dishware, plate&#10;&#10;Description automatically generated">
            <a:extLst>
              <a:ext uri="{FF2B5EF4-FFF2-40B4-BE49-F238E27FC236}">
                <a16:creationId xmlns:a16="http://schemas.microsoft.com/office/drawing/2014/main" id="{92EED97A-1C47-1043-4D15-A9608D42C79A}"/>
              </a:ext>
            </a:extLst>
          </p:cNvPr>
          <p:cNvPicPr>
            <a:picLocks noChangeAspect="1"/>
          </p:cNvPicPr>
          <p:nvPr/>
        </p:nvPicPr>
        <p:blipFill>
          <a:blip r:embed="rId47"/>
          <a:stretch>
            <a:fillRect/>
          </a:stretch>
        </p:blipFill>
        <p:spPr>
          <a:xfrm>
            <a:off x="9542206" y="2645516"/>
            <a:ext cx="1022555" cy="362514"/>
          </a:xfrm>
          <a:prstGeom prst="rect">
            <a:avLst/>
          </a:prstGeom>
        </p:spPr>
      </p:pic>
      <p:pic>
        <p:nvPicPr>
          <p:cNvPr id="14" name="Picture 16" descr="Logo&#10;&#10;Description automatically generated">
            <a:extLst>
              <a:ext uri="{FF2B5EF4-FFF2-40B4-BE49-F238E27FC236}">
                <a16:creationId xmlns:a16="http://schemas.microsoft.com/office/drawing/2014/main" id="{25367D50-B961-98E5-6A93-C15A63787AD8}"/>
              </a:ext>
            </a:extLst>
          </p:cNvPr>
          <p:cNvPicPr>
            <a:picLocks noChangeAspect="1"/>
          </p:cNvPicPr>
          <p:nvPr/>
        </p:nvPicPr>
        <p:blipFill>
          <a:blip r:embed="rId48"/>
          <a:stretch>
            <a:fillRect/>
          </a:stretch>
        </p:blipFill>
        <p:spPr>
          <a:xfrm>
            <a:off x="10443498" y="2526377"/>
            <a:ext cx="1014362" cy="551632"/>
          </a:xfrm>
          <a:prstGeom prst="rect">
            <a:avLst/>
          </a:prstGeom>
        </p:spPr>
      </p:pic>
      <p:pic>
        <p:nvPicPr>
          <p:cNvPr id="17" name="Picture 21" descr="Logo&#10;&#10;Description automatically generated">
            <a:extLst>
              <a:ext uri="{FF2B5EF4-FFF2-40B4-BE49-F238E27FC236}">
                <a16:creationId xmlns:a16="http://schemas.microsoft.com/office/drawing/2014/main" id="{2FF35001-2C56-C002-32A0-874C6644E825}"/>
              </a:ext>
            </a:extLst>
          </p:cNvPr>
          <p:cNvPicPr>
            <a:picLocks noChangeAspect="1"/>
          </p:cNvPicPr>
          <p:nvPr/>
        </p:nvPicPr>
        <p:blipFill>
          <a:blip r:embed="rId49"/>
          <a:stretch>
            <a:fillRect/>
          </a:stretch>
        </p:blipFill>
        <p:spPr>
          <a:xfrm>
            <a:off x="10443497" y="2138356"/>
            <a:ext cx="1014361" cy="352641"/>
          </a:xfrm>
          <a:prstGeom prst="rect">
            <a:avLst/>
          </a:prstGeom>
        </p:spPr>
      </p:pic>
      <p:pic>
        <p:nvPicPr>
          <p:cNvPr id="22" name="Picture 24" descr="Logo, company name&#10;&#10;Description automatically generated">
            <a:extLst>
              <a:ext uri="{FF2B5EF4-FFF2-40B4-BE49-F238E27FC236}">
                <a16:creationId xmlns:a16="http://schemas.microsoft.com/office/drawing/2014/main" id="{F25C9393-101B-2993-D455-B00F4A3C5681}"/>
              </a:ext>
            </a:extLst>
          </p:cNvPr>
          <p:cNvPicPr>
            <a:picLocks noChangeAspect="1"/>
          </p:cNvPicPr>
          <p:nvPr/>
        </p:nvPicPr>
        <p:blipFill>
          <a:blip r:embed="rId50"/>
          <a:stretch>
            <a:fillRect/>
          </a:stretch>
        </p:blipFill>
        <p:spPr>
          <a:xfrm>
            <a:off x="10078654" y="1070681"/>
            <a:ext cx="1366683" cy="870156"/>
          </a:xfrm>
          <a:prstGeom prst="rect">
            <a:avLst/>
          </a:prstGeom>
        </p:spPr>
      </p:pic>
      <p:pic>
        <p:nvPicPr>
          <p:cNvPr id="9" name="Picture 9">
            <a:extLst>
              <a:ext uri="{FF2B5EF4-FFF2-40B4-BE49-F238E27FC236}">
                <a16:creationId xmlns:a16="http://schemas.microsoft.com/office/drawing/2014/main" id="{3D2BF91D-FECA-74F2-6670-2B18CB1CBBB8}"/>
              </a:ext>
            </a:extLst>
          </p:cNvPr>
          <p:cNvPicPr>
            <a:picLocks noChangeAspect="1"/>
          </p:cNvPicPr>
          <p:nvPr/>
        </p:nvPicPr>
        <p:blipFill>
          <a:blip r:embed="rId51"/>
          <a:stretch>
            <a:fillRect/>
          </a:stretch>
        </p:blipFill>
        <p:spPr>
          <a:xfrm>
            <a:off x="6516022" y="6056796"/>
            <a:ext cx="671513" cy="284673"/>
          </a:xfrm>
          <a:prstGeom prst="rect">
            <a:avLst/>
          </a:prstGeom>
        </p:spPr>
      </p:pic>
      <p:sp>
        <p:nvSpPr>
          <p:cNvPr id="10" name="AutoShape 4" descr="logo">
            <a:extLst>
              <a:ext uri="{FF2B5EF4-FFF2-40B4-BE49-F238E27FC236}">
                <a16:creationId xmlns:a16="http://schemas.microsoft.com/office/drawing/2014/main" id="{584492A5-EC04-817E-FAF2-08E0360FCF48}"/>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pic>
        <p:nvPicPr>
          <p:cNvPr id="19" name="Picture 18" descr="A blue and orange logo&#10;&#10;Description automatically generated">
            <a:extLst>
              <a:ext uri="{FF2B5EF4-FFF2-40B4-BE49-F238E27FC236}">
                <a16:creationId xmlns:a16="http://schemas.microsoft.com/office/drawing/2014/main" id="{F7F528A7-4437-D435-A552-CF355BFA28A4}"/>
              </a:ext>
            </a:extLst>
          </p:cNvPr>
          <p:cNvPicPr>
            <a:picLocks noChangeAspect="1"/>
          </p:cNvPicPr>
          <p:nvPr/>
        </p:nvPicPr>
        <p:blipFill>
          <a:blip r:embed="rId52">
            <a:extLst>
              <a:ext uri="{28A0092B-C50C-407E-A947-70E740481C1C}">
                <a14:useLocalDpi xmlns:a14="http://schemas.microsoft.com/office/drawing/2010/main" val="0"/>
              </a:ext>
            </a:extLst>
          </a:blip>
          <a:stretch>
            <a:fillRect/>
          </a:stretch>
        </p:blipFill>
        <p:spPr>
          <a:xfrm>
            <a:off x="11086117" y="779463"/>
            <a:ext cx="981681" cy="371553"/>
          </a:xfrm>
          <a:prstGeom prst="rect">
            <a:avLst/>
          </a:prstGeom>
        </p:spPr>
      </p:pic>
      <p:pic>
        <p:nvPicPr>
          <p:cNvPr id="25" name="Picture 24" descr="A red and black diamond shaped logo&#10;&#10;Description automatically generated">
            <a:extLst>
              <a:ext uri="{FF2B5EF4-FFF2-40B4-BE49-F238E27FC236}">
                <a16:creationId xmlns:a16="http://schemas.microsoft.com/office/drawing/2014/main" id="{E60B9E6B-ABFE-3CFC-2CA3-503C02B29A41}"/>
              </a:ext>
            </a:extLst>
          </p:cNvPr>
          <p:cNvPicPr>
            <a:picLocks noChangeAspect="1"/>
          </p:cNvPicPr>
          <p:nvPr/>
        </p:nvPicPr>
        <p:blipFill>
          <a:blip r:embed="rId53">
            <a:extLst>
              <a:ext uri="{28A0092B-C50C-407E-A947-70E740481C1C}">
                <a14:useLocalDpi xmlns:a14="http://schemas.microsoft.com/office/drawing/2010/main" val="0"/>
              </a:ext>
            </a:extLst>
          </a:blip>
          <a:stretch>
            <a:fillRect/>
          </a:stretch>
        </p:blipFill>
        <p:spPr>
          <a:xfrm>
            <a:off x="6309687" y="3629791"/>
            <a:ext cx="939724" cy="528595"/>
          </a:xfrm>
          <a:prstGeom prst="rect">
            <a:avLst/>
          </a:prstGeom>
        </p:spPr>
      </p:pic>
      <p:pic>
        <p:nvPicPr>
          <p:cNvPr id="24" name="Picture 23" descr="A red text on a black background&#10;&#10;Description automatically generated">
            <a:extLst>
              <a:ext uri="{FF2B5EF4-FFF2-40B4-BE49-F238E27FC236}">
                <a16:creationId xmlns:a16="http://schemas.microsoft.com/office/drawing/2014/main" id="{A618D459-7599-6562-6D1D-AD5E2D75539A}"/>
              </a:ext>
            </a:extLst>
          </p:cNvPr>
          <p:cNvPicPr>
            <a:picLocks noChangeAspect="1"/>
          </p:cNvPicPr>
          <p:nvPr/>
        </p:nvPicPr>
        <p:blipFill>
          <a:blip r:embed="rId54">
            <a:extLst>
              <a:ext uri="{28A0092B-C50C-407E-A947-70E740481C1C}">
                <a14:useLocalDpi xmlns:a14="http://schemas.microsoft.com/office/drawing/2010/main" val="0"/>
              </a:ext>
            </a:extLst>
          </a:blip>
          <a:stretch>
            <a:fillRect/>
          </a:stretch>
        </p:blipFill>
        <p:spPr>
          <a:xfrm>
            <a:off x="8242940" y="1899036"/>
            <a:ext cx="681327" cy="320824"/>
          </a:xfrm>
          <a:prstGeom prst="rect">
            <a:avLst/>
          </a:prstGeom>
        </p:spPr>
      </p:pic>
      <p:pic>
        <p:nvPicPr>
          <p:cNvPr id="28" name="Picture 27" descr="A logo on a black background&#10;&#10;Description automatically generated">
            <a:extLst>
              <a:ext uri="{FF2B5EF4-FFF2-40B4-BE49-F238E27FC236}">
                <a16:creationId xmlns:a16="http://schemas.microsoft.com/office/drawing/2014/main" id="{66DA1CF6-FA1F-DCDA-3F47-3424DA1C4614}"/>
              </a:ext>
            </a:extLst>
          </p:cNvPr>
          <p:cNvPicPr>
            <a:picLocks noChangeAspect="1"/>
          </p:cNvPicPr>
          <p:nvPr/>
        </p:nvPicPr>
        <p:blipFill rotWithShape="1">
          <a:blip r:embed="rId55">
            <a:extLst>
              <a:ext uri="{28A0092B-C50C-407E-A947-70E740481C1C}">
                <a14:useLocalDpi xmlns:a14="http://schemas.microsoft.com/office/drawing/2010/main" val="0"/>
              </a:ext>
            </a:extLst>
          </a:blip>
          <a:srcRect t="25417" r="37830" b="30737"/>
          <a:stretch/>
        </p:blipFill>
        <p:spPr>
          <a:xfrm>
            <a:off x="7424701" y="320384"/>
            <a:ext cx="828657" cy="438306"/>
          </a:xfrm>
          <a:prstGeom prst="rect">
            <a:avLst/>
          </a:prstGeom>
        </p:spPr>
      </p:pic>
      <p:pic>
        <p:nvPicPr>
          <p:cNvPr id="16" name="Picture 15" descr="A black background with black text&#10;&#10;Description automatically generated">
            <a:extLst>
              <a:ext uri="{FF2B5EF4-FFF2-40B4-BE49-F238E27FC236}">
                <a16:creationId xmlns:a16="http://schemas.microsoft.com/office/drawing/2014/main" id="{6D734910-3BF0-824A-2A17-D9707C5E58A5}"/>
              </a:ext>
            </a:extLst>
          </p:cNvPr>
          <p:cNvPicPr>
            <a:picLocks noChangeAspect="1"/>
          </p:cNvPicPr>
          <p:nvPr/>
        </p:nvPicPr>
        <p:blipFill>
          <a:blip r:embed="rId56"/>
          <a:stretch>
            <a:fillRect/>
          </a:stretch>
        </p:blipFill>
        <p:spPr>
          <a:xfrm>
            <a:off x="7488167" y="3756557"/>
            <a:ext cx="963449" cy="248146"/>
          </a:xfrm>
          <a:prstGeom prst="rect">
            <a:avLst/>
          </a:prstGeom>
        </p:spPr>
      </p:pic>
      <p:pic>
        <p:nvPicPr>
          <p:cNvPr id="27" name="Picture 26" descr="A green symbol on a black background&#10;&#10;Description automatically generated">
            <a:extLst>
              <a:ext uri="{FF2B5EF4-FFF2-40B4-BE49-F238E27FC236}">
                <a16:creationId xmlns:a16="http://schemas.microsoft.com/office/drawing/2014/main" id="{3584C21E-92EF-1D96-BC14-1E11546BA99B}"/>
              </a:ext>
            </a:extLst>
          </p:cNvPr>
          <p:cNvPicPr>
            <a:picLocks noChangeAspect="1"/>
          </p:cNvPicPr>
          <p:nvPr/>
        </p:nvPicPr>
        <p:blipFill>
          <a:blip r:embed="rId57"/>
          <a:stretch>
            <a:fillRect/>
          </a:stretch>
        </p:blipFill>
        <p:spPr>
          <a:xfrm>
            <a:off x="11538301" y="3614128"/>
            <a:ext cx="218763" cy="636769"/>
          </a:xfrm>
          <a:prstGeom prst="rect">
            <a:avLst/>
          </a:prstGeom>
        </p:spPr>
      </p:pic>
      <p:pic>
        <p:nvPicPr>
          <p:cNvPr id="29" name="Picture 28" descr="A blue logo with a black background&#10;&#10;Description automatically generated">
            <a:extLst>
              <a:ext uri="{FF2B5EF4-FFF2-40B4-BE49-F238E27FC236}">
                <a16:creationId xmlns:a16="http://schemas.microsoft.com/office/drawing/2014/main" id="{2E91F983-BCFD-CA69-0AE0-5F9E204BF445}"/>
              </a:ext>
            </a:extLst>
          </p:cNvPr>
          <p:cNvPicPr>
            <a:picLocks noChangeAspect="1"/>
          </p:cNvPicPr>
          <p:nvPr/>
        </p:nvPicPr>
        <p:blipFill>
          <a:blip r:embed="rId58"/>
          <a:stretch>
            <a:fillRect/>
          </a:stretch>
        </p:blipFill>
        <p:spPr>
          <a:xfrm>
            <a:off x="9033313" y="727481"/>
            <a:ext cx="955344" cy="604532"/>
          </a:xfrm>
          <a:prstGeom prst="rect">
            <a:avLst/>
          </a:prstGeom>
        </p:spPr>
      </p:pic>
      <p:pic>
        <p:nvPicPr>
          <p:cNvPr id="35" name="Picture 34" descr="A green letter on a black background&#10;&#10;Description automatically generated">
            <a:extLst>
              <a:ext uri="{FF2B5EF4-FFF2-40B4-BE49-F238E27FC236}">
                <a16:creationId xmlns:a16="http://schemas.microsoft.com/office/drawing/2014/main" id="{F2BE3A5C-04DE-6074-3A57-FD8329FB1648}"/>
              </a:ext>
            </a:extLst>
          </p:cNvPr>
          <p:cNvPicPr>
            <a:picLocks noChangeAspect="1"/>
          </p:cNvPicPr>
          <p:nvPr/>
        </p:nvPicPr>
        <p:blipFill>
          <a:blip r:embed="rId59"/>
          <a:stretch>
            <a:fillRect/>
          </a:stretch>
        </p:blipFill>
        <p:spPr>
          <a:xfrm>
            <a:off x="9303223" y="1952832"/>
            <a:ext cx="557284" cy="188665"/>
          </a:xfrm>
          <a:prstGeom prst="rect">
            <a:avLst/>
          </a:prstGeom>
        </p:spPr>
      </p:pic>
      <p:pic>
        <p:nvPicPr>
          <p:cNvPr id="20" name="Picture 19" descr="Green text on a black background&#10;&#10;Description automatically generated">
            <a:extLst>
              <a:ext uri="{FF2B5EF4-FFF2-40B4-BE49-F238E27FC236}">
                <a16:creationId xmlns:a16="http://schemas.microsoft.com/office/drawing/2014/main" id="{789AE1C7-921A-9E92-00D3-7A3A437D7475}"/>
              </a:ext>
            </a:extLst>
          </p:cNvPr>
          <p:cNvPicPr>
            <a:picLocks noChangeAspect="1"/>
          </p:cNvPicPr>
          <p:nvPr/>
        </p:nvPicPr>
        <p:blipFill>
          <a:blip r:embed="rId60"/>
          <a:stretch>
            <a:fillRect/>
          </a:stretch>
        </p:blipFill>
        <p:spPr>
          <a:xfrm>
            <a:off x="7591245" y="6061056"/>
            <a:ext cx="1394605" cy="299927"/>
          </a:xfrm>
          <a:prstGeom prst="rect">
            <a:avLst/>
          </a:prstGeom>
        </p:spPr>
      </p:pic>
      <p:pic>
        <p:nvPicPr>
          <p:cNvPr id="21" name="Picture 20" descr="A logo with a black background&#10;&#10;Description automatically generated">
            <a:extLst>
              <a:ext uri="{FF2B5EF4-FFF2-40B4-BE49-F238E27FC236}">
                <a16:creationId xmlns:a16="http://schemas.microsoft.com/office/drawing/2014/main" id="{4706A8E8-CE7A-02E9-E98C-D5C57C78087C}"/>
              </a:ext>
            </a:extLst>
          </p:cNvPr>
          <p:cNvPicPr>
            <a:picLocks noChangeAspect="1"/>
          </p:cNvPicPr>
          <p:nvPr/>
        </p:nvPicPr>
        <p:blipFill>
          <a:blip r:embed="rId61"/>
          <a:stretch>
            <a:fillRect/>
          </a:stretch>
        </p:blipFill>
        <p:spPr>
          <a:xfrm>
            <a:off x="8338868" y="5543400"/>
            <a:ext cx="1049548" cy="486976"/>
          </a:xfrm>
          <a:prstGeom prst="rect">
            <a:avLst/>
          </a:prstGeom>
        </p:spPr>
      </p:pic>
      <p:pic>
        <p:nvPicPr>
          <p:cNvPr id="3" name="Picture 2" descr="A logo with blue text&#10;&#10;Description automatically generated">
            <a:extLst>
              <a:ext uri="{FF2B5EF4-FFF2-40B4-BE49-F238E27FC236}">
                <a16:creationId xmlns:a16="http://schemas.microsoft.com/office/drawing/2014/main" id="{7A384D91-51BF-3321-9764-4E35FE7788E9}"/>
              </a:ext>
            </a:extLst>
          </p:cNvPr>
          <p:cNvPicPr>
            <a:picLocks noChangeAspect="1"/>
          </p:cNvPicPr>
          <p:nvPr/>
        </p:nvPicPr>
        <p:blipFill>
          <a:blip r:embed="rId62"/>
          <a:stretch>
            <a:fillRect/>
          </a:stretch>
        </p:blipFill>
        <p:spPr>
          <a:xfrm>
            <a:off x="10254018" y="3608695"/>
            <a:ext cx="1066800" cy="595953"/>
          </a:xfrm>
          <a:prstGeom prst="rect">
            <a:avLst/>
          </a:prstGeom>
        </p:spPr>
      </p:pic>
      <p:pic>
        <p:nvPicPr>
          <p:cNvPr id="30" name="Picture 29" descr="A black and white logo&#10;&#10;Description automatically generated">
            <a:extLst>
              <a:ext uri="{FF2B5EF4-FFF2-40B4-BE49-F238E27FC236}">
                <a16:creationId xmlns:a16="http://schemas.microsoft.com/office/drawing/2014/main" id="{7A374740-D81D-B37A-4D6A-EFF9E3FE6463}"/>
              </a:ext>
            </a:extLst>
          </p:cNvPr>
          <p:cNvPicPr>
            <a:picLocks noChangeAspect="1"/>
          </p:cNvPicPr>
          <p:nvPr/>
        </p:nvPicPr>
        <p:blipFill>
          <a:blip r:embed="rId63"/>
          <a:stretch>
            <a:fillRect/>
          </a:stretch>
        </p:blipFill>
        <p:spPr>
          <a:xfrm>
            <a:off x="8598090" y="3628787"/>
            <a:ext cx="784746" cy="453410"/>
          </a:xfrm>
          <a:prstGeom prst="rect">
            <a:avLst/>
          </a:prstGeom>
        </p:spPr>
      </p:pic>
    </p:spTree>
    <p:extLst>
      <p:ext uri="{BB962C8B-B14F-4D97-AF65-F5344CB8AC3E}">
        <p14:creationId xmlns:p14="http://schemas.microsoft.com/office/powerpoint/2010/main" val="101519369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0EDCA257-7B6F-2A7D-58E9-A0CE5AB075D9}"/>
              </a:ext>
            </a:extLst>
          </p:cNvPr>
          <p:cNvGraphicFramePr>
            <a:graphicFrameLocks noChangeAspect="1"/>
          </p:cNvGraphicFramePr>
          <p:nvPr>
            <p:custDataLst>
              <p:tags r:id="rId1"/>
            </p:custDataLst>
            <p:extLst>
              <p:ext uri="{D42A27DB-BD31-4B8C-83A1-F6EECF244321}">
                <p14:modId xmlns:p14="http://schemas.microsoft.com/office/powerpoint/2010/main" val="20420195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think-cell data - do not delete" hidden="1">
                        <a:extLst>
                          <a:ext uri="{FF2B5EF4-FFF2-40B4-BE49-F238E27FC236}">
                            <a16:creationId xmlns:a16="http://schemas.microsoft.com/office/drawing/2014/main" id="{0EDCA257-7B6F-2A7D-58E9-A0CE5AB075D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F337994E-D37A-C3A6-C576-6E3888832B41}"/>
              </a:ext>
            </a:extLst>
          </p:cNvPr>
          <p:cNvSpPr>
            <a:spLocks noGrp="1"/>
          </p:cNvSpPr>
          <p:nvPr>
            <p:ph type="title"/>
          </p:nvPr>
        </p:nvSpPr>
        <p:spPr/>
        <p:txBody>
          <a:bodyPr vert="horz"/>
          <a:lstStyle/>
          <a:p>
            <a:r>
              <a:rPr lang="en-GB"/>
              <a:t>What is needed from NDCs 3.0 ? </a:t>
            </a:r>
          </a:p>
        </p:txBody>
      </p:sp>
      <p:sp>
        <p:nvSpPr>
          <p:cNvPr id="7" name="Content Placeholder 6">
            <a:extLst>
              <a:ext uri="{FF2B5EF4-FFF2-40B4-BE49-F238E27FC236}">
                <a16:creationId xmlns:a16="http://schemas.microsoft.com/office/drawing/2014/main" id="{8F06E79F-4C71-FC0A-FC62-BE006EC0F039}"/>
              </a:ext>
            </a:extLst>
          </p:cNvPr>
          <p:cNvSpPr>
            <a:spLocks noGrp="1"/>
          </p:cNvSpPr>
          <p:nvPr>
            <p:ph idx="1"/>
          </p:nvPr>
        </p:nvSpPr>
        <p:spPr>
          <a:xfrm>
            <a:off x="366779" y="2160588"/>
            <a:ext cx="11446626" cy="2536825"/>
          </a:xfrm>
        </p:spPr>
        <p:txBody>
          <a:bodyPr/>
          <a:lstStyle/>
          <a:p>
            <a:pPr marL="342900" indent="-342900">
              <a:buFont typeface="+mj-lt"/>
              <a:buAutoNum type="arabicPeriod"/>
            </a:pPr>
            <a:r>
              <a:rPr lang="en-GB" sz="1800" b="1"/>
              <a:t>SIGNIFICANTLY INCREASE THE AMBITION OF EMISSIONS REDUCTION TARGETS. </a:t>
            </a:r>
          </a:p>
          <a:p>
            <a:pPr marL="342900" indent="-342900">
              <a:buFont typeface="+mj-lt"/>
              <a:buAutoNum type="arabicPeriod"/>
            </a:pPr>
            <a:endParaRPr lang="en-GB" sz="1800" b="1"/>
          </a:p>
          <a:p>
            <a:pPr marL="342900" indent="-342900">
              <a:buFont typeface="+mj-lt"/>
              <a:buAutoNum type="arabicPeriod"/>
            </a:pPr>
            <a:r>
              <a:rPr lang="en-GB" sz="1800" b="1"/>
              <a:t>MAKE CLEAR HOW STATED TARGETS IN NDCS WILL BE DELIVERED, IN PARTICULAR THROUGH POLICY ACTION. </a:t>
            </a:r>
          </a:p>
          <a:p>
            <a:pPr marL="342900" indent="-342900">
              <a:buFont typeface="+mj-lt"/>
              <a:buAutoNum type="arabicPeriod"/>
            </a:pPr>
            <a:endParaRPr lang="en-GB" sz="1800" b="1"/>
          </a:p>
          <a:p>
            <a:pPr marL="342900" indent="-342900">
              <a:buFont typeface="+mj-lt"/>
              <a:buAutoNum type="arabicPeriod"/>
            </a:pPr>
            <a:r>
              <a:rPr lang="en-GB" sz="1800" b="1"/>
              <a:t>IMPROVE THE FORMAT OF TARGETS CONTAINED IN NDCS TO MAKE THEM MORE CONSISTENT, COMPREHENSIVE AND DETAILED.</a:t>
            </a:r>
          </a:p>
          <a:p>
            <a:endParaRPr lang="en-GB" sz="1800" b="1"/>
          </a:p>
        </p:txBody>
      </p:sp>
      <p:sp>
        <p:nvSpPr>
          <p:cNvPr id="3" name="Slide Number Placeholder 2">
            <a:extLst>
              <a:ext uri="{FF2B5EF4-FFF2-40B4-BE49-F238E27FC236}">
                <a16:creationId xmlns:a16="http://schemas.microsoft.com/office/drawing/2014/main" id="{836F2C55-7878-DE2D-C83D-21878B2B83A7}"/>
              </a:ext>
            </a:extLst>
          </p:cNvPr>
          <p:cNvSpPr>
            <a:spLocks noGrp="1"/>
          </p:cNvSpPr>
          <p:nvPr>
            <p:ph type="sldNum" sz="quarter" idx="12"/>
          </p:nvPr>
        </p:nvSpPr>
        <p:spPr/>
        <p:txBody>
          <a:bodyPr/>
          <a:lstStyle/>
          <a:p>
            <a:fld id="{DDF71BC8-773F-4A54-968E-450E29C75AD4}" type="slidenum">
              <a:rPr lang="en-GB" smtClean="0"/>
              <a:pPr/>
              <a:t>20</a:t>
            </a:fld>
            <a:endParaRPr lang="en-GB"/>
          </a:p>
        </p:txBody>
      </p:sp>
      <p:sp>
        <p:nvSpPr>
          <p:cNvPr id="4" name="Footer Placeholder 3">
            <a:extLst>
              <a:ext uri="{FF2B5EF4-FFF2-40B4-BE49-F238E27FC236}">
                <a16:creationId xmlns:a16="http://schemas.microsoft.com/office/drawing/2014/main" id="{94C6CA77-5AC5-E18E-EF3E-098A3F9DAC00}"/>
              </a:ext>
            </a:extLst>
          </p:cNvPr>
          <p:cNvSpPr>
            <a:spLocks noGrp="1"/>
          </p:cNvSpPr>
          <p:nvPr>
            <p:ph type="ftr" sz="quarter" idx="13"/>
          </p:nvPr>
        </p:nvSpPr>
        <p:spPr/>
        <p:txBody>
          <a:bodyPr/>
          <a:lstStyle/>
          <a:p>
            <a:endParaRPr lang="en-GB"/>
          </a:p>
        </p:txBody>
      </p:sp>
    </p:spTree>
    <p:extLst>
      <p:ext uri="{BB962C8B-B14F-4D97-AF65-F5344CB8AC3E}">
        <p14:creationId xmlns:p14="http://schemas.microsoft.com/office/powerpoint/2010/main" val="313295076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BA2C819-6344-4A18-88C8-184492240FF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Object 2" hidden="1">
                        <a:extLst>
                          <a:ext uri="{FF2B5EF4-FFF2-40B4-BE49-F238E27FC236}">
                            <a16:creationId xmlns:a16="http://schemas.microsoft.com/office/drawing/2014/main" id="{CBA2C819-6344-4A18-88C8-184492240FF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1" name="Rectangle 40">
            <a:extLst>
              <a:ext uri="{FF2B5EF4-FFF2-40B4-BE49-F238E27FC236}">
                <a16:creationId xmlns:a16="http://schemas.microsoft.com/office/drawing/2014/main" id="{11EA3FDE-10DF-47A6-B492-470E033C98EF}"/>
              </a:ext>
            </a:extLst>
          </p:cNvPr>
          <p:cNvSpPr/>
          <p:nvPr/>
        </p:nvSpPr>
        <p:spPr>
          <a:xfrm>
            <a:off x="0" y="4085162"/>
            <a:ext cx="12192000" cy="160379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entury Gothic" panose="020B0502020202020204" pitchFamily="34" charset="0"/>
            </a:endParaRPr>
          </a:p>
        </p:txBody>
      </p:sp>
      <p:sp>
        <p:nvSpPr>
          <p:cNvPr id="19" name="Rectangle 18">
            <a:extLst>
              <a:ext uri="{FF2B5EF4-FFF2-40B4-BE49-F238E27FC236}">
                <a16:creationId xmlns:a16="http://schemas.microsoft.com/office/drawing/2014/main" id="{50176E7F-4DC7-4FC7-ACD6-DF7392FDFC6A}"/>
              </a:ext>
            </a:extLst>
          </p:cNvPr>
          <p:cNvSpPr/>
          <p:nvPr/>
        </p:nvSpPr>
        <p:spPr>
          <a:xfrm>
            <a:off x="0" y="1749777"/>
            <a:ext cx="12192000" cy="2048356"/>
          </a:xfrm>
          <a:prstGeom prst="rect">
            <a:avLst/>
          </a:prstGeom>
          <a:solidFill>
            <a:schemeClr val="accent4">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entury Gothic" panose="020B0502020202020204" pitchFamily="34" charset="0"/>
            </a:endParaRPr>
          </a:p>
        </p:txBody>
      </p:sp>
      <p:sp>
        <p:nvSpPr>
          <p:cNvPr id="4" name="Slide Number Placeholder 3">
            <a:extLst>
              <a:ext uri="{FF2B5EF4-FFF2-40B4-BE49-F238E27FC236}">
                <a16:creationId xmlns:a16="http://schemas.microsoft.com/office/drawing/2014/main" id="{88360B25-BB9D-4183-9133-575DE4AFB267}"/>
              </a:ext>
            </a:extLst>
          </p:cNvPr>
          <p:cNvSpPr>
            <a:spLocks noGrp="1"/>
          </p:cNvSpPr>
          <p:nvPr>
            <p:ph type="sldNum" sz="quarter" idx="12"/>
          </p:nvPr>
        </p:nvSpPr>
        <p:spPr/>
        <p:txBody>
          <a:bodyPr/>
          <a:lstStyle/>
          <a:p>
            <a:fld id="{ABB6D191-819E-455F-BC39-F2381519C0C1}" type="slidenum">
              <a:rPr lang="en-GB" noProof="0" smtClean="0"/>
              <a:pPr/>
              <a:t>3</a:t>
            </a:fld>
            <a:endParaRPr lang="en-GB" noProof="0"/>
          </a:p>
        </p:txBody>
      </p:sp>
      <p:sp>
        <p:nvSpPr>
          <p:cNvPr id="32" name="Oval 31">
            <a:extLst>
              <a:ext uri="{FF2B5EF4-FFF2-40B4-BE49-F238E27FC236}">
                <a16:creationId xmlns:a16="http://schemas.microsoft.com/office/drawing/2014/main" id="{453FD531-270E-451A-9503-D18A07FBC959}"/>
              </a:ext>
            </a:extLst>
          </p:cNvPr>
          <p:cNvSpPr/>
          <p:nvPr/>
        </p:nvSpPr>
        <p:spPr>
          <a:xfrm flipH="1">
            <a:off x="9560327" y="1096983"/>
            <a:ext cx="993325" cy="993327"/>
          </a:xfrm>
          <a:prstGeom prst="ellipse">
            <a:avLst/>
          </a:prstGeom>
          <a:solidFill>
            <a:schemeClr val="bg1"/>
          </a:solidFill>
          <a:ln w="12700">
            <a:solidFill>
              <a:schemeClr val="tx2"/>
            </a:solidFill>
          </a:ln>
          <a:effectLst>
            <a:outerShdw blurRad="63500" sx="102000" sy="102000" algn="ctr" rotWithShape="0">
              <a:schemeClr val="bg1">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endParaRPr lang="en-US" sz="1400" err="1">
              <a:solidFill>
                <a:schemeClr val="tx1">
                  <a:lumMod val="85000"/>
                  <a:lumOff val="15000"/>
                </a:schemeClr>
              </a:solidFill>
              <a:latin typeface="Century Gothic" panose="020B0502020202020204" pitchFamily="34" charset="0"/>
            </a:endParaRPr>
          </a:p>
        </p:txBody>
      </p:sp>
      <p:sp>
        <p:nvSpPr>
          <p:cNvPr id="17" name="Rectangle 16">
            <a:extLst>
              <a:ext uri="{FF2B5EF4-FFF2-40B4-BE49-F238E27FC236}">
                <a16:creationId xmlns:a16="http://schemas.microsoft.com/office/drawing/2014/main" id="{DD28F7D7-D6FB-40A6-AA13-9C81CC23F9C9}"/>
              </a:ext>
            </a:extLst>
          </p:cNvPr>
          <p:cNvSpPr>
            <a:spLocks/>
          </p:cNvSpPr>
          <p:nvPr/>
        </p:nvSpPr>
        <p:spPr>
          <a:xfrm>
            <a:off x="8300576" y="2256331"/>
            <a:ext cx="3512829" cy="923330"/>
          </a:xfrm>
          <a:prstGeom prst="rect">
            <a:avLst/>
          </a:prstGeom>
        </p:spPr>
        <p:txBody>
          <a:bodyPr wrap="square">
            <a:spAutoFit/>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kumimoji="0" lang="en-GB" sz="1800" b="1" i="0" u="none" strike="noStrike" kern="1200" cap="none" spc="0" normalizeH="0" baseline="0" noProof="0">
                <a:ln>
                  <a:noFill/>
                </a:ln>
                <a:solidFill>
                  <a:srgbClr val="004876"/>
                </a:solidFill>
                <a:effectLst/>
                <a:uLnTx/>
                <a:uFillTx/>
                <a:latin typeface="Century Gothic" panose="020B0502020202020204" pitchFamily="34" charset="0"/>
                <a:ea typeface="Inter" panose="020B0604020202020204" charset="0"/>
                <a:cs typeface="Inter" panose="020B0604020202020204" charset="0"/>
              </a:rPr>
              <a:t>Extensive engagement </a:t>
            </a:r>
            <a:br>
              <a:rPr kumimoji="0" lang="en-GB" sz="1800" b="1" i="0" u="none" strike="noStrike" kern="1200" cap="none" spc="0" normalizeH="0" baseline="0" noProof="0">
                <a:ln>
                  <a:noFill/>
                </a:ln>
                <a:solidFill>
                  <a:srgbClr val="004876"/>
                </a:solidFill>
                <a:effectLst/>
                <a:uLnTx/>
                <a:uFillTx/>
                <a:latin typeface="Century Gothic" panose="020B0502020202020204" pitchFamily="34" charset="0"/>
                <a:ea typeface="Inter" panose="020B0604020202020204" charset="0"/>
                <a:cs typeface="Inter" panose="020B0604020202020204" charset="0"/>
              </a:rPr>
            </a:br>
            <a:r>
              <a:rPr kumimoji="0" lang="en-GB" sz="1800" b="1" i="0" u="none" strike="noStrike" kern="1200" cap="none" spc="0" normalizeH="0" baseline="0" noProof="0">
                <a:ln>
                  <a:noFill/>
                </a:ln>
                <a:solidFill>
                  <a:srgbClr val="004876"/>
                </a:solidFill>
                <a:effectLst/>
                <a:uLnTx/>
                <a:uFillTx/>
                <a:latin typeface="Century Gothic" panose="020B0502020202020204" pitchFamily="34" charset="0"/>
                <a:ea typeface="Inter" panose="020B0604020202020204" charset="0"/>
                <a:cs typeface="Inter" panose="020B0604020202020204" charset="0"/>
              </a:rPr>
              <a:t>with critical decision makers to disseminate findings</a:t>
            </a:r>
            <a:endParaRPr kumimoji="0" lang="en-GB" sz="1800" b="0" i="0" u="none" strike="noStrike" kern="1200" cap="none" spc="0" normalizeH="0" baseline="0" noProof="0">
              <a:ln>
                <a:noFill/>
              </a:ln>
              <a:solidFill>
                <a:srgbClr val="000000"/>
              </a:solidFill>
              <a:effectLst/>
              <a:uLnTx/>
              <a:uFillTx/>
              <a:latin typeface="Century Gothic" panose="020B0502020202020204" pitchFamily="34" charset="0"/>
              <a:ea typeface="Inter" panose="020B0604020202020204" charset="0"/>
              <a:cs typeface="Inter" panose="020B0604020202020204" charset="0"/>
            </a:endParaRPr>
          </a:p>
        </p:txBody>
      </p:sp>
      <p:sp>
        <p:nvSpPr>
          <p:cNvPr id="22" name="TextBox 21">
            <a:extLst>
              <a:ext uri="{FF2B5EF4-FFF2-40B4-BE49-F238E27FC236}">
                <a16:creationId xmlns:a16="http://schemas.microsoft.com/office/drawing/2014/main" id="{81D49D3C-65BE-4D71-92DA-43CBD2489B71}"/>
              </a:ext>
            </a:extLst>
          </p:cNvPr>
          <p:cNvSpPr txBox="1">
            <a:spLocks/>
          </p:cNvSpPr>
          <p:nvPr/>
        </p:nvSpPr>
        <p:spPr>
          <a:xfrm>
            <a:off x="8300576" y="4384299"/>
            <a:ext cx="3512829" cy="923330"/>
          </a:xfrm>
          <a:prstGeom prst="rect">
            <a:avLst/>
          </a:prstGeom>
          <a:noFill/>
        </p:spPr>
        <p:txBody>
          <a:bodyPr wrap="square">
            <a:spAutoFit/>
          </a:bodyPr>
          <a:lstStyle/>
          <a:p>
            <a:pPr marL="0" marR="0" lvl="0" indent="0" algn="ctr" defTabSz="914400" rtl="0" eaLnBrk="1" fontAlgn="auto" latinLnBrk="0" hangingPunct="1">
              <a:lnSpc>
                <a:spcPct val="100000"/>
              </a:lnSpc>
              <a:spcBef>
                <a:spcPts val="1200"/>
              </a:spcBef>
              <a:spcAft>
                <a:spcPts val="0"/>
              </a:spcAft>
              <a:buClrTx/>
              <a:buSzTx/>
              <a:buFont typeface="Wingdings" panose="05000000000000000000" pitchFamily="2" charset="2"/>
              <a:buNone/>
              <a:tabLst/>
              <a:defRPr/>
            </a:pPr>
            <a:r>
              <a:rPr kumimoji="0" lang="en-GB" sz="1800" b="1" i="0" u="none" strike="noStrike" kern="1200" cap="none" spc="0" normalizeH="0" baseline="0" noProof="0">
                <a:ln>
                  <a:noFill/>
                </a:ln>
                <a:solidFill>
                  <a:schemeClr val="bg1"/>
                </a:solidFill>
                <a:effectLst/>
                <a:uLnTx/>
                <a:uFillTx/>
                <a:latin typeface="Century Gothic" panose="020B0502020202020204" pitchFamily="34" charset="0"/>
                <a:ea typeface="Inter" panose="020B0604020202020204" charset="0"/>
                <a:cs typeface="Inter" panose="020B0604020202020204" charset="0"/>
              </a:rPr>
              <a:t>Transforming members’ outlook and knowledge is leading to new strategies</a:t>
            </a:r>
            <a:endParaRPr kumimoji="0" lang="en-GB" sz="1800" b="0" i="0" u="none" strike="noStrike" kern="1200" cap="none" spc="0" normalizeH="0" baseline="0" noProof="0">
              <a:ln>
                <a:noFill/>
              </a:ln>
              <a:solidFill>
                <a:schemeClr val="bg1"/>
              </a:solidFill>
              <a:effectLst/>
              <a:uLnTx/>
              <a:uFillTx/>
              <a:latin typeface="Century Gothic" panose="020B0502020202020204" pitchFamily="34" charset="0"/>
              <a:ea typeface="Inter" panose="020B0604020202020204" charset="0"/>
              <a:cs typeface="Inter" panose="020B0604020202020204" charset="0"/>
            </a:endParaRPr>
          </a:p>
        </p:txBody>
      </p:sp>
      <p:sp>
        <p:nvSpPr>
          <p:cNvPr id="8" name="Kombinationstegning 23">
            <a:extLst>
              <a:ext uri="{FF2B5EF4-FFF2-40B4-BE49-F238E27FC236}">
                <a16:creationId xmlns:a16="http://schemas.microsoft.com/office/drawing/2014/main" id="{53934C97-42A7-426C-871A-BDCD61934A63}"/>
              </a:ext>
            </a:extLst>
          </p:cNvPr>
          <p:cNvSpPr>
            <a:spLocks noChangeAspect="1"/>
          </p:cNvSpPr>
          <p:nvPr/>
        </p:nvSpPr>
        <p:spPr>
          <a:xfrm>
            <a:off x="9736325" y="1321640"/>
            <a:ext cx="641330" cy="544014"/>
          </a:xfrm>
          <a:custGeom>
            <a:avLst/>
            <a:gdLst>
              <a:gd name="connsiteX0" fmla="*/ 0 w 2261268"/>
              <a:gd name="connsiteY0" fmla="*/ 1453667 h 1918140"/>
              <a:gd name="connsiteX1" fmla="*/ 184089 w 2261268"/>
              <a:gd name="connsiteY1" fmla="*/ 1453667 h 1918140"/>
              <a:gd name="connsiteX2" fmla="*/ 184089 w 2261268"/>
              <a:gd name="connsiteY2" fmla="*/ 1918140 h 1918140"/>
              <a:gd name="connsiteX3" fmla="*/ 0 w 2261268"/>
              <a:gd name="connsiteY3" fmla="*/ 1918140 h 1918140"/>
              <a:gd name="connsiteX4" fmla="*/ 1612388 w 2261268"/>
              <a:gd name="connsiteY4" fmla="*/ 460772 h 1918140"/>
              <a:gd name="connsiteX5" fmla="*/ 1577637 w 2261268"/>
              <a:gd name="connsiteY5" fmla="*/ 475165 h 1918140"/>
              <a:gd name="connsiteX6" fmla="*/ 696330 w 2261268"/>
              <a:gd name="connsiteY6" fmla="*/ 1356467 h 1918140"/>
              <a:gd name="connsiteX7" fmla="*/ 722898 w 2261268"/>
              <a:gd name="connsiteY7" fmla="*/ 1361386 h 1918140"/>
              <a:gd name="connsiteX8" fmla="*/ 777329 w 2261268"/>
              <a:gd name="connsiteY8" fmla="*/ 1388992 h 1918140"/>
              <a:gd name="connsiteX9" fmla="*/ 793475 w 2261268"/>
              <a:gd name="connsiteY9" fmla="*/ 1398330 h 1918140"/>
              <a:gd name="connsiteX10" fmla="*/ 1647139 w 2261268"/>
              <a:gd name="connsiteY10" fmla="*/ 544668 h 1918140"/>
              <a:gd name="connsiteX11" fmla="*/ 1661533 w 2261268"/>
              <a:gd name="connsiteY11" fmla="*/ 509915 h 1918140"/>
              <a:gd name="connsiteX12" fmla="*/ 1647139 w 2261268"/>
              <a:gd name="connsiteY12" fmla="*/ 475164 h 1918140"/>
              <a:gd name="connsiteX13" fmla="*/ 1190954 w 2261268"/>
              <a:gd name="connsiteY13" fmla="*/ 0 h 1918140"/>
              <a:gd name="connsiteX14" fmla="*/ 1271636 w 2261268"/>
              <a:gd name="connsiteY14" fmla="*/ 0 h 1918140"/>
              <a:gd name="connsiteX15" fmla="*/ 1291807 w 2261268"/>
              <a:gd name="connsiteY15" fmla="*/ 20171 h 1918140"/>
              <a:gd name="connsiteX16" fmla="*/ 1291807 w 2261268"/>
              <a:gd name="connsiteY16" fmla="*/ 73556 h 1918140"/>
              <a:gd name="connsiteX17" fmla="*/ 2237094 w 2261268"/>
              <a:gd name="connsiteY17" fmla="*/ 73556 h 1918140"/>
              <a:gd name="connsiteX18" fmla="*/ 2261268 w 2261268"/>
              <a:gd name="connsiteY18" fmla="*/ 97728 h 1918140"/>
              <a:gd name="connsiteX19" fmla="*/ 2261268 w 2261268"/>
              <a:gd name="connsiteY19" fmla="*/ 194416 h 1918140"/>
              <a:gd name="connsiteX20" fmla="*/ 2237094 w 2261268"/>
              <a:gd name="connsiteY20" fmla="*/ 218591 h 1918140"/>
              <a:gd name="connsiteX21" fmla="*/ 2152900 w 2261268"/>
              <a:gd name="connsiteY21" fmla="*/ 218589 h 1918140"/>
              <a:gd name="connsiteX22" fmla="*/ 2152900 w 2261268"/>
              <a:gd name="connsiteY22" fmla="*/ 229256 h 1918140"/>
              <a:gd name="connsiteX23" fmla="*/ 2152900 w 2261268"/>
              <a:gd name="connsiteY23" fmla="*/ 1372708 h 1918140"/>
              <a:gd name="connsiteX24" fmla="*/ 2060145 w 2261268"/>
              <a:gd name="connsiteY24" fmla="*/ 1465561 h 1918140"/>
              <a:gd name="connsiteX25" fmla="*/ 941676 w 2261268"/>
              <a:gd name="connsiteY25" fmla="*/ 1465561 h 1918140"/>
              <a:gd name="connsiteX26" fmla="*/ 864634 w 2261268"/>
              <a:gd name="connsiteY26" fmla="*/ 1465561 h 1918140"/>
              <a:gd name="connsiteX27" fmla="*/ 873126 w 2261268"/>
              <a:gd name="connsiteY27" fmla="*/ 1505229 h 1918140"/>
              <a:gd name="connsiteX28" fmla="*/ 722898 w 2261268"/>
              <a:gd name="connsiteY28" fmla="*/ 1779837 h 1918140"/>
              <a:gd name="connsiteX29" fmla="*/ 537109 w 2261268"/>
              <a:gd name="connsiteY29" fmla="*/ 1872826 h 1918140"/>
              <a:gd name="connsiteX30" fmla="*/ 211977 w 2261268"/>
              <a:gd name="connsiteY30" fmla="*/ 1826332 h 1918140"/>
              <a:gd name="connsiteX31" fmla="*/ 211977 w 2261268"/>
              <a:gd name="connsiteY31" fmla="*/ 1454375 h 1918140"/>
              <a:gd name="connsiteX32" fmla="*/ 333963 w 2261268"/>
              <a:gd name="connsiteY32" fmla="*/ 1441598 h 1918140"/>
              <a:gd name="connsiteX33" fmla="*/ 326825 w 2261268"/>
              <a:gd name="connsiteY33" fmla="*/ 1436544 h 1918140"/>
              <a:gd name="connsiteX34" fmla="*/ 297839 w 2261268"/>
              <a:gd name="connsiteY34" fmla="*/ 1372708 h 1918140"/>
              <a:gd name="connsiteX35" fmla="*/ 297839 w 2261268"/>
              <a:gd name="connsiteY35" fmla="*/ 378084 h 1918140"/>
              <a:gd name="connsiteX36" fmla="*/ 297839 w 2261268"/>
              <a:gd name="connsiteY36" fmla="*/ 218589 h 1918140"/>
              <a:gd name="connsiteX37" fmla="*/ 213645 w 2261268"/>
              <a:gd name="connsiteY37" fmla="*/ 218591 h 1918140"/>
              <a:gd name="connsiteX38" fmla="*/ 189472 w 2261268"/>
              <a:gd name="connsiteY38" fmla="*/ 194416 h 1918140"/>
              <a:gd name="connsiteX39" fmla="*/ 189472 w 2261268"/>
              <a:gd name="connsiteY39" fmla="*/ 97730 h 1918140"/>
              <a:gd name="connsiteX40" fmla="*/ 213645 w 2261268"/>
              <a:gd name="connsiteY40" fmla="*/ 73556 h 1918140"/>
              <a:gd name="connsiteX41" fmla="*/ 1170783 w 2261268"/>
              <a:gd name="connsiteY41" fmla="*/ 73556 h 1918140"/>
              <a:gd name="connsiteX42" fmla="*/ 1170783 w 2261268"/>
              <a:gd name="connsiteY42" fmla="*/ 20171 h 1918140"/>
              <a:gd name="connsiteX43" fmla="*/ 1190954 w 2261268"/>
              <a:gd name="connsiteY43" fmla="*/ 0 h 1918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2261268" h="1918140">
                <a:moveTo>
                  <a:pt x="0" y="1453667"/>
                </a:moveTo>
                <a:lnTo>
                  <a:pt x="184089" y="1453667"/>
                </a:lnTo>
                <a:lnTo>
                  <a:pt x="184089" y="1918140"/>
                </a:lnTo>
                <a:lnTo>
                  <a:pt x="0" y="1918140"/>
                </a:lnTo>
                <a:close/>
                <a:moveTo>
                  <a:pt x="1612388" y="460772"/>
                </a:moveTo>
                <a:cubicBezTo>
                  <a:pt x="1599810" y="460772"/>
                  <a:pt x="1587233" y="465569"/>
                  <a:pt x="1577637" y="475165"/>
                </a:cubicBezTo>
                <a:lnTo>
                  <a:pt x="696330" y="1356467"/>
                </a:lnTo>
                <a:lnTo>
                  <a:pt x="722898" y="1361386"/>
                </a:lnTo>
                <a:cubicBezTo>
                  <a:pt x="746121" y="1373011"/>
                  <a:pt x="763539" y="1381728"/>
                  <a:pt x="777329" y="1388992"/>
                </a:cubicBezTo>
                <a:lnTo>
                  <a:pt x="793475" y="1398330"/>
                </a:lnTo>
                <a:lnTo>
                  <a:pt x="1647139" y="544668"/>
                </a:lnTo>
                <a:cubicBezTo>
                  <a:pt x="1656735" y="535072"/>
                  <a:pt x="1661534" y="522494"/>
                  <a:pt x="1661533" y="509915"/>
                </a:cubicBezTo>
                <a:lnTo>
                  <a:pt x="1647139" y="475164"/>
                </a:lnTo>
                <a:close/>
                <a:moveTo>
                  <a:pt x="1190954" y="0"/>
                </a:moveTo>
                <a:lnTo>
                  <a:pt x="1271636" y="0"/>
                </a:lnTo>
                <a:cubicBezTo>
                  <a:pt x="1282776" y="0"/>
                  <a:pt x="1291807" y="9031"/>
                  <a:pt x="1291807" y="20171"/>
                </a:cubicBezTo>
                <a:lnTo>
                  <a:pt x="1291807" y="73556"/>
                </a:lnTo>
                <a:lnTo>
                  <a:pt x="2237094" y="73556"/>
                </a:lnTo>
                <a:cubicBezTo>
                  <a:pt x="2250444" y="73556"/>
                  <a:pt x="2261268" y="84380"/>
                  <a:pt x="2261268" y="97728"/>
                </a:cubicBezTo>
                <a:lnTo>
                  <a:pt x="2261268" y="194416"/>
                </a:lnTo>
                <a:cubicBezTo>
                  <a:pt x="2261268" y="207767"/>
                  <a:pt x="2250444" y="218591"/>
                  <a:pt x="2237094" y="218591"/>
                </a:cubicBezTo>
                <a:lnTo>
                  <a:pt x="2152900" y="218589"/>
                </a:lnTo>
                <a:lnTo>
                  <a:pt x="2152900" y="229256"/>
                </a:lnTo>
                <a:cubicBezTo>
                  <a:pt x="2152900" y="335349"/>
                  <a:pt x="2152900" y="618266"/>
                  <a:pt x="2152900" y="1372708"/>
                </a:cubicBezTo>
                <a:cubicBezTo>
                  <a:pt x="2152900" y="1419133"/>
                  <a:pt x="2106524" y="1465561"/>
                  <a:pt x="2060145" y="1465561"/>
                </a:cubicBezTo>
                <a:cubicBezTo>
                  <a:pt x="2060145" y="1465561"/>
                  <a:pt x="2060145" y="1465561"/>
                  <a:pt x="941676" y="1465561"/>
                </a:cubicBezTo>
                <a:lnTo>
                  <a:pt x="864634" y="1465561"/>
                </a:lnTo>
                <a:lnTo>
                  <a:pt x="873126" y="1505229"/>
                </a:lnTo>
                <a:cubicBezTo>
                  <a:pt x="862240" y="1570612"/>
                  <a:pt x="792568" y="1675224"/>
                  <a:pt x="722898" y="1779837"/>
                </a:cubicBezTo>
                <a:cubicBezTo>
                  <a:pt x="699674" y="1826332"/>
                  <a:pt x="676451" y="1872826"/>
                  <a:pt x="537109" y="1872826"/>
                </a:cubicBezTo>
                <a:cubicBezTo>
                  <a:pt x="397767" y="1872826"/>
                  <a:pt x="397767" y="1826332"/>
                  <a:pt x="211977" y="1826332"/>
                </a:cubicBezTo>
                <a:lnTo>
                  <a:pt x="211977" y="1454375"/>
                </a:lnTo>
                <a:lnTo>
                  <a:pt x="333963" y="1441598"/>
                </a:lnTo>
                <a:lnTo>
                  <a:pt x="326825" y="1436544"/>
                </a:lnTo>
                <a:cubicBezTo>
                  <a:pt x="309434" y="1419135"/>
                  <a:pt x="297839" y="1395921"/>
                  <a:pt x="297839" y="1372708"/>
                </a:cubicBezTo>
                <a:cubicBezTo>
                  <a:pt x="297839" y="1372708"/>
                  <a:pt x="297839" y="1372708"/>
                  <a:pt x="297839" y="378084"/>
                </a:cubicBezTo>
                <a:lnTo>
                  <a:pt x="297839" y="218589"/>
                </a:lnTo>
                <a:lnTo>
                  <a:pt x="213645" y="218591"/>
                </a:lnTo>
                <a:cubicBezTo>
                  <a:pt x="200295" y="218589"/>
                  <a:pt x="189472" y="207765"/>
                  <a:pt x="189472" y="194416"/>
                </a:cubicBezTo>
                <a:lnTo>
                  <a:pt x="189472" y="97730"/>
                </a:lnTo>
                <a:cubicBezTo>
                  <a:pt x="189472" y="84380"/>
                  <a:pt x="200295" y="73556"/>
                  <a:pt x="213645" y="73556"/>
                </a:cubicBezTo>
                <a:lnTo>
                  <a:pt x="1170783" y="73556"/>
                </a:lnTo>
                <a:lnTo>
                  <a:pt x="1170783" y="20171"/>
                </a:lnTo>
                <a:cubicBezTo>
                  <a:pt x="1170783" y="9031"/>
                  <a:pt x="1179814" y="0"/>
                  <a:pt x="1190954" y="0"/>
                </a:cubicBezTo>
                <a:close/>
              </a:path>
            </a:pathLst>
          </a:custGeom>
          <a:solidFill>
            <a:schemeClr val="tx2">
              <a:lumMod val="100000"/>
            </a:scheme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srgbClr val="FFFFFF"/>
              </a:solidFill>
              <a:effectLst/>
              <a:uLnTx/>
              <a:uFillTx/>
              <a:latin typeface="Century Gothic" panose="020B0502020202020204" pitchFamily="34" charset="0"/>
              <a:ea typeface="Inter" panose="020B0604020202020204" charset="0"/>
              <a:cs typeface="Inter" panose="020B0604020202020204" charset="0"/>
            </a:endParaRPr>
          </a:p>
        </p:txBody>
      </p:sp>
      <p:sp>
        <p:nvSpPr>
          <p:cNvPr id="14" name="Content Placeholder 2">
            <a:extLst>
              <a:ext uri="{FF2B5EF4-FFF2-40B4-BE49-F238E27FC236}">
                <a16:creationId xmlns:a16="http://schemas.microsoft.com/office/drawing/2014/main" id="{722AE3B1-DE8D-46AA-A39D-762A6324E67C}"/>
              </a:ext>
            </a:extLst>
          </p:cNvPr>
          <p:cNvSpPr txBox="1">
            <a:spLocks/>
          </p:cNvSpPr>
          <p:nvPr/>
        </p:nvSpPr>
        <p:spPr>
          <a:xfrm>
            <a:off x="366779" y="4384299"/>
            <a:ext cx="3512829" cy="923330"/>
          </a:xfrm>
          <a:prstGeom prst="rect">
            <a:avLst/>
          </a:prstGeom>
          <a:noFill/>
        </p:spPr>
        <p:txBody>
          <a:bodyPr wrap="square">
            <a:spAutoFit/>
          </a:bodyPr>
          <a:lstStyle>
            <a:defPPr>
              <a:defRPr lang="de-DE"/>
            </a:defPPr>
            <a:lvl1pPr>
              <a:spcBef>
                <a:spcPts val="1800"/>
              </a:spcBef>
              <a:defRPr sz="1600" b="1">
                <a:solidFill>
                  <a:schemeClr val="tx2"/>
                </a:solidFill>
              </a:defRPr>
            </a:lvl1pPr>
            <a:lvl2pPr marL="360000" indent="-180000" algn="l" defTabSz="914400" rtl="0" eaLnBrk="1" latinLnBrk="0" hangingPunct="1">
              <a:lnSpc>
                <a:spcPct val="90000"/>
              </a:lnSpc>
              <a:spcBef>
                <a:spcPts val="500"/>
              </a:spcBef>
              <a:buFont typeface="Century Gothic" panose="020B0502020202020204" pitchFamily="34" charset="0"/>
              <a:buChar char="–"/>
              <a:defRPr sz="1600" kern="1200">
                <a:solidFill>
                  <a:schemeClr val="tx1"/>
                </a:solidFill>
                <a:latin typeface="+mn-lt"/>
                <a:ea typeface="+mn-ea"/>
                <a:cs typeface="+mn-cs"/>
              </a:defRPr>
            </a:lvl2pPr>
            <a:lvl3pPr marL="54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3pPr>
            <a:lvl4pPr marL="720000" indent="-180000" algn="l" defTabSz="914400" rtl="0" eaLnBrk="1" latinLnBrk="0" hangingPunct="1">
              <a:lnSpc>
                <a:spcPct val="90000"/>
              </a:lnSpc>
              <a:spcBef>
                <a:spcPts val="500"/>
              </a:spcBef>
              <a:buFont typeface="Century Gothic" panose="020B0502020202020204" pitchFamily="34" charset="0"/>
              <a:buChar char="–"/>
              <a:defRPr sz="1600" kern="1200">
                <a:solidFill>
                  <a:schemeClr val="tx1"/>
                </a:solidFill>
                <a:latin typeface="+mn-lt"/>
                <a:ea typeface="+mn-ea"/>
                <a:cs typeface="+mn-cs"/>
              </a:defRPr>
            </a:lvl4pPr>
            <a:lvl5pPr marL="90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800"/>
              </a:spcBef>
              <a:spcAft>
                <a:spcPts val="0"/>
              </a:spcAft>
              <a:buClrTx/>
              <a:buSzTx/>
              <a:buFontTx/>
              <a:buNone/>
              <a:tabLst/>
              <a:defRPr/>
            </a:pPr>
            <a:r>
              <a:rPr kumimoji="0" lang="en-GB" sz="1800" b="1" i="0" u="none" strike="noStrike" kern="1200" cap="none" spc="0" normalizeH="0" baseline="0" noProof="0">
                <a:ln>
                  <a:noFill/>
                </a:ln>
                <a:solidFill>
                  <a:schemeClr val="bg1"/>
                </a:solidFill>
                <a:effectLst/>
                <a:uLnTx/>
                <a:uFillTx/>
                <a:latin typeface="Century Gothic" panose="020B0502020202020204" pitchFamily="34" charset="0"/>
                <a:ea typeface="Inter" panose="020B0604020202020204" charset="0"/>
                <a:cs typeface="Inter" panose="020B0604020202020204" charset="0"/>
              </a:rPr>
              <a:t>ETC members own conclusions and advocate for recommendations externally</a:t>
            </a:r>
            <a:endParaRPr kumimoji="0" lang="en-GB" sz="1800" b="0" i="0" u="none" strike="noStrike" kern="1200" cap="none" spc="0" normalizeH="0" baseline="0" noProof="0">
              <a:ln>
                <a:noFill/>
              </a:ln>
              <a:solidFill>
                <a:schemeClr val="bg1"/>
              </a:solidFill>
              <a:effectLst/>
              <a:uLnTx/>
              <a:uFillTx/>
              <a:latin typeface="Century Gothic" panose="020B0502020202020204" pitchFamily="34" charset="0"/>
              <a:ea typeface="Inter" panose="020B0604020202020204" charset="0"/>
              <a:cs typeface="Inter" panose="020B0604020202020204" charset="0"/>
            </a:endParaRPr>
          </a:p>
        </p:txBody>
      </p:sp>
      <p:sp>
        <p:nvSpPr>
          <p:cNvPr id="15" name="Rectangle 14">
            <a:extLst>
              <a:ext uri="{FF2B5EF4-FFF2-40B4-BE49-F238E27FC236}">
                <a16:creationId xmlns:a16="http://schemas.microsoft.com/office/drawing/2014/main" id="{CAC3D4FE-7744-4164-A908-2256DF65C3B3}"/>
              </a:ext>
            </a:extLst>
          </p:cNvPr>
          <p:cNvSpPr>
            <a:spLocks/>
          </p:cNvSpPr>
          <p:nvPr/>
        </p:nvSpPr>
        <p:spPr>
          <a:xfrm>
            <a:off x="366779" y="2256331"/>
            <a:ext cx="3512829" cy="923330"/>
          </a:xfrm>
          <a:prstGeom prst="rect">
            <a:avLst/>
          </a:prstGeom>
        </p:spPr>
        <p:txBody>
          <a:bodyPr wrap="square" lIns="91440" tIns="45720" rIns="91440" bIns="45720" anchor="t">
            <a:spAutoFit/>
          </a:bodyPr>
          <a:lstStyle/>
          <a:p>
            <a:pPr algn="ctr">
              <a:spcBef>
                <a:spcPts val="1800"/>
              </a:spcBef>
              <a:defRPr/>
            </a:pPr>
            <a:r>
              <a:rPr kumimoji="0" lang="en-GB" sz="1800" b="1" i="0" u="none" strike="noStrike" kern="1200" cap="none" spc="0" normalizeH="0" baseline="0" noProof="0">
                <a:ln>
                  <a:noFill/>
                </a:ln>
                <a:solidFill>
                  <a:srgbClr val="004876"/>
                </a:solidFill>
                <a:effectLst/>
                <a:uLnTx/>
                <a:uFillTx/>
                <a:latin typeface="Century Gothic" panose="020B0502020202020204" pitchFamily="34" charset="0"/>
                <a:ea typeface="Inter" panose="020B0604020202020204" charset="0"/>
                <a:cs typeface="Inter" panose="020B0604020202020204" charset="0"/>
              </a:rPr>
              <a:t>Fact based, collaborative, action-oriented research approach</a:t>
            </a:r>
          </a:p>
        </p:txBody>
      </p:sp>
      <p:sp>
        <p:nvSpPr>
          <p:cNvPr id="23" name="Oval 22">
            <a:extLst>
              <a:ext uri="{FF2B5EF4-FFF2-40B4-BE49-F238E27FC236}">
                <a16:creationId xmlns:a16="http://schemas.microsoft.com/office/drawing/2014/main" id="{45B72F51-C42C-4F29-8F45-70636FA40224}"/>
              </a:ext>
            </a:extLst>
          </p:cNvPr>
          <p:cNvSpPr/>
          <p:nvPr/>
        </p:nvSpPr>
        <p:spPr>
          <a:xfrm flipH="1">
            <a:off x="1626531" y="1096983"/>
            <a:ext cx="993325" cy="993327"/>
          </a:xfrm>
          <a:prstGeom prst="ellipse">
            <a:avLst/>
          </a:prstGeom>
          <a:solidFill>
            <a:schemeClr val="bg1"/>
          </a:solidFill>
          <a:ln w="12700">
            <a:solidFill>
              <a:schemeClr val="tx2"/>
            </a:solidFill>
          </a:ln>
          <a:effectLst>
            <a:outerShdw blurRad="63500" sx="102000" sy="102000" algn="ctr" rotWithShape="0">
              <a:schemeClr val="bg1">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endParaRPr lang="en-US" sz="1400" err="1">
              <a:solidFill>
                <a:schemeClr val="tx1">
                  <a:lumMod val="85000"/>
                  <a:lumOff val="15000"/>
                </a:schemeClr>
              </a:solidFill>
              <a:latin typeface="Century Gothic" panose="020B0502020202020204" pitchFamily="34" charset="0"/>
            </a:endParaRPr>
          </a:p>
        </p:txBody>
      </p:sp>
      <p:pic>
        <p:nvPicPr>
          <p:cNvPr id="21" name="Graphic 20" descr="Gantt Chart">
            <a:extLst>
              <a:ext uri="{FF2B5EF4-FFF2-40B4-BE49-F238E27FC236}">
                <a16:creationId xmlns:a16="http://schemas.microsoft.com/office/drawing/2014/main" id="{84EF3242-39BF-4E7A-B426-4304C6634812}"/>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729093" y="1199547"/>
            <a:ext cx="788200" cy="788200"/>
          </a:xfrm>
          <a:prstGeom prst="rect">
            <a:avLst/>
          </a:prstGeom>
        </p:spPr>
      </p:pic>
      <p:sp>
        <p:nvSpPr>
          <p:cNvPr id="2" name="Oval 1">
            <a:extLst>
              <a:ext uri="{FF2B5EF4-FFF2-40B4-BE49-F238E27FC236}">
                <a16:creationId xmlns:a16="http://schemas.microsoft.com/office/drawing/2014/main" id="{E4D398F1-9637-4CD1-8CA2-7AC2042D7851}"/>
              </a:ext>
            </a:extLst>
          </p:cNvPr>
          <p:cNvSpPr/>
          <p:nvPr/>
        </p:nvSpPr>
        <p:spPr>
          <a:xfrm>
            <a:off x="5813001" y="3644008"/>
            <a:ext cx="554182" cy="554182"/>
          </a:xfrm>
          <a:prstGeom prst="ellipse">
            <a:avLst/>
          </a:prstGeom>
          <a:solidFill>
            <a:schemeClr val="bg2"/>
          </a:solidFill>
          <a:ln w="127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a:ln>
                <a:noFill/>
              </a:ln>
              <a:solidFill>
                <a:schemeClr val="bg1"/>
              </a:solidFill>
              <a:latin typeface="Century Gothic" panose="020B0502020202020204" pitchFamily="34" charset="0"/>
            </a:endParaRPr>
          </a:p>
        </p:txBody>
      </p:sp>
      <p:sp>
        <p:nvSpPr>
          <p:cNvPr id="29" name="Oval 28">
            <a:extLst>
              <a:ext uri="{FF2B5EF4-FFF2-40B4-BE49-F238E27FC236}">
                <a16:creationId xmlns:a16="http://schemas.microsoft.com/office/drawing/2014/main" id="{42900E50-CBC9-487D-A80E-6C2CE6CA7E6B}"/>
              </a:ext>
            </a:extLst>
          </p:cNvPr>
          <p:cNvSpPr/>
          <p:nvPr/>
        </p:nvSpPr>
        <p:spPr>
          <a:xfrm flipH="1">
            <a:off x="5593430" y="1096983"/>
            <a:ext cx="993325" cy="993327"/>
          </a:xfrm>
          <a:prstGeom prst="ellipse">
            <a:avLst/>
          </a:prstGeom>
          <a:solidFill>
            <a:schemeClr val="bg1"/>
          </a:solidFill>
          <a:ln w="12700">
            <a:solidFill>
              <a:schemeClr val="tx2"/>
            </a:solidFill>
          </a:ln>
          <a:effectLst>
            <a:outerShdw blurRad="63500" sx="102000" sy="102000" algn="ctr" rotWithShape="0">
              <a:schemeClr val="bg1">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endParaRPr lang="en-US" sz="1400" err="1">
              <a:solidFill>
                <a:schemeClr val="tx1">
                  <a:lumMod val="85000"/>
                  <a:lumOff val="15000"/>
                </a:schemeClr>
              </a:solidFill>
              <a:latin typeface="Century Gothic" panose="020B0502020202020204" pitchFamily="34" charset="0"/>
            </a:endParaRPr>
          </a:p>
        </p:txBody>
      </p:sp>
      <p:sp>
        <p:nvSpPr>
          <p:cNvPr id="9" name="Rectangle 8">
            <a:extLst>
              <a:ext uri="{FF2B5EF4-FFF2-40B4-BE49-F238E27FC236}">
                <a16:creationId xmlns:a16="http://schemas.microsoft.com/office/drawing/2014/main" id="{A9327297-D3E3-4AFC-A17F-90FE2CF50D2A}"/>
              </a:ext>
            </a:extLst>
          </p:cNvPr>
          <p:cNvSpPr>
            <a:spLocks/>
          </p:cNvSpPr>
          <p:nvPr/>
        </p:nvSpPr>
        <p:spPr>
          <a:xfrm>
            <a:off x="4333678" y="2256331"/>
            <a:ext cx="3512829" cy="646331"/>
          </a:xfrm>
          <a:prstGeom prst="rect">
            <a:avLst/>
          </a:prstGeom>
        </p:spPr>
        <p:txBody>
          <a:bodyPr wrap="square">
            <a:spAutoFit/>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kumimoji="0" lang="en-GB" sz="1800" b="1" i="0" u="none" strike="noStrike" kern="1200" cap="none" spc="0" normalizeH="0" baseline="0" noProof="0">
                <a:ln>
                  <a:noFill/>
                </a:ln>
                <a:solidFill>
                  <a:srgbClr val="004876"/>
                </a:solidFill>
                <a:effectLst/>
                <a:uLnTx/>
                <a:uFillTx/>
                <a:latin typeface="Century Gothic" panose="020B0502020202020204" pitchFamily="34" charset="0"/>
                <a:ea typeface="Inter" panose="020B0604020202020204" charset="0"/>
                <a:cs typeface="Inter" panose="020B0604020202020204" charset="0"/>
              </a:rPr>
              <a:t>Findings are industry-backed and owned</a:t>
            </a:r>
            <a:endParaRPr kumimoji="0" lang="en-GB" sz="1800" b="0" i="0" u="none" strike="noStrike" kern="1200" cap="none" spc="0" normalizeH="0" baseline="0" noProof="0">
              <a:ln>
                <a:noFill/>
              </a:ln>
              <a:solidFill>
                <a:srgbClr val="000000"/>
              </a:solidFill>
              <a:effectLst/>
              <a:uLnTx/>
              <a:uFillTx/>
              <a:latin typeface="Century Gothic" panose="020B0502020202020204" pitchFamily="34" charset="0"/>
              <a:ea typeface="Inter" panose="020B0604020202020204" charset="0"/>
              <a:cs typeface="Inter" panose="020B0604020202020204" charset="0"/>
            </a:endParaRPr>
          </a:p>
        </p:txBody>
      </p:sp>
      <p:sp>
        <p:nvSpPr>
          <p:cNvPr id="18" name="Rectangle 17">
            <a:extLst>
              <a:ext uri="{FF2B5EF4-FFF2-40B4-BE49-F238E27FC236}">
                <a16:creationId xmlns:a16="http://schemas.microsoft.com/office/drawing/2014/main" id="{CD0E155D-0579-4FAA-AB35-9779915C075B}"/>
              </a:ext>
            </a:extLst>
          </p:cNvPr>
          <p:cNvSpPr>
            <a:spLocks/>
          </p:cNvSpPr>
          <p:nvPr/>
        </p:nvSpPr>
        <p:spPr>
          <a:xfrm>
            <a:off x="4333678" y="4384299"/>
            <a:ext cx="3512829" cy="1200329"/>
          </a:xfrm>
          <a:prstGeom prst="rect">
            <a:avLst/>
          </a:prstGeom>
          <a:noFill/>
        </p:spPr>
        <p:txBody>
          <a:bodyPr wrap="square">
            <a:spAutoFit/>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kumimoji="0" lang="en-GB" sz="1800" b="1" i="0" u="none" strike="noStrike" kern="1200" cap="none" spc="0" normalizeH="0" baseline="0" noProof="0">
                <a:ln>
                  <a:noFill/>
                </a:ln>
                <a:solidFill>
                  <a:schemeClr val="bg1"/>
                </a:solidFill>
                <a:effectLst/>
                <a:uLnTx/>
                <a:uFillTx/>
                <a:latin typeface="Century Gothic" panose="020B0502020202020204" pitchFamily="34" charset="0"/>
                <a:ea typeface="Inter" panose="020B0604020202020204" charset="0"/>
                <a:cs typeface="Inter" panose="020B0604020202020204" charset="0"/>
              </a:rPr>
              <a:t>Policymakers are more receptive to recommendations backed by business leaders</a:t>
            </a:r>
          </a:p>
        </p:txBody>
      </p:sp>
      <p:pic>
        <p:nvPicPr>
          <p:cNvPr id="20" name="Graphic 19" descr="Users">
            <a:extLst>
              <a:ext uri="{FF2B5EF4-FFF2-40B4-BE49-F238E27FC236}">
                <a16:creationId xmlns:a16="http://schemas.microsoft.com/office/drawing/2014/main" id="{488CC754-F3EB-4C6C-B141-2636E95B3EA4}"/>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695992" y="1199547"/>
            <a:ext cx="788200" cy="788200"/>
          </a:xfrm>
          <a:prstGeom prst="rect">
            <a:avLst/>
          </a:prstGeom>
        </p:spPr>
      </p:pic>
      <p:pic>
        <p:nvPicPr>
          <p:cNvPr id="43" name="Graphic 42">
            <a:extLst>
              <a:ext uri="{FF2B5EF4-FFF2-40B4-BE49-F238E27FC236}">
                <a16:creationId xmlns:a16="http://schemas.microsoft.com/office/drawing/2014/main" id="{05A395C3-AA6F-4524-9959-CF7801E5D1F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5400000">
            <a:off x="5955740" y="3774472"/>
            <a:ext cx="268702" cy="342019"/>
          </a:xfrm>
          <a:prstGeom prst="rect">
            <a:avLst/>
          </a:prstGeom>
        </p:spPr>
      </p:pic>
      <p:sp>
        <p:nvSpPr>
          <p:cNvPr id="24" name="Title 1">
            <a:extLst>
              <a:ext uri="{FF2B5EF4-FFF2-40B4-BE49-F238E27FC236}">
                <a16:creationId xmlns:a16="http://schemas.microsoft.com/office/drawing/2014/main" id="{396E6F4E-7518-80BD-3423-ECC448DAD3E0}"/>
              </a:ext>
            </a:extLst>
          </p:cNvPr>
          <p:cNvSpPr>
            <a:spLocks noGrp="1"/>
          </p:cNvSpPr>
          <p:nvPr>
            <p:ph type="title"/>
          </p:nvPr>
        </p:nvSpPr>
        <p:spPr>
          <a:xfrm>
            <a:off x="366713" y="179388"/>
            <a:ext cx="11447462" cy="708025"/>
          </a:xfrm>
        </p:spPr>
        <p:txBody>
          <a:bodyPr vert="horz"/>
          <a:lstStyle/>
          <a:p>
            <a:r>
              <a:rPr lang="en-GB"/>
              <a:t>ETC Impact Model</a:t>
            </a:r>
          </a:p>
        </p:txBody>
      </p:sp>
    </p:spTree>
    <p:extLst>
      <p:ext uri="{BB962C8B-B14F-4D97-AF65-F5344CB8AC3E}">
        <p14:creationId xmlns:p14="http://schemas.microsoft.com/office/powerpoint/2010/main" val="246895348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9" name="Object 88" hidden="1">
            <a:extLst>
              <a:ext uri="{FF2B5EF4-FFF2-40B4-BE49-F238E27FC236}">
                <a16:creationId xmlns:a16="http://schemas.microsoft.com/office/drawing/2014/main" id="{FAE8DBEA-8B48-9494-D6E9-ADF7D539BF96}"/>
              </a:ext>
            </a:extLst>
          </p:cNvPr>
          <p:cNvGraphicFramePr>
            <a:graphicFrameLocks noChangeAspect="1"/>
          </p:cNvGraphicFramePr>
          <p:nvPr>
            <p:custDataLst>
              <p:tags r:id="rId1"/>
            </p:custDataLst>
            <p:extLst>
              <p:ext uri="{D42A27DB-BD31-4B8C-83A1-F6EECF244321}">
                <p14:modId xmlns:p14="http://schemas.microsoft.com/office/powerpoint/2010/main" val="31863162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89" name="Object 88" hidden="1">
                        <a:extLst>
                          <a:ext uri="{FF2B5EF4-FFF2-40B4-BE49-F238E27FC236}">
                            <a16:creationId xmlns:a16="http://schemas.microsoft.com/office/drawing/2014/main" id="{FAE8DBEA-8B48-9494-D6E9-ADF7D539BF9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Title 13">
            <a:extLst>
              <a:ext uri="{FF2B5EF4-FFF2-40B4-BE49-F238E27FC236}">
                <a16:creationId xmlns:a16="http://schemas.microsoft.com/office/drawing/2014/main" id="{00B4F3B3-EA08-014D-FCD3-D1F6BACE2C3E}"/>
              </a:ext>
            </a:extLst>
          </p:cNvPr>
          <p:cNvSpPr>
            <a:spLocks noGrp="1"/>
          </p:cNvSpPr>
          <p:nvPr>
            <p:ph type="title"/>
          </p:nvPr>
        </p:nvSpPr>
        <p:spPr>
          <a:xfrm>
            <a:off x="276065" y="115888"/>
            <a:ext cx="11446626" cy="708715"/>
          </a:xfrm>
        </p:spPr>
        <p:txBody>
          <a:bodyPr vert="horz"/>
          <a:lstStyle/>
          <a:p>
            <a:r>
              <a:rPr lang="en-GB">
                <a:latin typeface="Century Gothic"/>
                <a:ea typeface="Verdana"/>
                <a:cs typeface="Inter"/>
              </a:rPr>
              <a:t>ETC Publications – Timeline 2017-2024 </a:t>
            </a:r>
            <a:endParaRPr lang="en-GB"/>
          </a:p>
        </p:txBody>
      </p:sp>
      <p:cxnSp>
        <p:nvCxnSpPr>
          <p:cNvPr id="1025" name="Straight Connector 1024">
            <a:extLst>
              <a:ext uri="{FF2B5EF4-FFF2-40B4-BE49-F238E27FC236}">
                <a16:creationId xmlns:a16="http://schemas.microsoft.com/office/drawing/2014/main" id="{CE32F035-A9D6-D21D-CE68-1C760EBC8BA0}"/>
              </a:ext>
            </a:extLst>
          </p:cNvPr>
          <p:cNvCxnSpPr>
            <a:cxnSpLocks/>
          </p:cNvCxnSpPr>
          <p:nvPr/>
        </p:nvCxnSpPr>
        <p:spPr>
          <a:xfrm>
            <a:off x="366779" y="3443150"/>
            <a:ext cx="11481324" cy="19335"/>
          </a:xfrm>
          <a:prstGeom prst="line">
            <a:avLst/>
          </a:prstGeom>
          <a:ln w="76200" cap="flat" cmpd="sng" algn="ctr">
            <a:solidFill>
              <a:schemeClr val="accent1"/>
            </a:solidFill>
            <a:prstDash val="solid"/>
            <a:round/>
            <a:headEnd type="none" w="med" len="med"/>
            <a:tailEnd type="triangle" w="med" len="med"/>
          </a:ln>
        </p:spPr>
        <p:style>
          <a:lnRef idx="0">
            <a:scrgbClr r="0" g="0" b="0"/>
          </a:lnRef>
          <a:fillRef idx="0">
            <a:scrgbClr r="0" g="0" b="0"/>
          </a:fillRef>
          <a:effectRef idx="0">
            <a:scrgbClr r="0" g="0" b="0"/>
          </a:effectRef>
          <a:fontRef idx="minor">
            <a:schemeClr val="tx1"/>
          </a:fontRef>
        </p:style>
      </p:cxnSp>
      <p:sp>
        <p:nvSpPr>
          <p:cNvPr id="1029" name="Oval 1028">
            <a:extLst>
              <a:ext uri="{FF2B5EF4-FFF2-40B4-BE49-F238E27FC236}">
                <a16:creationId xmlns:a16="http://schemas.microsoft.com/office/drawing/2014/main" id="{4FDE9002-A4B8-EB43-B449-DA923B106317}"/>
              </a:ext>
            </a:extLst>
          </p:cNvPr>
          <p:cNvSpPr/>
          <p:nvPr/>
        </p:nvSpPr>
        <p:spPr>
          <a:xfrm>
            <a:off x="510736" y="3377920"/>
            <a:ext cx="126000" cy="126568"/>
          </a:xfrm>
          <a:prstGeom prst="ellipse">
            <a:avLst/>
          </a:prstGeom>
          <a:solidFill>
            <a:schemeClr val="accent1"/>
          </a:solidFill>
          <a:ln w="12700">
            <a:solidFill>
              <a:schemeClr val="bg1"/>
            </a:solidFill>
          </a:ln>
          <a:effectLst>
            <a:outerShdw blurRad="63500" sx="102000" sy="102000" algn="ctr" rotWithShape="0">
              <a:schemeClr val="bg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endParaRPr lang="en-GB" sz="1400">
              <a:ln>
                <a:noFill/>
              </a:ln>
              <a:solidFill>
                <a:schemeClr val="bg1"/>
              </a:solidFill>
              <a:latin typeface="Century Gothic" panose="020B0502020202020204" pitchFamily="34" charset="0"/>
            </a:endParaRPr>
          </a:p>
        </p:txBody>
      </p:sp>
      <p:sp>
        <p:nvSpPr>
          <p:cNvPr id="1031" name="Oval 1030">
            <a:extLst>
              <a:ext uri="{FF2B5EF4-FFF2-40B4-BE49-F238E27FC236}">
                <a16:creationId xmlns:a16="http://schemas.microsoft.com/office/drawing/2014/main" id="{0DBFE5C9-06BC-74FD-917C-236331DA7E90}"/>
              </a:ext>
            </a:extLst>
          </p:cNvPr>
          <p:cNvSpPr/>
          <p:nvPr/>
        </p:nvSpPr>
        <p:spPr>
          <a:xfrm>
            <a:off x="1778403" y="3377920"/>
            <a:ext cx="126000" cy="126568"/>
          </a:xfrm>
          <a:prstGeom prst="ellipse">
            <a:avLst/>
          </a:prstGeom>
          <a:solidFill>
            <a:schemeClr val="accent1"/>
          </a:solidFill>
          <a:ln w="12700">
            <a:solidFill>
              <a:schemeClr val="bg1"/>
            </a:solidFill>
          </a:ln>
          <a:effectLst>
            <a:outerShdw blurRad="63500" sx="102000" sy="102000" algn="ctr" rotWithShape="0">
              <a:schemeClr val="bg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endParaRPr lang="en-GB" sz="1400">
              <a:ln>
                <a:noFill/>
              </a:ln>
              <a:solidFill>
                <a:schemeClr val="bg1"/>
              </a:solidFill>
              <a:latin typeface="Century Gothic" panose="020B0502020202020204" pitchFamily="34" charset="0"/>
            </a:endParaRPr>
          </a:p>
        </p:txBody>
      </p:sp>
      <p:sp>
        <p:nvSpPr>
          <p:cNvPr id="1033" name="Oval 1032">
            <a:extLst>
              <a:ext uri="{FF2B5EF4-FFF2-40B4-BE49-F238E27FC236}">
                <a16:creationId xmlns:a16="http://schemas.microsoft.com/office/drawing/2014/main" id="{07679F97-D91A-6485-33A0-0C11DCB3128C}"/>
              </a:ext>
            </a:extLst>
          </p:cNvPr>
          <p:cNvSpPr/>
          <p:nvPr/>
        </p:nvSpPr>
        <p:spPr>
          <a:xfrm>
            <a:off x="2942011" y="3381317"/>
            <a:ext cx="126000" cy="126568"/>
          </a:xfrm>
          <a:prstGeom prst="ellipse">
            <a:avLst/>
          </a:prstGeom>
          <a:solidFill>
            <a:schemeClr val="accent1"/>
          </a:solidFill>
          <a:ln w="12700">
            <a:solidFill>
              <a:schemeClr val="bg1"/>
            </a:solidFill>
          </a:ln>
          <a:effectLst>
            <a:outerShdw blurRad="63500" sx="102000" sy="102000" algn="ctr" rotWithShape="0">
              <a:schemeClr val="bg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endParaRPr lang="en-GB" sz="1400">
              <a:ln>
                <a:noFill/>
              </a:ln>
              <a:solidFill>
                <a:schemeClr val="bg1"/>
              </a:solidFill>
              <a:latin typeface="Century Gothic" panose="020B0502020202020204" pitchFamily="34" charset="0"/>
            </a:endParaRPr>
          </a:p>
        </p:txBody>
      </p:sp>
      <p:sp>
        <p:nvSpPr>
          <p:cNvPr id="1035" name="Oval 1034">
            <a:extLst>
              <a:ext uri="{FF2B5EF4-FFF2-40B4-BE49-F238E27FC236}">
                <a16:creationId xmlns:a16="http://schemas.microsoft.com/office/drawing/2014/main" id="{CCCA9696-4050-FB2D-E719-02AC964C3F2D}"/>
              </a:ext>
            </a:extLst>
          </p:cNvPr>
          <p:cNvSpPr/>
          <p:nvPr/>
        </p:nvSpPr>
        <p:spPr>
          <a:xfrm>
            <a:off x="4139097" y="3390705"/>
            <a:ext cx="126000" cy="126568"/>
          </a:xfrm>
          <a:prstGeom prst="ellipse">
            <a:avLst/>
          </a:prstGeom>
          <a:solidFill>
            <a:schemeClr val="accent1"/>
          </a:solidFill>
          <a:ln w="12700">
            <a:solidFill>
              <a:schemeClr val="bg1"/>
            </a:solidFill>
          </a:ln>
          <a:effectLst>
            <a:outerShdw blurRad="63500" sx="102000" sy="102000" algn="ctr" rotWithShape="0">
              <a:schemeClr val="bg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endParaRPr lang="en-GB" sz="1400">
              <a:ln>
                <a:noFill/>
              </a:ln>
              <a:solidFill>
                <a:schemeClr val="bg1"/>
              </a:solidFill>
              <a:latin typeface="Century Gothic" panose="020B0502020202020204" pitchFamily="34" charset="0"/>
            </a:endParaRPr>
          </a:p>
        </p:txBody>
      </p:sp>
      <p:sp>
        <p:nvSpPr>
          <p:cNvPr id="1037" name="Oval 1036">
            <a:extLst>
              <a:ext uri="{FF2B5EF4-FFF2-40B4-BE49-F238E27FC236}">
                <a16:creationId xmlns:a16="http://schemas.microsoft.com/office/drawing/2014/main" id="{30B4AAD4-C6D8-8B42-35B3-F1651927BBEC}"/>
              </a:ext>
            </a:extLst>
          </p:cNvPr>
          <p:cNvSpPr/>
          <p:nvPr/>
        </p:nvSpPr>
        <p:spPr>
          <a:xfrm>
            <a:off x="5661147" y="3381317"/>
            <a:ext cx="126000" cy="126568"/>
          </a:xfrm>
          <a:prstGeom prst="ellipse">
            <a:avLst/>
          </a:prstGeom>
          <a:solidFill>
            <a:schemeClr val="accent1"/>
          </a:solidFill>
          <a:ln w="12700">
            <a:solidFill>
              <a:schemeClr val="bg1"/>
            </a:solidFill>
          </a:ln>
          <a:effectLst>
            <a:outerShdw blurRad="63500" sx="102000" sy="102000" algn="ctr" rotWithShape="0">
              <a:schemeClr val="bg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endParaRPr lang="en-GB" sz="1400">
              <a:ln>
                <a:noFill/>
              </a:ln>
              <a:solidFill>
                <a:schemeClr val="bg1"/>
              </a:solidFill>
              <a:latin typeface="Century Gothic" panose="020B0502020202020204" pitchFamily="34" charset="0"/>
            </a:endParaRPr>
          </a:p>
        </p:txBody>
      </p:sp>
      <p:pic>
        <p:nvPicPr>
          <p:cNvPr id="1041" name="Picture 1040" descr="Graphical user interface&#10;&#10;Description automatically generated">
            <a:extLst>
              <a:ext uri="{FF2B5EF4-FFF2-40B4-BE49-F238E27FC236}">
                <a16:creationId xmlns:a16="http://schemas.microsoft.com/office/drawing/2014/main" id="{A31A5C6D-C17C-FD4A-CC56-A4A6C6666054}"/>
              </a:ext>
            </a:extLst>
          </p:cNvPr>
          <p:cNvPicPr>
            <a:picLocks/>
          </p:cNvPicPr>
          <p:nvPr/>
        </p:nvPicPr>
        <p:blipFill>
          <a:blip r:embed="rId5">
            <a:extLst>
              <a:ext uri="{28A0092B-C50C-407E-A947-70E740481C1C}">
                <a14:useLocalDpi xmlns:a14="http://schemas.microsoft.com/office/drawing/2010/main" val="0"/>
              </a:ext>
            </a:extLst>
          </a:blip>
          <a:stretch>
            <a:fillRect/>
          </a:stretch>
        </p:blipFill>
        <p:spPr>
          <a:xfrm>
            <a:off x="329495" y="1044991"/>
            <a:ext cx="1205425" cy="1767301"/>
          </a:xfrm>
          <a:prstGeom prst="rect">
            <a:avLst/>
          </a:prstGeom>
          <a:effectLst>
            <a:outerShdw blurRad="50800" dist="38100" dir="2700000" algn="tl" rotWithShape="0">
              <a:prstClr val="black">
                <a:alpha val="40000"/>
              </a:prstClr>
            </a:outerShdw>
          </a:effectLst>
        </p:spPr>
      </p:pic>
      <p:pic>
        <p:nvPicPr>
          <p:cNvPr id="1043" name="Picture 1042" descr="A picture containing diagram&#10;&#10;Description automatically generated">
            <a:extLst>
              <a:ext uri="{FF2B5EF4-FFF2-40B4-BE49-F238E27FC236}">
                <a16:creationId xmlns:a16="http://schemas.microsoft.com/office/drawing/2014/main" id="{37C41EA0-3111-A704-B757-9CC791AD69F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23603" y="4281639"/>
            <a:ext cx="1311915" cy="1785105"/>
          </a:xfrm>
          <a:prstGeom prst="rect">
            <a:avLst/>
          </a:prstGeom>
          <a:effectLst>
            <a:outerShdw blurRad="50800" dist="38100" dir="2700000" algn="tl" rotWithShape="0">
              <a:prstClr val="black">
                <a:alpha val="40000"/>
              </a:prstClr>
            </a:outerShdw>
          </a:effectLst>
        </p:spPr>
      </p:pic>
      <p:pic>
        <p:nvPicPr>
          <p:cNvPr id="1045" name="Picture 1044" descr="A picture containing text, key&#10;&#10;Description automatically generated">
            <a:extLst>
              <a:ext uri="{FF2B5EF4-FFF2-40B4-BE49-F238E27FC236}">
                <a16:creationId xmlns:a16="http://schemas.microsoft.com/office/drawing/2014/main" id="{241A7501-4F22-31B1-F3E0-EF722CFFB88D}"/>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817938" y="4230809"/>
            <a:ext cx="1311912" cy="1748788"/>
          </a:xfrm>
          <a:prstGeom prst="rect">
            <a:avLst/>
          </a:prstGeom>
          <a:effectLst>
            <a:outerShdw blurRad="50800" dist="38100" dir="2700000" algn="tl" rotWithShape="0">
              <a:prstClr val="black">
                <a:alpha val="40000"/>
              </a:prstClr>
            </a:outerShdw>
          </a:effectLst>
        </p:spPr>
      </p:pic>
      <p:pic>
        <p:nvPicPr>
          <p:cNvPr id="1047" name="Picture 1046" descr="Diagram&#10;&#10;Description automatically generated">
            <a:extLst>
              <a:ext uri="{FF2B5EF4-FFF2-40B4-BE49-F238E27FC236}">
                <a16:creationId xmlns:a16="http://schemas.microsoft.com/office/drawing/2014/main" id="{18D3548F-88CF-B927-699E-0D89A536DD61}"/>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373892" y="4187366"/>
            <a:ext cx="1104362" cy="1543856"/>
          </a:xfrm>
          <a:prstGeom prst="rect">
            <a:avLst/>
          </a:prstGeom>
          <a:effectLst>
            <a:outerShdw blurRad="50800" dist="38100" dir="2700000" algn="tl" rotWithShape="0">
              <a:prstClr val="black">
                <a:alpha val="40000"/>
              </a:prstClr>
            </a:outerShdw>
          </a:effectLst>
        </p:spPr>
      </p:pic>
      <p:pic>
        <p:nvPicPr>
          <p:cNvPr id="1049" name="Picture 1048" descr="Diagram&#10;&#10;Description automatically generated">
            <a:extLst>
              <a:ext uri="{FF2B5EF4-FFF2-40B4-BE49-F238E27FC236}">
                <a16:creationId xmlns:a16="http://schemas.microsoft.com/office/drawing/2014/main" id="{F0315EDA-C876-27D2-7522-170F086A678C}"/>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797187" y="4711203"/>
            <a:ext cx="1104362" cy="1543856"/>
          </a:xfrm>
          <a:prstGeom prst="rect">
            <a:avLst/>
          </a:prstGeom>
          <a:ln w="3175">
            <a:noFill/>
          </a:ln>
          <a:effectLst>
            <a:outerShdw blurRad="50800" dist="38100" dir="2700000" algn="tl" rotWithShape="0">
              <a:prstClr val="black">
                <a:alpha val="40000"/>
              </a:prstClr>
            </a:outerShdw>
          </a:effectLst>
        </p:spPr>
      </p:pic>
      <p:pic>
        <p:nvPicPr>
          <p:cNvPr id="1051" name="Picture 1050" descr="A picture containing calendar&#10;&#10;Description automatically generated">
            <a:extLst>
              <a:ext uri="{FF2B5EF4-FFF2-40B4-BE49-F238E27FC236}">
                <a16:creationId xmlns:a16="http://schemas.microsoft.com/office/drawing/2014/main" id="{34A5CC54-978D-38FB-6ABE-84B3223D2AC4}"/>
              </a:ext>
            </a:extLst>
          </p:cNvPr>
          <p:cNvPicPr>
            <a:picLocks/>
          </p:cNvPicPr>
          <p:nvPr/>
        </p:nvPicPr>
        <p:blipFill>
          <a:blip r:embed="rId10">
            <a:extLst>
              <a:ext uri="{28A0092B-C50C-407E-A947-70E740481C1C}">
                <a14:useLocalDpi xmlns:a14="http://schemas.microsoft.com/office/drawing/2010/main" val="0"/>
              </a:ext>
            </a:extLst>
          </a:blip>
          <a:stretch>
            <a:fillRect/>
          </a:stretch>
        </p:blipFill>
        <p:spPr>
          <a:xfrm>
            <a:off x="5933959" y="943782"/>
            <a:ext cx="1262265" cy="1813651"/>
          </a:xfrm>
          <a:prstGeom prst="rect">
            <a:avLst/>
          </a:prstGeom>
          <a:effectLst>
            <a:outerShdw blurRad="50800" dist="38100" dir="2700000" algn="tl" rotWithShape="0">
              <a:prstClr val="black">
                <a:alpha val="40000"/>
              </a:prstClr>
            </a:outerShdw>
          </a:effectLst>
        </p:spPr>
      </p:pic>
      <p:pic>
        <p:nvPicPr>
          <p:cNvPr id="1053" name="Picture 2" descr="A picture containing text, outdoor&#10;&#10;Description automatically generated">
            <a:extLst>
              <a:ext uri="{FF2B5EF4-FFF2-40B4-BE49-F238E27FC236}">
                <a16:creationId xmlns:a16="http://schemas.microsoft.com/office/drawing/2014/main" id="{2000AE64-3277-EC26-77C5-932059D1074C}"/>
              </a:ext>
            </a:extLst>
          </p:cNvPr>
          <p:cNvPicPr>
            <a:picLocks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137061" y="1023493"/>
            <a:ext cx="1205426" cy="1813651"/>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055" name="Picture 4" descr="A picture containing text, tree, outdoor, sign&#10;&#10;Description automatically generated">
            <a:extLst>
              <a:ext uri="{FF2B5EF4-FFF2-40B4-BE49-F238E27FC236}">
                <a16:creationId xmlns:a16="http://schemas.microsoft.com/office/drawing/2014/main" id="{A2D033F6-630A-50ED-B2B2-50A67833CA09}"/>
              </a:ext>
            </a:extLst>
          </p:cNvPr>
          <p:cNvPicPr>
            <a:picLocks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749861" y="1026675"/>
            <a:ext cx="1228493" cy="1830415"/>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057" name="Picture 1056" descr="A picture containing diagram&#10;&#10;Description automatically generated">
            <a:extLst>
              <a:ext uri="{FF2B5EF4-FFF2-40B4-BE49-F238E27FC236}">
                <a16:creationId xmlns:a16="http://schemas.microsoft.com/office/drawing/2014/main" id="{267731C5-2B23-AAE2-BAC9-A5D15ACDD480}"/>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5406341" y="5200480"/>
            <a:ext cx="1104362" cy="1558234"/>
          </a:xfrm>
          <a:prstGeom prst="rect">
            <a:avLst/>
          </a:prstGeom>
          <a:effectLst>
            <a:outerShdw blurRad="50800" dist="38100" dir="2700000" algn="tl" rotWithShape="0">
              <a:prstClr val="black">
                <a:alpha val="40000"/>
              </a:prstClr>
            </a:outerShdw>
          </a:effectLst>
        </p:spPr>
      </p:pic>
      <p:pic>
        <p:nvPicPr>
          <p:cNvPr id="1059" name="Picture 1058" descr="Diagram&#10;&#10;Description automatically generated">
            <a:extLst>
              <a:ext uri="{FF2B5EF4-FFF2-40B4-BE49-F238E27FC236}">
                <a16:creationId xmlns:a16="http://schemas.microsoft.com/office/drawing/2014/main" id="{41713283-0894-E980-1CF2-3FA5505B4954}"/>
              </a:ext>
            </a:extLst>
          </p:cNvPr>
          <p:cNvPicPr>
            <a:picLocks/>
          </p:cNvPicPr>
          <p:nvPr/>
        </p:nvPicPr>
        <p:blipFill>
          <a:blip r:embed="rId14">
            <a:extLst>
              <a:ext uri="{28A0092B-C50C-407E-A947-70E740481C1C}">
                <a14:useLocalDpi xmlns:a14="http://schemas.microsoft.com/office/drawing/2010/main" val="0"/>
              </a:ext>
            </a:extLst>
          </a:blip>
          <a:stretch>
            <a:fillRect/>
          </a:stretch>
        </p:blipFill>
        <p:spPr>
          <a:xfrm>
            <a:off x="4518721" y="943307"/>
            <a:ext cx="1205426" cy="1813651"/>
          </a:xfrm>
          <a:prstGeom prst="rect">
            <a:avLst/>
          </a:prstGeom>
          <a:effectLst>
            <a:outerShdw blurRad="50800" dist="38100" dir="2700000" algn="tl" rotWithShape="0">
              <a:prstClr val="black">
                <a:alpha val="40000"/>
              </a:prstClr>
            </a:outerShdw>
          </a:effectLst>
        </p:spPr>
      </p:pic>
      <p:pic>
        <p:nvPicPr>
          <p:cNvPr id="1061" name="Picture 1060" descr="A picture containing text&#10;&#10;Description automatically generated">
            <a:extLst>
              <a:ext uri="{FF2B5EF4-FFF2-40B4-BE49-F238E27FC236}">
                <a16:creationId xmlns:a16="http://schemas.microsoft.com/office/drawing/2014/main" id="{3F352F2A-4AEC-9C3A-B9F2-36A46EDE4B46}"/>
              </a:ext>
            </a:extLst>
          </p:cNvPr>
          <p:cNvPicPr>
            <a:picLocks noChangeAspect="1"/>
          </p:cNvPicPr>
          <p:nvPr/>
        </p:nvPicPr>
        <p:blipFill>
          <a:blip r:embed="rId15"/>
          <a:stretch>
            <a:fillRect/>
          </a:stretch>
        </p:blipFill>
        <p:spPr>
          <a:xfrm>
            <a:off x="6671176" y="4679071"/>
            <a:ext cx="1315290" cy="1844810"/>
          </a:xfrm>
          <a:prstGeom prst="rect">
            <a:avLst/>
          </a:prstGeom>
          <a:ln w="3175">
            <a:noFill/>
          </a:ln>
          <a:effectLst>
            <a:outerShdw blurRad="50800" dist="38100" dir="2700000" algn="tl" rotWithShape="0">
              <a:prstClr val="black">
                <a:alpha val="40000"/>
              </a:prstClr>
            </a:outerShdw>
          </a:effectLst>
        </p:spPr>
      </p:pic>
      <p:sp>
        <p:nvSpPr>
          <p:cNvPr id="1063" name="TextBox 1062">
            <a:extLst>
              <a:ext uri="{FF2B5EF4-FFF2-40B4-BE49-F238E27FC236}">
                <a16:creationId xmlns:a16="http://schemas.microsoft.com/office/drawing/2014/main" id="{0D4C5F5A-CF95-290E-19A9-409C1D62023B}"/>
              </a:ext>
            </a:extLst>
          </p:cNvPr>
          <p:cNvSpPr txBox="1"/>
          <p:nvPr/>
        </p:nvSpPr>
        <p:spPr>
          <a:xfrm>
            <a:off x="353290" y="3639144"/>
            <a:ext cx="461666" cy="246221"/>
          </a:xfrm>
          <a:prstGeom prst="rect">
            <a:avLst/>
          </a:prstGeom>
          <a:noFill/>
        </p:spPr>
        <p:txBody>
          <a:bodyPr wrap="none" lIns="0" tIns="0" rIns="0" bIns="0" rtlCol="0">
            <a:spAutoFit/>
          </a:bodyPr>
          <a:lstStyle/>
          <a:p>
            <a:pPr algn="ctr"/>
            <a:r>
              <a:rPr lang="en-GB" sz="1600" b="1">
                <a:solidFill>
                  <a:schemeClr val="accent1"/>
                </a:solidFill>
                <a:latin typeface="Century Gothic" panose="020B0502020202020204" pitchFamily="34" charset="0"/>
              </a:rPr>
              <a:t>2017</a:t>
            </a:r>
            <a:endParaRPr lang="en-GB" sz="2400" b="1">
              <a:solidFill>
                <a:schemeClr val="accent1"/>
              </a:solidFill>
              <a:latin typeface="Century Gothic" panose="020B0502020202020204" pitchFamily="34" charset="0"/>
            </a:endParaRPr>
          </a:p>
        </p:txBody>
      </p:sp>
      <p:sp>
        <p:nvSpPr>
          <p:cNvPr id="1065" name="TextBox 1064">
            <a:extLst>
              <a:ext uri="{FF2B5EF4-FFF2-40B4-BE49-F238E27FC236}">
                <a16:creationId xmlns:a16="http://schemas.microsoft.com/office/drawing/2014/main" id="{EBD06B25-A5A2-F95A-0C4A-842CF74BA62B}"/>
              </a:ext>
            </a:extLst>
          </p:cNvPr>
          <p:cNvSpPr txBox="1"/>
          <p:nvPr/>
        </p:nvSpPr>
        <p:spPr>
          <a:xfrm>
            <a:off x="1607973" y="3639144"/>
            <a:ext cx="461666" cy="246221"/>
          </a:xfrm>
          <a:prstGeom prst="rect">
            <a:avLst/>
          </a:prstGeom>
          <a:noFill/>
        </p:spPr>
        <p:txBody>
          <a:bodyPr wrap="none" lIns="0" tIns="0" rIns="0" bIns="0" rtlCol="0">
            <a:spAutoFit/>
          </a:bodyPr>
          <a:lstStyle/>
          <a:p>
            <a:pPr algn="ctr"/>
            <a:r>
              <a:rPr lang="en-GB" sz="1600" b="1">
                <a:solidFill>
                  <a:schemeClr val="accent1"/>
                </a:solidFill>
                <a:latin typeface="Century Gothic" panose="020B0502020202020204" pitchFamily="34" charset="0"/>
              </a:rPr>
              <a:t>2018</a:t>
            </a:r>
            <a:endParaRPr lang="en-GB" sz="2400" b="1">
              <a:solidFill>
                <a:schemeClr val="accent1"/>
              </a:solidFill>
              <a:latin typeface="Century Gothic" panose="020B0502020202020204" pitchFamily="34" charset="0"/>
            </a:endParaRPr>
          </a:p>
        </p:txBody>
      </p:sp>
      <p:sp>
        <p:nvSpPr>
          <p:cNvPr id="1067" name="TextBox 1066">
            <a:extLst>
              <a:ext uri="{FF2B5EF4-FFF2-40B4-BE49-F238E27FC236}">
                <a16:creationId xmlns:a16="http://schemas.microsoft.com/office/drawing/2014/main" id="{3C138186-748F-8385-1E0A-DFD39CFD8812}"/>
              </a:ext>
            </a:extLst>
          </p:cNvPr>
          <p:cNvSpPr txBox="1"/>
          <p:nvPr/>
        </p:nvSpPr>
        <p:spPr>
          <a:xfrm>
            <a:off x="2787155" y="3639144"/>
            <a:ext cx="461666" cy="246221"/>
          </a:xfrm>
          <a:prstGeom prst="rect">
            <a:avLst/>
          </a:prstGeom>
          <a:noFill/>
        </p:spPr>
        <p:txBody>
          <a:bodyPr wrap="none" lIns="0" tIns="0" rIns="0" bIns="0" rtlCol="0">
            <a:spAutoFit/>
          </a:bodyPr>
          <a:lstStyle/>
          <a:p>
            <a:pPr algn="ctr"/>
            <a:r>
              <a:rPr lang="en-GB" sz="1600" b="1">
                <a:solidFill>
                  <a:schemeClr val="accent1"/>
                </a:solidFill>
                <a:latin typeface="Century Gothic" panose="020B0502020202020204" pitchFamily="34" charset="0"/>
              </a:rPr>
              <a:t>2019</a:t>
            </a:r>
            <a:endParaRPr lang="en-GB" sz="2400" b="1">
              <a:solidFill>
                <a:schemeClr val="accent1"/>
              </a:solidFill>
              <a:latin typeface="Century Gothic" panose="020B0502020202020204" pitchFamily="34" charset="0"/>
            </a:endParaRPr>
          </a:p>
        </p:txBody>
      </p:sp>
      <p:sp>
        <p:nvSpPr>
          <p:cNvPr id="1069" name="TextBox 1068">
            <a:extLst>
              <a:ext uri="{FF2B5EF4-FFF2-40B4-BE49-F238E27FC236}">
                <a16:creationId xmlns:a16="http://schemas.microsoft.com/office/drawing/2014/main" id="{F33E1982-FBF3-56D0-F792-E7D63F1D4152}"/>
              </a:ext>
            </a:extLst>
          </p:cNvPr>
          <p:cNvSpPr txBox="1"/>
          <p:nvPr/>
        </p:nvSpPr>
        <p:spPr>
          <a:xfrm>
            <a:off x="3974726" y="3639144"/>
            <a:ext cx="461666" cy="246221"/>
          </a:xfrm>
          <a:prstGeom prst="rect">
            <a:avLst/>
          </a:prstGeom>
          <a:noFill/>
        </p:spPr>
        <p:txBody>
          <a:bodyPr wrap="none" lIns="0" tIns="0" rIns="0" bIns="0" rtlCol="0">
            <a:spAutoFit/>
          </a:bodyPr>
          <a:lstStyle/>
          <a:p>
            <a:pPr algn="ctr"/>
            <a:r>
              <a:rPr lang="en-GB" sz="1600" b="1">
                <a:solidFill>
                  <a:schemeClr val="accent1"/>
                </a:solidFill>
                <a:latin typeface="Century Gothic" panose="020B0502020202020204" pitchFamily="34" charset="0"/>
              </a:rPr>
              <a:t>2020</a:t>
            </a:r>
            <a:endParaRPr lang="en-GB" sz="2400" b="1">
              <a:solidFill>
                <a:schemeClr val="accent1"/>
              </a:solidFill>
              <a:latin typeface="Century Gothic" panose="020B0502020202020204" pitchFamily="34" charset="0"/>
            </a:endParaRPr>
          </a:p>
        </p:txBody>
      </p:sp>
      <p:sp>
        <p:nvSpPr>
          <p:cNvPr id="1071" name="TextBox 1070">
            <a:extLst>
              <a:ext uri="{FF2B5EF4-FFF2-40B4-BE49-F238E27FC236}">
                <a16:creationId xmlns:a16="http://schemas.microsoft.com/office/drawing/2014/main" id="{9A694E6A-CA61-6153-A6D8-59EB81F8B679}"/>
              </a:ext>
            </a:extLst>
          </p:cNvPr>
          <p:cNvSpPr txBox="1"/>
          <p:nvPr/>
        </p:nvSpPr>
        <p:spPr>
          <a:xfrm>
            <a:off x="5506497" y="3607906"/>
            <a:ext cx="461666" cy="246221"/>
          </a:xfrm>
          <a:prstGeom prst="rect">
            <a:avLst/>
          </a:prstGeom>
          <a:noFill/>
        </p:spPr>
        <p:txBody>
          <a:bodyPr wrap="none" lIns="0" tIns="0" rIns="0" bIns="0" rtlCol="0">
            <a:spAutoFit/>
          </a:bodyPr>
          <a:lstStyle/>
          <a:p>
            <a:pPr algn="ctr"/>
            <a:r>
              <a:rPr lang="en-GB" sz="1600" b="1">
                <a:solidFill>
                  <a:schemeClr val="accent1"/>
                </a:solidFill>
                <a:latin typeface="Century Gothic" panose="020B0502020202020204" pitchFamily="34" charset="0"/>
              </a:rPr>
              <a:t>2021</a:t>
            </a:r>
            <a:endParaRPr lang="en-GB" sz="2400" b="1">
              <a:solidFill>
                <a:schemeClr val="accent1"/>
              </a:solidFill>
              <a:latin typeface="Century Gothic" panose="020B0502020202020204" pitchFamily="34" charset="0"/>
            </a:endParaRPr>
          </a:p>
        </p:txBody>
      </p:sp>
      <p:sp>
        <p:nvSpPr>
          <p:cNvPr id="1073" name="TextBox 1072">
            <a:extLst>
              <a:ext uri="{FF2B5EF4-FFF2-40B4-BE49-F238E27FC236}">
                <a16:creationId xmlns:a16="http://schemas.microsoft.com/office/drawing/2014/main" id="{BAF794D4-8DCB-05A9-491F-C9B44374C10F}"/>
              </a:ext>
            </a:extLst>
          </p:cNvPr>
          <p:cNvSpPr txBox="1"/>
          <p:nvPr/>
        </p:nvSpPr>
        <p:spPr>
          <a:xfrm>
            <a:off x="6782030" y="3622077"/>
            <a:ext cx="461666" cy="246221"/>
          </a:xfrm>
          <a:prstGeom prst="rect">
            <a:avLst/>
          </a:prstGeom>
          <a:noFill/>
        </p:spPr>
        <p:txBody>
          <a:bodyPr wrap="none" lIns="0" tIns="0" rIns="0" bIns="0" rtlCol="0">
            <a:spAutoFit/>
          </a:bodyPr>
          <a:lstStyle/>
          <a:p>
            <a:pPr algn="ctr"/>
            <a:r>
              <a:rPr lang="en-GB" sz="1600" b="1">
                <a:solidFill>
                  <a:schemeClr val="accent1"/>
                </a:solidFill>
                <a:latin typeface="Century Gothic" panose="020B0502020202020204" pitchFamily="34" charset="0"/>
              </a:rPr>
              <a:t>2022</a:t>
            </a:r>
            <a:endParaRPr lang="en-GB" sz="2400" b="1">
              <a:solidFill>
                <a:schemeClr val="accent1"/>
              </a:solidFill>
              <a:latin typeface="Century Gothic" panose="020B0502020202020204" pitchFamily="34" charset="0"/>
            </a:endParaRPr>
          </a:p>
        </p:txBody>
      </p:sp>
      <p:cxnSp>
        <p:nvCxnSpPr>
          <p:cNvPr id="1077" name="Straight Connector 98">
            <a:extLst>
              <a:ext uri="{FF2B5EF4-FFF2-40B4-BE49-F238E27FC236}">
                <a16:creationId xmlns:a16="http://schemas.microsoft.com/office/drawing/2014/main" id="{E7A3C99C-B972-5C69-9222-1008AC029D55}"/>
              </a:ext>
            </a:extLst>
          </p:cNvPr>
          <p:cNvCxnSpPr>
            <a:cxnSpLocks/>
          </p:cNvCxnSpPr>
          <p:nvPr/>
        </p:nvCxnSpPr>
        <p:spPr>
          <a:xfrm rot="5400000">
            <a:off x="6947109" y="3873603"/>
            <a:ext cx="1115656" cy="394350"/>
          </a:xfrm>
          <a:prstGeom prst="bentConnector3">
            <a:avLst>
              <a:gd name="adj1" fmla="val 50000"/>
            </a:avLst>
          </a:prstGeom>
          <a:ln>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079" name="Straight Connector 1078">
            <a:extLst>
              <a:ext uri="{FF2B5EF4-FFF2-40B4-BE49-F238E27FC236}">
                <a16:creationId xmlns:a16="http://schemas.microsoft.com/office/drawing/2014/main" id="{764CD7A7-AAF3-4CCD-BD69-17F7A9C64CCF}"/>
              </a:ext>
            </a:extLst>
          </p:cNvPr>
          <p:cNvCxnSpPr>
            <a:cxnSpLocks/>
          </p:cNvCxnSpPr>
          <p:nvPr/>
        </p:nvCxnSpPr>
        <p:spPr>
          <a:xfrm>
            <a:off x="1376212" y="2824369"/>
            <a:ext cx="0" cy="577870"/>
          </a:xfrm>
          <a:prstGeom prst="line">
            <a:avLst/>
          </a:prstGeom>
          <a:ln>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087" name="Connector: Elbow 1086">
            <a:extLst>
              <a:ext uri="{FF2B5EF4-FFF2-40B4-BE49-F238E27FC236}">
                <a16:creationId xmlns:a16="http://schemas.microsoft.com/office/drawing/2014/main" id="{DB117C72-D47D-9D4D-FB9F-A2623B8DD1F4}"/>
              </a:ext>
            </a:extLst>
          </p:cNvPr>
          <p:cNvCxnSpPr>
            <a:cxnSpLocks/>
          </p:cNvCxnSpPr>
          <p:nvPr/>
        </p:nvCxnSpPr>
        <p:spPr>
          <a:xfrm rot="16200000" flipV="1">
            <a:off x="3061483" y="2463640"/>
            <a:ext cx="529235" cy="1339405"/>
          </a:xfrm>
          <a:prstGeom prst="bentConnector3">
            <a:avLst>
              <a:gd name="adj1" fmla="val 50000"/>
            </a:avLst>
          </a:prstGeom>
          <a:ln>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091" name="TextBox 1090">
            <a:extLst>
              <a:ext uri="{FF2B5EF4-FFF2-40B4-BE49-F238E27FC236}">
                <a16:creationId xmlns:a16="http://schemas.microsoft.com/office/drawing/2014/main" id="{96416714-4701-D393-2F71-37E2FEA3A0F1}"/>
              </a:ext>
            </a:extLst>
          </p:cNvPr>
          <p:cNvSpPr txBox="1"/>
          <p:nvPr/>
        </p:nvSpPr>
        <p:spPr>
          <a:xfrm>
            <a:off x="8057011" y="3669436"/>
            <a:ext cx="461666" cy="246221"/>
          </a:xfrm>
          <a:prstGeom prst="rect">
            <a:avLst/>
          </a:prstGeom>
          <a:noFill/>
        </p:spPr>
        <p:txBody>
          <a:bodyPr wrap="none" lIns="0" tIns="0" rIns="0" bIns="0" rtlCol="0">
            <a:spAutoFit/>
          </a:bodyPr>
          <a:lstStyle/>
          <a:p>
            <a:pPr algn="ctr"/>
            <a:r>
              <a:rPr lang="en-GB" sz="1600" b="1">
                <a:solidFill>
                  <a:schemeClr val="accent1"/>
                </a:solidFill>
                <a:latin typeface="Century Gothic" panose="020B0502020202020204" pitchFamily="34" charset="0"/>
              </a:rPr>
              <a:t>2023</a:t>
            </a:r>
            <a:endParaRPr lang="en-GB" sz="2400" b="1">
              <a:solidFill>
                <a:schemeClr val="accent1"/>
              </a:solidFill>
              <a:latin typeface="Century Gothic" panose="020B0502020202020204" pitchFamily="34" charset="0"/>
            </a:endParaRPr>
          </a:p>
        </p:txBody>
      </p:sp>
      <p:sp>
        <p:nvSpPr>
          <p:cNvPr id="1093" name="Oval 1092">
            <a:extLst>
              <a:ext uri="{FF2B5EF4-FFF2-40B4-BE49-F238E27FC236}">
                <a16:creationId xmlns:a16="http://schemas.microsoft.com/office/drawing/2014/main" id="{9FE2F905-6887-D1F5-998B-5FE9FFF407CC}"/>
              </a:ext>
            </a:extLst>
          </p:cNvPr>
          <p:cNvSpPr/>
          <p:nvPr/>
        </p:nvSpPr>
        <p:spPr>
          <a:xfrm>
            <a:off x="8206137" y="3428214"/>
            <a:ext cx="126000" cy="126568"/>
          </a:xfrm>
          <a:prstGeom prst="ellipse">
            <a:avLst/>
          </a:prstGeom>
          <a:solidFill>
            <a:schemeClr val="accent1"/>
          </a:solidFill>
          <a:ln w="12700">
            <a:solidFill>
              <a:schemeClr val="bg1"/>
            </a:solidFill>
          </a:ln>
          <a:effectLst>
            <a:outerShdw blurRad="63500" sx="102000" sy="102000" algn="ctr" rotWithShape="0">
              <a:schemeClr val="bg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endParaRPr lang="en-GB" sz="1400">
              <a:ln>
                <a:noFill/>
              </a:ln>
              <a:solidFill>
                <a:schemeClr val="bg1"/>
              </a:solidFill>
              <a:latin typeface="Century Gothic" panose="020B0502020202020204" pitchFamily="34" charset="0"/>
            </a:endParaRPr>
          </a:p>
        </p:txBody>
      </p:sp>
      <p:cxnSp>
        <p:nvCxnSpPr>
          <p:cNvPr id="1095" name="Connector: Elbow 1094">
            <a:extLst>
              <a:ext uri="{FF2B5EF4-FFF2-40B4-BE49-F238E27FC236}">
                <a16:creationId xmlns:a16="http://schemas.microsoft.com/office/drawing/2014/main" id="{001122DE-8734-0068-0808-B15FBCA025C2}"/>
              </a:ext>
            </a:extLst>
          </p:cNvPr>
          <p:cNvCxnSpPr>
            <a:cxnSpLocks/>
          </p:cNvCxnSpPr>
          <p:nvPr/>
        </p:nvCxnSpPr>
        <p:spPr>
          <a:xfrm rot="5400000" flipH="1" flipV="1">
            <a:off x="1581571" y="3045581"/>
            <a:ext cx="707894" cy="1611107"/>
          </a:xfrm>
          <a:prstGeom prst="bentConnector3">
            <a:avLst>
              <a:gd name="adj1" fmla="val 36498"/>
            </a:avLst>
          </a:prstGeom>
          <a:ln>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097" name="Connector: Elbow 1096">
            <a:extLst>
              <a:ext uri="{FF2B5EF4-FFF2-40B4-BE49-F238E27FC236}">
                <a16:creationId xmlns:a16="http://schemas.microsoft.com/office/drawing/2014/main" id="{1A9D6AA2-2FFE-4BCF-FEE6-B9948931CB63}"/>
              </a:ext>
            </a:extLst>
          </p:cNvPr>
          <p:cNvCxnSpPr>
            <a:cxnSpLocks/>
          </p:cNvCxnSpPr>
          <p:nvPr/>
        </p:nvCxnSpPr>
        <p:spPr>
          <a:xfrm rot="5400000" flipH="1" flipV="1">
            <a:off x="4279365" y="3071702"/>
            <a:ext cx="707894" cy="1611107"/>
          </a:xfrm>
          <a:prstGeom prst="bentConnector3">
            <a:avLst>
              <a:gd name="adj1" fmla="val 36498"/>
            </a:avLst>
          </a:prstGeom>
          <a:ln>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pic>
        <p:nvPicPr>
          <p:cNvPr id="1103" name="Picture 1102" descr="A picture containing text, screenshot, windmill&#10;&#10;Description automatically generated">
            <a:extLst>
              <a:ext uri="{FF2B5EF4-FFF2-40B4-BE49-F238E27FC236}">
                <a16:creationId xmlns:a16="http://schemas.microsoft.com/office/drawing/2014/main" id="{9C17D32B-A8A2-C93F-81AC-92481245586C}"/>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8267608" y="4289395"/>
            <a:ext cx="1205426" cy="1769595"/>
          </a:xfrm>
          <a:prstGeom prst="rect">
            <a:avLst/>
          </a:prstGeom>
          <a:effectLst>
            <a:outerShdw blurRad="50800" dist="38100" dir="2700000" algn="tl" rotWithShape="0">
              <a:prstClr val="black">
                <a:alpha val="40000"/>
              </a:prstClr>
            </a:outerShdw>
          </a:effectLst>
        </p:spPr>
      </p:pic>
      <p:pic>
        <p:nvPicPr>
          <p:cNvPr id="1105" name="Picture 1104" descr="A screenshot of a cell phone&#10;&#10;Description automatically generated with low confidence">
            <a:extLst>
              <a:ext uri="{FF2B5EF4-FFF2-40B4-BE49-F238E27FC236}">
                <a16:creationId xmlns:a16="http://schemas.microsoft.com/office/drawing/2014/main" id="{7CDDBDD3-870F-3FEE-31C8-C77B7242C7BE}"/>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9082545" y="4978712"/>
            <a:ext cx="1236666" cy="1748829"/>
          </a:xfrm>
          <a:prstGeom prst="rect">
            <a:avLst/>
          </a:prstGeom>
          <a:effectLst>
            <a:outerShdw blurRad="50800" dist="38100" dir="2700000" algn="tl" rotWithShape="0">
              <a:prstClr val="black">
                <a:alpha val="40000"/>
              </a:prstClr>
            </a:outerShdw>
          </a:effectLst>
        </p:spPr>
      </p:pic>
      <p:cxnSp>
        <p:nvCxnSpPr>
          <p:cNvPr id="1109" name="Connector: Elbow 1108">
            <a:extLst>
              <a:ext uri="{FF2B5EF4-FFF2-40B4-BE49-F238E27FC236}">
                <a16:creationId xmlns:a16="http://schemas.microsoft.com/office/drawing/2014/main" id="{47A3B4AA-A4BC-73D2-5D4D-812E1514F63B}"/>
              </a:ext>
            </a:extLst>
          </p:cNvPr>
          <p:cNvCxnSpPr>
            <a:cxnSpLocks/>
          </p:cNvCxnSpPr>
          <p:nvPr/>
        </p:nvCxnSpPr>
        <p:spPr>
          <a:xfrm rot="16200000" flipV="1">
            <a:off x="8508969" y="3661010"/>
            <a:ext cx="734052" cy="432155"/>
          </a:xfrm>
          <a:prstGeom prst="bentConnector3">
            <a:avLst>
              <a:gd name="adj1" fmla="val 50000"/>
            </a:avLst>
          </a:prstGeom>
          <a:ln>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pic>
        <p:nvPicPr>
          <p:cNvPr id="2" name="Picture 1" descr="A picture containing text, screenshot, font, graphic design&#10;&#10;Description automatically generated">
            <a:extLst>
              <a:ext uri="{FF2B5EF4-FFF2-40B4-BE49-F238E27FC236}">
                <a16:creationId xmlns:a16="http://schemas.microsoft.com/office/drawing/2014/main" id="{98B317A1-AF89-C9A1-DA9E-06851B0AB86D}"/>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7325357" y="946012"/>
            <a:ext cx="1205426" cy="1813651"/>
          </a:xfrm>
          <a:prstGeom prst="rect">
            <a:avLst/>
          </a:prstGeom>
        </p:spPr>
      </p:pic>
      <p:pic>
        <p:nvPicPr>
          <p:cNvPr id="24" name="Picture 23" descr="A cover of a book&#10;&#10;Description automatically generated">
            <a:extLst>
              <a:ext uri="{FF2B5EF4-FFF2-40B4-BE49-F238E27FC236}">
                <a16:creationId xmlns:a16="http://schemas.microsoft.com/office/drawing/2014/main" id="{5CA763C1-7A86-A591-7F9D-70FA15798044}"/>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8787696" y="934021"/>
            <a:ext cx="1357910" cy="1813651"/>
          </a:xfrm>
          <a:prstGeom prst="rect">
            <a:avLst/>
          </a:prstGeom>
        </p:spPr>
      </p:pic>
      <p:pic>
        <p:nvPicPr>
          <p:cNvPr id="26" name="Picture 25" descr="A screenshot of a cell phone&#10;&#10;Description automatically generated">
            <a:extLst>
              <a:ext uri="{FF2B5EF4-FFF2-40B4-BE49-F238E27FC236}">
                <a16:creationId xmlns:a16="http://schemas.microsoft.com/office/drawing/2014/main" id="{9805824B-9B40-D5B4-679B-DCB3766634D6}"/>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10321839" y="941170"/>
            <a:ext cx="1317283" cy="1813651"/>
          </a:xfrm>
          <a:prstGeom prst="rect">
            <a:avLst/>
          </a:prstGeom>
        </p:spPr>
      </p:pic>
      <p:sp>
        <p:nvSpPr>
          <p:cNvPr id="20" name="Oval 19">
            <a:extLst>
              <a:ext uri="{FF2B5EF4-FFF2-40B4-BE49-F238E27FC236}">
                <a16:creationId xmlns:a16="http://schemas.microsoft.com/office/drawing/2014/main" id="{53B415E7-FD87-BC29-2E34-A86F74D70E20}"/>
              </a:ext>
            </a:extLst>
          </p:cNvPr>
          <p:cNvSpPr/>
          <p:nvPr/>
        </p:nvSpPr>
        <p:spPr>
          <a:xfrm>
            <a:off x="6866090" y="3363695"/>
            <a:ext cx="126000" cy="126568"/>
          </a:xfrm>
          <a:prstGeom prst="ellipse">
            <a:avLst/>
          </a:prstGeom>
          <a:solidFill>
            <a:schemeClr val="accent1"/>
          </a:solidFill>
          <a:ln w="12700">
            <a:solidFill>
              <a:schemeClr val="bg1"/>
            </a:solidFill>
          </a:ln>
          <a:effectLst>
            <a:outerShdw blurRad="63500" sx="102000" sy="102000" algn="ctr" rotWithShape="0">
              <a:schemeClr val="bg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endParaRPr lang="en-GB" sz="1400">
              <a:ln>
                <a:noFill/>
              </a:ln>
              <a:solidFill>
                <a:schemeClr val="bg1"/>
              </a:solidFill>
              <a:latin typeface="Century Gothic" panose="020B0502020202020204" pitchFamily="34" charset="0"/>
            </a:endParaRPr>
          </a:p>
        </p:txBody>
      </p:sp>
      <p:cxnSp>
        <p:nvCxnSpPr>
          <p:cNvPr id="21" name="Connector: Elbow 20">
            <a:extLst>
              <a:ext uri="{FF2B5EF4-FFF2-40B4-BE49-F238E27FC236}">
                <a16:creationId xmlns:a16="http://schemas.microsoft.com/office/drawing/2014/main" id="{54DBE1D0-5F30-C9DF-6C3F-DA4B405F302D}"/>
              </a:ext>
            </a:extLst>
          </p:cNvPr>
          <p:cNvCxnSpPr>
            <a:cxnSpLocks/>
          </p:cNvCxnSpPr>
          <p:nvPr/>
        </p:nvCxnSpPr>
        <p:spPr>
          <a:xfrm rot="16200000" flipV="1">
            <a:off x="6695453" y="2893982"/>
            <a:ext cx="593272" cy="399389"/>
          </a:xfrm>
          <a:prstGeom prst="bentConnector3">
            <a:avLst>
              <a:gd name="adj1" fmla="val 50000"/>
            </a:avLst>
          </a:prstGeom>
          <a:ln>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22" name="Connector: Elbow 21">
            <a:extLst>
              <a:ext uri="{FF2B5EF4-FFF2-40B4-BE49-F238E27FC236}">
                <a16:creationId xmlns:a16="http://schemas.microsoft.com/office/drawing/2014/main" id="{84FB364F-8B5C-9983-DDCD-47391971BB40}"/>
              </a:ext>
            </a:extLst>
          </p:cNvPr>
          <p:cNvCxnSpPr>
            <a:cxnSpLocks/>
          </p:cNvCxnSpPr>
          <p:nvPr/>
        </p:nvCxnSpPr>
        <p:spPr>
          <a:xfrm rot="16200000" flipV="1">
            <a:off x="5483932" y="2462432"/>
            <a:ext cx="593272" cy="1253456"/>
          </a:xfrm>
          <a:prstGeom prst="bentConnector3">
            <a:avLst>
              <a:gd name="adj1" fmla="val 50000"/>
            </a:avLst>
          </a:prstGeom>
          <a:ln>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28" name="Straight Connector 98">
            <a:extLst>
              <a:ext uri="{FF2B5EF4-FFF2-40B4-BE49-F238E27FC236}">
                <a16:creationId xmlns:a16="http://schemas.microsoft.com/office/drawing/2014/main" id="{92596589-6F4A-60D6-3291-71667A1DFB4E}"/>
              </a:ext>
            </a:extLst>
          </p:cNvPr>
          <p:cNvCxnSpPr>
            <a:cxnSpLocks/>
          </p:cNvCxnSpPr>
          <p:nvPr/>
        </p:nvCxnSpPr>
        <p:spPr>
          <a:xfrm rot="5400000">
            <a:off x="5343972" y="3801215"/>
            <a:ext cx="1258387" cy="561592"/>
          </a:xfrm>
          <a:prstGeom prst="bentConnector3">
            <a:avLst>
              <a:gd name="adj1" fmla="val 50000"/>
            </a:avLst>
          </a:prstGeom>
          <a:ln>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33" name="Connector: Elbow 32">
            <a:extLst>
              <a:ext uri="{FF2B5EF4-FFF2-40B4-BE49-F238E27FC236}">
                <a16:creationId xmlns:a16="http://schemas.microsoft.com/office/drawing/2014/main" id="{E5F16267-C975-910C-87AF-8C55298E0E09}"/>
              </a:ext>
            </a:extLst>
          </p:cNvPr>
          <p:cNvCxnSpPr>
            <a:cxnSpLocks/>
          </p:cNvCxnSpPr>
          <p:nvPr/>
        </p:nvCxnSpPr>
        <p:spPr>
          <a:xfrm rot="5400000">
            <a:off x="9006278" y="4098145"/>
            <a:ext cx="1488477" cy="338804"/>
          </a:xfrm>
          <a:prstGeom prst="bentConnector3">
            <a:avLst>
              <a:gd name="adj1" fmla="val 50000"/>
            </a:avLst>
          </a:prstGeom>
          <a:ln>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40" name="Connector: Elbow 39">
            <a:extLst>
              <a:ext uri="{FF2B5EF4-FFF2-40B4-BE49-F238E27FC236}">
                <a16:creationId xmlns:a16="http://schemas.microsoft.com/office/drawing/2014/main" id="{944B9028-53A2-A496-C5AB-424D52061199}"/>
              </a:ext>
            </a:extLst>
          </p:cNvPr>
          <p:cNvCxnSpPr>
            <a:cxnSpLocks/>
          </p:cNvCxnSpPr>
          <p:nvPr/>
        </p:nvCxnSpPr>
        <p:spPr>
          <a:xfrm rot="16200000" flipV="1">
            <a:off x="4039030" y="2957158"/>
            <a:ext cx="582015" cy="381879"/>
          </a:xfrm>
          <a:prstGeom prst="bentConnector3">
            <a:avLst>
              <a:gd name="adj1" fmla="val 50000"/>
            </a:avLst>
          </a:prstGeom>
          <a:ln>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83D0BAEB-FE76-86A8-2ABC-EEC52BA27C99}"/>
              </a:ext>
            </a:extLst>
          </p:cNvPr>
          <p:cNvCxnSpPr>
            <a:cxnSpLocks/>
          </p:cNvCxnSpPr>
          <p:nvPr/>
        </p:nvCxnSpPr>
        <p:spPr>
          <a:xfrm flipV="1">
            <a:off x="8057011" y="2796076"/>
            <a:ext cx="0" cy="589720"/>
          </a:xfrm>
          <a:prstGeom prst="line">
            <a:avLst/>
          </a:prstGeom>
          <a:ln>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51" name="TextBox 50">
            <a:extLst>
              <a:ext uri="{FF2B5EF4-FFF2-40B4-BE49-F238E27FC236}">
                <a16:creationId xmlns:a16="http://schemas.microsoft.com/office/drawing/2014/main" id="{32D14B1F-0235-E7A3-CF3F-65118A7C81F3}"/>
              </a:ext>
            </a:extLst>
          </p:cNvPr>
          <p:cNvSpPr txBox="1"/>
          <p:nvPr/>
        </p:nvSpPr>
        <p:spPr>
          <a:xfrm>
            <a:off x="10971075" y="3677247"/>
            <a:ext cx="461666" cy="246221"/>
          </a:xfrm>
          <a:prstGeom prst="rect">
            <a:avLst/>
          </a:prstGeom>
          <a:noFill/>
        </p:spPr>
        <p:txBody>
          <a:bodyPr wrap="none" lIns="0" tIns="0" rIns="0" bIns="0" rtlCol="0">
            <a:spAutoFit/>
          </a:bodyPr>
          <a:lstStyle/>
          <a:p>
            <a:pPr algn="ctr"/>
            <a:r>
              <a:rPr lang="en-GB" sz="1600" b="1">
                <a:solidFill>
                  <a:schemeClr val="accent1"/>
                </a:solidFill>
                <a:latin typeface="Century Gothic" panose="020B0502020202020204" pitchFamily="34" charset="0"/>
              </a:rPr>
              <a:t>2024</a:t>
            </a:r>
            <a:endParaRPr lang="en-GB" sz="2400" b="1">
              <a:solidFill>
                <a:schemeClr val="accent1"/>
              </a:solidFill>
              <a:latin typeface="Century Gothic" panose="020B0502020202020204" pitchFamily="34" charset="0"/>
            </a:endParaRPr>
          </a:p>
        </p:txBody>
      </p:sp>
      <p:sp>
        <p:nvSpPr>
          <p:cNvPr id="52" name="Oval 51">
            <a:extLst>
              <a:ext uri="{FF2B5EF4-FFF2-40B4-BE49-F238E27FC236}">
                <a16:creationId xmlns:a16="http://schemas.microsoft.com/office/drawing/2014/main" id="{C1B5FCAF-8FC5-65A8-8454-ADBAC6AF544E}"/>
              </a:ext>
            </a:extLst>
          </p:cNvPr>
          <p:cNvSpPr/>
          <p:nvPr/>
        </p:nvSpPr>
        <p:spPr>
          <a:xfrm>
            <a:off x="11120201" y="3436025"/>
            <a:ext cx="126000" cy="126568"/>
          </a:xfrm>
          <a:prstGeom prst="ellipse">
            <a:avLst/>
          </a:prstGeom>
          <a:solidFill>
            <a:schemeClr val="accent1"/>
          </a:solidFill>
          <a:ln w="12700">
            <a:solidFill>
              <a:schemeClr val="bg1"/>
            </a:solidFill>
          </a:ln>
          <a:effectLst>
            <a:outerShdw blurRad="63500" sx="102000" sy="102000" algn="ctr" rotWithShape="0">
              <a:schemeClr val="bg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endParaRPr lang="en-GB" sz="1400">
              <a:ln>
                <a:noFill/>
              </a:ln>
              <a:solidFill>
                <a:schemeClr val="bg1"/>
              </a:solidFill>
              <a:latin typeface="Century Gothic" panose="020B0502020202020204" pitchFamily="34" charset="0"/>
            </a:endParaRPr>
          </a:p>
        </p:txBody>
      </p:sp>
      <p:cxnSp>
        <p:nvCxnSpPr>
          <p:cNvPr id="53" name="Connector: Elbow 52">
            <a:extLst>
              <a:ext uri="{FF2B5EF4-FFF2-40B4-BE49-F238E27FC236}">
                <a16:creationId xmlns:a16="http://schemas.microsoft.com/office/drawing/2014/main" id="{4BBC1844-CABA-FEFF-CC6D-101696210DFB}"/>
              </a:ext>
            </a:extLst>
          </p:cNvPr>
          <p:cNvCxnSpPr>
            <a:cxnSpLocks/>
          </p:cNvCxnSpPr>
          <p:nvPr/>
        </p:nvCxnSpPr>
        <p:spPr>
          <a:xfrm rot="16200000" flipV="1">
            <a:off x="9504252" y="2755120"/>
            <a:ext cx="687633" cy="637255"/>
          </a:xfrm>
          <a:prstGeom prst="bentConnector3">
            <a:avLst>
              <a:gd name="adj1" fmla="val 50000"/>
            </a:avLst>
          </a:prstGeom>
          <a:ln>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B532C95F-2FCA-0CD0-9A19-951AA40793EA}"/>
              </a:ext>
            </a:extLst>
          </p:cNvPr>
          <p:cNvCxnSpPr>
            <a:cxnSpLocks/>
          </p:cNvCxnSpPr>
          <p:nvPr/>
        </p:nvCxnSpPr>
        <p:spPr>
          <a:xfrm flipV="1">
            <a:off x="10960641" y="2778287"/>
            <a:ext cx="0" cy="648692"/>
          </a:xfrm>
          <a:prstGeom prst="line">
            <a:avLst/>
          </a:prstGeom>
          <a:ln>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pic>
        <p:nvPicPr>
          <p:cNvPr id="58" name="Picture 57" descr="A screenshot of a cell phone&#10;&#10;Description automatically generated">
            <a:extLst>
              <a:ext uri="{FF2B5EF4-FFF2-40B4-BE49-F238E27FC236}">
                <a16:creationId xmlns:a16="http://schemas.microsoft.com/office/drawing/2014/main" id="{A1BD9561-4DDE-4FC6-7E51-C7A66D2F5F4D}"/>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10613380" y="4478232"/>
            <a:ext cx="1265642" cy="1790272"/>
          </a:xfrm>
          <a:prstGeom prst="rect">
            <a:avLst/>
          </a:prstGeom>
        </p:spPr>
      </p:pic>
      <p:cxnSp>
        <p:nvCxnSpPr>
          <p:cNvPr id="59" name="Connector: Elbow 58">
            <a:extLst>
              <a:ext uri="{FF2B5EF4-FFF2-40B4-BE49-F238E27FC236}">
                <a16:creationId xmlns:a16="http://schemas.microsoft.com/office/drawing/2014/main" id="{ADA10C93-E73B-607D-9EEA-50A836A81B4C}"/>
              </a:ext>
            </a:extLst>
          </p:cNvPr>
          <p:cNvCxnSpPr>
            <a:cxnSpLocks/>
            <a:endCxn id="58" idx="0"/>
          </p:cNvCxnSpPr>
          <p:nvPr/>
        </p:nvCxnSpPr>
        <p:spPr>
          <a:xfrm rot="5400000">
            <a:off x="10896214" y="3847175"/>
            <a:ext cx="981045" cy="281069"/>
          </a:xfrm>
          <a:prstGeom prst="bentConnector3">
            <a:avLst>
              <a:gd name="adj1" fmla="val 50000"/>
            </a:avLst>
          </a:prstGeom>
          <a:ln>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2806642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B2CB2BE0-16A8-E779-224B-0C7593BF281C}"/>
              </a:ext>
            </a:extLst>
          </p:cNvPr>
          <p:cNvGraphicFramePr>
            <a:graphicFrameLocks noChangeAspect="1"/>
          </p:cNvGraphicFramePr>
          <p:nvPr>
            <p:custDataLst>
              <p:tags r:id="rId1"/>
            </p:custDataLst>
            <p:extLst>
              <p:ext uri="{D42A27DB-BD31-4B8C-83A1-F6EECF244321}">
                <p14:modId xmlns:p14="http://schemas.microsoft.com/office/powerpoint/2010/main" val="13519546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9" name="think-cell data - do not delete" hidden="1">
                        <a:extLst>
                          <a:ext uri="{FF2B5EF4-FFF2-40B4-BE49-F238E27FC236}">
                            <a16:creationId xmlns:a16="http://schemas.microsoft.com/office/drawing/2014/main" id="{B2CB2BE0-16A8-E779-224B-0C7593BF28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2210318-F5A5-C801-919E-9F76E39B0714}"/>
              </a:ext>
            </a:extLst>
          </p:cNvPr>
          <p:cNvSpPr>
            <a:spLocks noGrp="1"/>
          </p:cNvSpPr>
          <p:nvPr>
            <p:ph type="title"/>
          </p:nvPr>
        </p:nvSpPr>
        <p:spPr>
          <a:xfrm>
            <a:off x="5019847" y="179388"/>
            <a:ext cx="6800850" cy="708715"/>
          </a:xfrm>
        </p:spPr>
        <p:txBody>
          <a:bodyPr vert="horz"/>
          <a:lstStyle/>
          <a:p>
            <a:r>
              <a:rPr lang="en-GB"/>
              <a:t>Insights Briefing Key Messages</a:t>
            </a:r>
          </a:p>
        </p:txBody>
      </p:sp>
      <p:sp>
        <p:nvSpPr>
          <p:cNvPr id="3" name="Slide Number Placeholder 2">
            <a:extLst>
              <a:ext uri="{FF2B5EF4-FFF2-40B4-BE49-F238E27FC236}">
                <a16:creationId xmlns:a16="http://schemas.microsoft.com/office/drawing/2014/main" id="{B5EBCC83-65DA-52B2-F7BC-1614B4EC98F5}"/>
              </a:ext>
            </a:extLst>
          </p:cNvPr>
          <p:cNvSpPr>
            <a:spLocks noGrp="1"/>
          </p:cNvSpPr>
          <p:nvPr>
            <p:ph type="sldNum" sz="quarter" idx="11"/>
          </p:nvPr>
        </p:nvSpPr>
        <p:spPr/>
        <p:txBody>
          <a:bodyPr/>
          <a:lstStyle/>
          <a:p>
            <a:fld id="{DDF71BC8-773F-4A54-968E-450E29C75AD4}" type="slidenum">
              <a:rPr lang="en-GB" smtClean="0"/>
              <a:pPr/>
              <a:t>5</a:t>
            </a:fld>
            <a:endParaRPr lang="en-GB"/>
          </a:p>
        </p:txBody>
      </p:sp>
      <p:pic>
        <p:nvPicPr>
          <p:cNvPr id="7" name="Picture 6">
            <a:extLst>
              <a:ext uri="{FF2B5EF4-FFF2-40B4-BE49-F238E27FC236}">
                <a16:creationId xmlns:a16="http://schemas.microsoft.com/office/drawing/2014/main" id="{49817C8E-D8E1-07B5-1317-6DF62A345963}"/>
              </a:ext>
            </a:extLst>
          </p:cNvPr>
          <p:cNvPicPr>
            <a:picLocks noChangeAspect="1"/>
          </p:cNvPicPr>
          <p:nvPr/>
        </p:nvPicPr>
        <p:blipFill>
          <a:blip r:embed="rId5"/>
          <a:stretch>
            <a:fillRect/>
          </a:stretch>
        </p:blipFill>
        <p:spPr>
          <a:xfrm>
            <a:off x="0" y="0"/>
            <a:ext cx="4844792" cy="6858000"/>
          </a:xfrm>
          <a:prstGeom prst="rect">
            <a:avLst/>
          </a:prstGeom>
        </p:spPr>
      </p:pic>
      <p:sp>
        <p:nvSpPr>
          <p:cNvPr id="8" name="TextBox 7">
            <a:extLst>
              <a:ext uri="{FF2B5EF4-FFF2-40B4-BE49-F238E27FC236}">
                <a16:creationId xmlns:a16="http://schemas.microsoft.com/office/drawing/2014/main" id="{BD97A9FF-5A15-E5C1-7EE5-30258AE69AD3}"/>
              </a:ext>
            </a:extLst>
          </p:cNvPr>
          <p:cNvSpPr txBox="1"/>
          <p:nvPr/>
        </p:nvSpPr>
        <p:spPr>
          <a:xfrm>
            <a:off x="5019847" y="1951673"/>
            <a:ext cx="6800850" cy="2954655"/>
          </a:xfrm>
          <a:prstGeom prst="rect">
            <a:avLst/>
          </a:prstGeom>
          <a:noFill/>
        </p:spPr>
        <p:txBody>
          <a:bodyPr wrap="square" lIns="0" tIns="0" rIns="0" bIns="0" rtlCol="0">
            <a:spAutoFit/>
          </a:bodyPr>
          <a:lstStyle/>
          <a:p>
            <a:pPr algn="ctr"/>
            <a:r>
              <a:rPr lang="en-GB" sz="1600" b="1" i="1">
                <a:latin typeface="Century Gothic" panose="020B0502020202020204" pitchFamily="34" charset="0"/>
              </a:rPr>
              <a:t>The ETC calls for industry and government collaboration to raise the ambition of the next round of NDCs due by COP30. </a:t>
            </a:r>
          </a:p>
          <a:p>
            <a:pPr algn="ctr"/>
            <a:endParaRPr lang="en-GB" sz="1600" b="1" i="1">
              <a:latin typeface="Century Gothic" panose="020B0502020202020204" pitchFamily="34" charset="0"/>
            </a:endParaRPr>
          </a:p>
          <a:p>
            <a:pPr marL="285750" indent="-285750" algn="l">
              <a:buFont typeface="Wingdings" panose="05000000000000000000" pitchFamily="2" charset="2"/>
              <a:buChar char="§"/>
            </a:pPr>
            <a:endParaRPr lang="en-GB" sz="1600" b="1">
              <a:latin typeface="Century Gothic" panose="020B0502020202020204" pitchFamily="34" charset="0"/>
            </a:endParaRPr>
          </a:p>
          <a:p>
            <a:pPr marL="285750" indent="-285750" algn="l">
              <a:buFont typeface="Wingdings" panose="05000000000000000000" pitchFamily="2" charset="2"/>
              <a:buChar char="§"/>
            </a:pPr>
            <a:r>
              <a:rPr lang="en-GB" sz="1600" b="1">
                <a:latin typeface="Century Gothic" panose="020B0502020202020204" pitchFamily="34" charset="0"/>
              </a:rPr>
              <a:t>Ambition in upcoming NDCs (“NDCs 3.0”) can triple.</a:t>
            </a:r>
            <a:endParaRPr lang="en-GB" sz="1600">
              <a:latin typeface="Century Gothic" panose="020B0502020202020204" pitchFamily="34" charset="0"/>
            </a:endParaRPr>
          </a:p>
          <a:p>
            <a:pPr marL="285750" indent="-285750" algn="l">
              <a:buFont typeface="Wingdings" panose="05000000000000000000" pitchFamily="2" charset="2"/>
              <a:buChar char="§"/>
            </a:pPr>
            <a:endParaRPr lang="en-GB" sz="1600">
              <a:latin typeface="Century Gothic" panose="020B0502020202020204" pitchFamily="34" charset="0"/>
            </a:endParaRPr>
          </a:p>
          <a:p>
            <a:pPr marL="285750" indent="-285750" algn="l">
              <a:buFont typeface="Wingdings" panose="05000000000000000000" pitchFamily="2" charset="2"/>
              <a:buChar char="§"/>
            </a:pPr>
            <a:r>
              <a:rPr lang="en-GB" sz="1600" b="1">
                <a:latin typeface="Century Gothic" panose="020B0502020202020204" pitchFamily="34" charset="0"/>
              </a:rPr>
              <a:t>NDCs 3.0 must help translate ambition into action - </a:t>
            </a:r>
            <a:r>
              <a:rPr lang="en-GB" sz="1600">
                <a:latin typeface="Century Gothic" panose="020B0502020202020204" pitchFamily="34" charset="0"/>
              </a:rPr>
              <a:t>more ambitious NDCs, and stronger links between targets and policies, are critical to drive investment and climate action.</a:t>
            </a:r>
          </a:p>
          <a:p>
            <a:pPr algn="l"/>
            <a:endParaRPr lang="en-GB" sz="1600">
              <a:latin typeface="Century Gothic" panose="020B0502020202020204" pitchFamily="34" charset="0"/>
            </a:endParaRPr>
          </a:p>
          <a:p>
            <a:pPr marL="285750" indent="-285750" algn="l">
              <a:buFont typeface="Wingdings" panose="05000000000000000000" pitchFamily="2" charset="2"/>
              <a:buChar char="§"/>
            </a:pPr>
            <a:r>
              <a:rPr lang="en-GB" sz="1600" b="1">
                <a:latin typeface="Century Gothic" panose="020B0502020202020204" pitchFamily="34" charset="0"/>
              </a:rPr>
              <a:t>Ambition alone will not achieve rapid progress – </a:t>
            </a:r>
            <a:r>
              <a:rPr lang="en-GB" sz="1600">
                <a:latin typeface="Century Gothic" panose="020B0502020202020204" pitchFamily="34" charset="0"/>
              </a:rPr>
              <a:t>NDCs must also clearly set out how targets will be achieved. </a:t>
            </a:r>
          </a:p>
        </p:txBody>
      </p:sp>
    </p:spTree>
    <p:extLst>
      <p:ext uri="{BB962C8B-B14F-4D97-AF65-F5344CB8AC3E}">
        <p14:creationId xmlns:p14="http://schemas.microsoft.com/office/powerpoint/2010/main" val="338959318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08BE0D7-AEE0-B094-E725-38D8762EC75F}"/>
              </a:ext>
            </a:extLst>
          </p:cNvPr>
          <p:cNvGraphicFramePr>
            <a:graphicFrameLocks noChangeAspect="1"/>
          </p:cNvGraphicFramePr>
          <p:nvPr>
            <p:custDataLst>
              <p:tags r:id="rId1"/>
            </p:custDataLst>
            <p:extLst>
              <p:ext uri="{D42A27DB-BD31-4B8C-83A1-F6EECF244321}">
                <p14:modId xmlns:p14="http://schemas.microsoft.com/office/powerpoint/2010/main" val="10707030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A08BE0D7-AEE0-B094-E725-38D8762EC7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Title 16">
            <a:extLst>
              <a:ext uri="{FF2B5EF4-FFF2-40B4-BE49-F238E27FC236}">
                <a16:creationId xmlns:a16="http://schemas.microsoft.com/office/drawing/2014/main" id="{5D89E55C-3FF7-D3AA-C63D-3EF4FE555DC3}"/>
              </a:ext>
            </a:extLst>
          </p:cNvPr>
          <p:cNvSpPr>
            <a:spLocks noGrp="1"/>
          </p:cNvSpPr>
          <p:nvPr>
            <p:ph type="title"/>
          </p:nvPr>
        </p:nvSpPr>
        <p:spPr/>
        <p:txBody>
          <a:bodyPr vert="horz"/>
          <a:lstStyle/>
          <a:p>
            <a:r>
              <a:rPr lang="en-GB" sz="2000"/>
              <a:t>NDCs are countries’ pledges to reduce national GHG emissions – today, targets in NDCs, if delivered, are only expected to limit global warming by +2.5°C</a:t>
            </a:r>
          </a:p>
        </p:txBody>
      </p:sp>
      <p:sp>
        <p:nvSpPr>
          <p:cNvPr id="3" name="Slide Number Placeholder 2">
            <a:extLst>
              <a:ext uri="{FF2B5EF4-FFF2-40B4-BE49-F238E27FC236}">
                <a16:creationId xmlns:a16="http://schemas.microsoft.com/office/drawing/2014/main" id="{C5E8CA53-F56B-3681-C40C-9D8C1EA2C7F0}"/>
              </a:ext>
            </a:extLst>
          </p:cNvPr>
          <p:cNvSpPr>
            <a:spLocks noGrp="1"/>
          </p:cNvSpPr>
          <p:nvPr>
            <p:ph type="sldNum" sz="quarter" idx="12"/>
          </p:nvPr>
        </p:nvSpPr>
        <p:spPr/>
        <p:txBody>
          <a:bodyPr/>
          <a:lstStyle/>
          <a:p>
            <a:fld id="{DDF71BC8-773F-4A54-968E-450E29C75AD4}" type="slidenum">
              <a:rPr lang="en-GB" smtClean="0"/>
              <a:pPr/>
              <a:t>6</a:t>
            </a:fld>
            <a:endParaRPr lang="en-GB"/>
          </a:p>
        </p:txBody>
      </p:sp>
      <p:sp>
        <p:nvSpPr>
          <p:cNvPr id="4" name="Footer Placeholder 3">
            <a:extLst>
              <a:ext uri="{FF2B5EF4-FFF2-40B4-BE49-F238E27FC236}">
                <a16:creationId xmlns:a16="http://schemas.microsoft.com/office/drawing/2014/main" id="{CFDE0F7F-C87D-60FE-2BA1-01BD332D5146}"/>
              </a:ext>
            </a:extLst>
          </p:cNvPr>
          <p:cNvSpPr>
            <a:spLocks noGrp="1"/>
          </p:cNvSpPr>
          <p:nvPr>
            <p:ph type="ftr" sz="quarter" idx="13"/>
          </p:nvPr>
        </p:nvSpPr>
        <p:spPr/>
        <p:txBody>
          <a:bodyPr/>
          <a:lstStyle/>
          <a:p>
            <a:r>
              <a:rPr lang="en-GB"/>
              <a:t>Source: Climate Action Tracker (2023), </a:t>
            </a:r>
            <a:r>
              <a:rPr lang="en-GB" i="1"/>
              <a:t>No change to warming as fossil fuel endgame brings focus onto false solutions. </a:t>
            </a:r>
            <a:endParaRPr lang="en-GB"/>
          </a:p>
        </p:txBody>
      </p:sp>
      <p:sp>
        <p:nvSpPr>
          <p:cNvPr id="11" name="Rectangle 10">
            <a:extLst>
              <a:ext uri="{FF2B5EF4-FFF2-40B4-BE49-F238E27FC236}">
                <a16:creationId xmlns:a16="http://schemas.microsoft.com/office/drawing/2014/main" id="{34FF8580-6027-AFEF-A003-F2E53AE26A29}"/>
              </a:ext>
            </a:extLst>
          </p:cNvPr>
          <p:cNvSpPr/>
          <p:nvPr/>
        </p:nvSpPr>
        <p:spPr>
          <a:xfrm>
            <a:off x="666750" y="1228725"/>
            <a:ext cx="4959350" cy="4400550"/>
          </a:xfrm>
          <a:prstGeom prst="rect">
            <a:avLst/>
          </a:prstGeom>
          <a:solidFill>
            <a:schemeClr val="bg1">
              <a:lumMod val="95000"/>
            </a:schemeClr>
          </a:solidFill>
          <a:ln w="12700">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r>
              <a:rPr lang="en-GB" sz="1600" b="1" i="1" u="none" strike="noStrike" baseline="0">
                <a:solidFill>
                  <a:schemeClr val="tx2"/>
                </a:solidFill>
                <a:latin typeface="Century Gothic" panose="020B0502020202020204" pitchFamily="34" charset="0"/>
              </a:rPr>
              <a:t>WHAT ARE NATIONAL DETERMINED CONTRIBUTIONS (NDCs)?</a:t>
            </a:r>
          </a:p>
          <a:p>
            <a:pPr algn="l"/>
            <a:endParaRPr lang="en-US" sz="1600" b="0" i="0" u="none" strike="noStrike" baseline="0">
              <a:solidFill>
                <a:schemeClr val="tx2"/>
              </a:solidFill>
              <a:latin typeface="Century Gothic" panose="020B0502020202020204" pitchFamily="34" charset="0"/>
            </a:endParaRPr>
          </a:p>
          <a:p>
            <a:pPr algn="l"/>
            <a:endParaRPr lang="en-US" sz="1600" b="0" i="0" u="none" strike="noStrike" baseline="0">
              <a:solidFill>
                <a:schemeClr val="tx2"/>
              </a:solidFill>
              <a:latin typeface="Century Gothic" panose="020B0502020202020204" pitchFamily="34" charset="0"/>
            </a:endParaRPr>
          </a:p>
          <a:p>
            <a:pPr marL="285750" indent="-285750" algn="l">
              <a:buFont typeface="Arial" panose="020B0604020202020204" pitchFamily="34" charset="0"/>
              <a:buChar char="•"/>
            </a:pPr>
            <a:r>
              <a:rPr lang="en-US" sz="1600" b="0" i="0" u="none" strike="noStrike" baseline="0">
                <a:solidFill>
                  <a:schemeClr val="tx2"/>
                </a:solidFill>
                <a:latin typeface="Century Gothic" panose="020B0502020202020204" pitchFamily="34" charset="0"/>
              </a:rPr>
              <a:t>Nationally Determined Contributions (NDCs) are countries’ pledges to reduce national emissions and adapt to impacts of climate change. </a:t>
            </a:r>
          </a:p>
          <a:p>
            <a:pPr marL="285750" indent="-285750" algn="l">
              <a:buFont typeface="Arial" panose="020B0604020202020204" pitchFamily="34" charset="0"/>
              <a:buChar char="•"/>
            </a:pPr>
            <a:endParaRPr lang="en-US" sz="1600" b="0" i="0" u="none" strike="noStrike" baseline="0">
              <a:solidFill>
                <a:schemeClr val="tx2"/>
              </a:solidFill>
              <a:latin typeface="Century Gothic" panose="020B0502020202020204" pitchFamily="34" charset="0"/>
            </a:endParaRPr>
          </a:p>
          <a:p>
            <a:pPr marL="285750" indent="-285750" algn="l">
              <a:buFont typeface="Arial" panose="020B0604020202020204" pitchFamily="34" charset="0"/>
              <a:buChar char="•"/>
            </a:pPr>
            <a:r>
              <a:rPr lang="en-US" sz="1600" b="0" i="0" u="none" strike="noStrike" baseline="0">
                <a:solidFill>
                  <a:schemeClr val="tx2"/>
                </a:solidFill>
                <a:latin typeface="Century Gothic" panose="020B0502020202020204" pitchFamily="34" charset="0"/>
              </a:rPr>
              <a:t>Countries are required to submit their NDC and increase their ambition every 5 years to reflect progress.</a:t>
            </a:r>
          </a:p>
          <a:p>
            <a:pPr marL="285750" indent="-285750" algn="l">
              <a:buFont typeface="Arial" panose="020B0604020202020204" pitchFamily="34" charset="0"/>
              <a:buChar char="•"/>
            </a:pPr>
            <a:endParaRPr lang="en-US" sz="1600" b="0" i="0" u="none" strike="noStrike" baseline="0">
              <a:solidFill>
                <a:schemeClr val="tx2"/>
              </a:solidFill>
              <a:latin typeface="Century Gothic" panose="020B0502020202020204" pitchFamily="34" charset="0"/>
            </a:endParaRPr>
          </a:p>
          <a:p>
            <a:pPr marL="285750" indent="-285750" algn="l">
              <a:buFont typeface="Arial" panose="020B0604020202020204" pitchFamily="34" charset="0"/>
              <a:buChar char="•"/>
            </a:pPr>
            <a:r>
              <a:rPr lang="en-US" sz="1600" b="0" i="0" u="none" strike="noStrike" baseline="0">
                <a:solidFill>
                  <a:schemeClr val="tx2"/>
                </a:solidFill>
                <a:latin typeface="Century Gothic" panose="020B0502020202020204" pitchFamily="34" charset="0"/>
              </a:rPr>
              <a:t>The next round of NDCs (”NDCs 3.0”) must be submitted by COP30 in 2025, setting targets and outlining plans to 2035.</a:t>
            </a:r>
            <a:endParaRPr lang="en-GB" sz="1200">
              <a:ln>
                <a:noFill/>
              </a:ln>
              <a:solidFill>
                <a:schemeClr val="tx2"/>
              </a:solidFill>
              <a:latin typeface="Century Gothic" panose="020B0502020202020204" pitchFamily="34" charset="0"/>
            </a:endParaRPr>
          </a:p>
        </p:txBody>
      </p:sp>
      <p:pic>
        <p:nvPicPr>
          <p:cNvPr id="15" name="Picture 14">
            <a:extLst>
              <a:ext uri="{FF2B5EF4-FFF2-40B4-BE49-F238E27FC236}">
                <a16:creationId xmlns:a16="http://schemas.microsoft.com/office/drawing/2014/main" id="{5C20FC4C-A510-DACB-860A-5F66EECA1B17}"/>
              </a:ext>
            </a:extLst>
          </p:cNvPr>
          <p:cNvPicPr>
            <a:picLocks noChangeAspect="1"/>
          </p:cNvPicPr>
          <p:nvPr/>
        </p:nvPicPr>
        <p:blipFill>
          <a:blip r:embed="rId5"/>
          <a:stretch>
            <a:fillRect/>
          </a:stretch>
        </p:blipFill>
        <p:spPr>
          <a:xfrm>
            <a:off x="5954433" y="1021871"/>
            <a:ext cx="5866264" cy="4814259"/>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55060467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4C8F8D5-D5CC-A837-B1F6-F83E9F6E472A}"/>
              </a:ext>
            </a:extLst>
          </p:cNvPr>
          <p:cNvGraphicFramePr>
            <a:graphicFrameLocks noChangeAspect="1"/>
          </p:cNvGraphicFramePr>
          <p:nvPr>
            <p:custDataLst>
              <p:tags r:id="rId1"/>
            </p:custDataLst>
            <p:extLst>
              <p:ext uri="{D42A27DB-BD31-4B8C-83A1-F6EECF244321}">
                <p14:modId xmlns:p14="http://schemas.microsoft.com/office/powerpoint/2010/main" val="3946878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473" imgH="473" progId="TCLayout.ActiveDocument.1">
                  <p:embed/>
                </p:oleObj>
              </mc:Choice>
              <mc:Fallback>
                <p:oleObj name="think-cell Slide" r:id="rId20" imgW="473" imgH="473" progId="TCLayout.ActiveDocument.1">
                  <p:embed/>
                  <p:pic>
                    <p:nvPicPr>
                      <p:cNvPr id="6" name="think-cell data - do not delete" hidden="1">
                        <a:extLst>
                          <a:ext uri="{FF2B5EF4-FFF2-40B4-BE49-F238E27FC236}">
                            <a16:creationId xmlns:a16="http://schemas.microsoft.com/office/drawing/2014/main" id="{54C8F8D5-D5CC-A837-B1F6-F83E9F6E472A}"/>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151" name="Rectangle 150">
            <a:extLst>
              <a:ext uri="{FF2B5EF4-FFF2-40B4-BE49-F238E27FC236}">
                <a16:creationId xmlns:a16="http://schemas.microsoft.com/office/drawing/2014/main" id="{3AFE01F8-DB5D-A565-3B02-4CDAAFE58400}"/>
              </a:ext>
            </a:extLst>
          </p:cNvPr>
          <p:cNvSpPr>
            <a:spLocks/>
          </p:cNvSpPr>
          <p:nvPr/>
        </p:nvSpPr>
        <p:spPr>
          <a:xfrm>
            <a:off x="889826" y="1598653"/>
            <a:ext cx="949379" cy="4630426"/>
          </a:xfrm>
          <a:prstGeom prst="rect">
            <a:avLst/>
          </a:prstGeom>
          <a:solidFill>
            <a:schemeClr val="bg1">
              <a:lumMod val="95000"/>
            </a:scheme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1">
              <a:solidFill>
                <a:schemeClr val="bg1"/>
              </a:solidFill>
              <a:latin typeface="Century Gothic" panose="020B0502020202020204" pitchFamily="34" charset="0"/>
            </a:endParaRPr>
          </a:p>
        </p:txBody>
      </p:sp>
      <p:sp>
        <p:nvSpPr>
          <p:cNvPr id="156" name="Rectangle 155">
            <a:extLst>
              <a:ext uri="{FF2B5EF4-FFF2-40B4-BE49-F238E27FC236}">
                <a16:creationId xmlns:a16="http://schemas.microsoft.com/office/drawing/2014/main" id="{D9DD2E28-C445-55FD-9B24-D69368A7DEA3}"/>
              </a:ext>
            </a:extLst>
          </p:cNvPr>
          <p:cNvSpPr>
            <a:spLocks/>
          </p:cNvSpPr>
          <p:nvPr/>
        </p:nvSpPr>
        <p:spPr>
          <a:xfrm>
            <a:off x="2017713" y="1598653"/>
            <a:ext cx="2580721" cy="4630426"/>
          </a:xfrm>
          <a:prstGeom prst="rect">
            <a:avLst/>
          </a:prstGeom>
          <a:solidFill>
            <a:schemeClr val="bg1">
              <a:lumMod val="95000"/>
            </a:scheme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1">
              <a:solidFill>
                <a:schemeClr val="bg1"/>
              </a:solidFill>
              <a:latin typeface="Century Gothic" panose="020B0502020202020204" pitchFamily="34" charset="0"/>
            </a:endParaRPr>
          </a:p>
        </p:txBody>
      </p:sp>
      <p:sp>
        <p:nvSpPr>
          <p:cNvPr id="167" name="Rectangle 166">
            <a:extLst>
              <a:ext uri="{FF2B5EF4-FFF2-40B4-BE49-F238E27FC236}">
                <a16:creationId xmlns:a16="http://schemas.microsoft.com/office/drawing/2014/main" id="{DD83B373-3F9F-2BCE-37DB-64C143E6DB12}"/>
              </a:ext>
            </a:extLst>
          </p:cNvPr>
          <p:cNvSpPr>
            <a:spLocks/>
          </p:cNvSpPr>
          <p:nvPr/>
        </p:nvSpPr>
        <p:spPr>
          <a:xfrm>
            <a:off x="5560229" y="1598653"/>
            <a:ext cx="2685966" cy="4630426"/>
          </a:xfrm>
          <a:prstGeom prst="rect">
            <a:avLst/>
          </a:prstGeom>
          <a:solidFill>
            <a:schemeClr val="bg1">
              <a:lumMod val="95000"/>
            </a:scheme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1">
              <a:solidFill>
                <a:schemeClr val="bg1"/>
              </a:solidFill>
              <a:latin typeface="Century Gothic" panose="020B0502020202020204" pitchFamily="34" charset="0"/>
            </a:endParaRPr>
          </a:p>
        </p:txBody>
      </p:sp>
      <p:sp>
        <p:nvSpPr>
          <p:cNvPr id="218" name="Rectangle 217">
            <a:extLst>
              <a:ext uri="{FF2B5EF4-FFF2-40B4-BE49-F238E27FC236}">
                <a16:creationId xmlns:a16="http://schemas.microsoft.com/office/drawing/2014/main" id="{86990D1E-D90B-0203-7C86-DA985928D893}"/>
              </a:ext>
            </a:extLst>
          </p:cNvPr>
          <p:cNvSpPr>
            <a:spLocks/>
          </p:cNvSpPr>
          <p:nvPr/>
        </p:nvSpPr>
        <p:spPr>
          <a:xfrm>
            <a:off x="8404244" y="1598653"/>
            <a:ext cx="2685966" cy="4630426"/>
          </a:xfrm>
          <a:prstGeom prst="rect">
            <a:avLst/>
          </a:prstGeom>
          <a:solidFill>
            <a:schemeClr val="bg1">
              <a:lumMod val="95000"/>
            </a:scheme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1">
              <a:solidFill>
                <a:schemeClr val="bg1"/>
              </a:solidFill>
              <a:latin typeface="Century Gothic" panose="020B0502020202020204" pitchFamily="34" charset="0"/>
            </a:endParaRPr>
          </a:p>
        </p:txBody>
      </p:sp>
      <p:sp>
        <p:nvSpPr>
          <p:cNvPr id="2" name="Title 1">
            <a:extLst>
              <a:ext uri="{FF2B5EF4-FFF2-40B4-BE49-F238E27FC236}">
                <a16:creationId xmlns:a16="http://schemas.microsoft.com/office/drawing/2014/main" id="{5B80D915-6696-8C9B-1B4C-B4856B00F832}"/>
              </a:ext>
            </a:extLst>
          </p:cNvPr>
          <p:cNvSpPr>
            <a:spLocks noGrp="1"/>
          </p:cNvSpPr>
          <p:nvPr>
            <p:ph type="title"/>
          </p:nvPr>
        </p:nvSpPr>
        <p:spPr>
          <a:xfrm>
            <a:off x="366779" y="179388"/>
            <a:ext cx="11446626" cy="708715"/>
          </a:xfrm>
        </p:spPr>
        <p:txBody>
          <a:bodyPr vert="horz"/>
          <a:lstStyle/>
          <a:p>
            <a:r>
              <a:rPr lang="en-GB" sz="2000"/>
              <a:t>Countries must submit new NDCs by COP30 in Brazil in 2025 – current policies are only expected to limit global warming to +2.7°C</a:t>
            </a:r>
          </a:p>
        </p:txBody>
      </p:sp>
      <p:grpSp>
        <p:nvGrpSpPr>
          <p:cNvPr id="251" name="Group 250">
            <a:extLst>
              <a:ext uri="{FF2B5EF4-FFF2-40B4-BE49-F238E27FC236}">
                <a16:creationId xmlns:a16="http://schemas.microsoft.com/office/drawing/2014/main" id="{C54F1DB7-BC3B-EDAC-3C85-6A431DF2715B}"/>
              </a:ext>
            </a:extLst>
          </p:cNvPr>
          <p:cNvGrpSpPr/>
          <p:nvPr/>
        </p:nvGrpSpPr>
        <p:grpSpPr>
          <a:xfrm>
            <a:off x="8701088" y="1217613"/>
            <a:ext cx="1184275" cy="152400"/>
            <a:chOff x="8997053" y="772370"/>
            <a:chExt cx="1184171" cy="153888"/>
          </a:xfrm>
        </p:grpSpPr>
        <p:cxnSp>
          <p:nvCxnSpPr>
            <p:cNvPr id="16" name="Straight Arrow Connector 15">
              <a:extLst>
                <a:ext uri="{FF2B5EF4-FFF2-40B4-BE49-F238E27FC236}">
                  <a16:creationId xmlns:a16="http://schemas.microsoft.com/office/drawing/2014/main" id="{F3E90946-536B-574A-B809-C0E54ABFD8B6}"/>
                </a:ext>
              </a:extLst>
            </p:cNvPr>
            <p:cNvCxnSpPr>
              <a:cxnSpLocks/>
            </p:cNvCxnSpPr>
            <p:nvPr/>
          </p:nvCxnSpPr>
          <p:spPr>
            <a:xfrm>
              <a:off x="8997053" y="864703"/>
              <a:ext cx="195263" cy="0"/>
            </a:xfrm>
            <a:prstGeom prst="straightConnector1">
              <a:avLst/>
            </a:prstGeom>
            <a:ln w="28575">
              <a:solidFill>
                <a:schemeClr val="accent1"/>
              </a:solidFill>
              <a:tailEnd type="ova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E93CF620-06B0-399C-81F0-034139A72560}"/>
                </a:ext>
              </a:extLst>
            </p:cNvPr>
            <p:cNvSpPr txBox="1">
              <a:spLocks/>
            </p:cNvSpPr>
            <p:nvPr/>
          </p:nvSpPr>
          <p:spPr>
            <a:xfrm>
              <a:off x="9304731" y="772370"/>
              <a:ext cx="876493" cy="153888"/>
            </a:xfrm>
            <a:prstGeom prst="rect">
              <a:avLst/>
            </a:prstGeom>
            <a:noFill/>
          </p:spPr>
          <p:txBody>
            <a:bodyPr wrap="square" lIns="0" tIns="0" rIns="0" bIns="0" rtlCol="0">
              <a:spAutoFit/>
            </a:bodyPr>
            <a:lstStyle/>
            <a:p>
              <a:r>
                <a:rPr lang="en-GB" sz="1000">
                  <a:latin typeface="Century Gothic" panose="020B0502020202020204" pitchFamily="34" charset="0"/>
                </a:rPr>
                <a:t>COPs</a:t>
              </a:r>
            </a:p>
          </p:txBody>
        </p:sp>
      </p:grpSp>
      <p:grpSp>
        <p:nvGrpSpPr>
          <p:cNvPr id="252" name="Group 251">
            <a:extLst>
              <a:ext uri="{FF2B5EF4-FFF2-40B4-BE49-F238E27FC236}">
                <a16:creationId xmlns:a16="http://schemas.microsoft.com/office/drawing/2014/main" id="{82CB6B64-53B1-2942-1328-6F6FDEE848E2}"/>
              </a:ext>
            </a:extLst>
          </p:cNvPr>
          <p:cNvGrpSpPr/>
          <p:nvPr/>
        </p:nvGrpSpPr>
        <p:grpSpPr>
          <a:xfrm>
            <a:off x="10524636" y="718022"/>
            <a:ext cx="1878013" cy="153888"/>
            <a:chOff x="8998672" y="939209"/>
            <a:chExt cx="1877684" cy="153888"/>
          </a:xfrm>
        </p:grpSpPr>
        <p:cxnSp>
          <p:nvCxnSpPr>
            <p:cNvPr id="22" name="Straight Arrow Connector 21">
              <a:extLst>
                <a:ext uri="{FF2B5EF4-FFF2-40B4-BE49-F238E27FC236}">
                  <a16:creationId xmlns:a16="http://schemas.microsoft.com/office/drawing/2014/main" id="{0C5B715D-2EC4-F496-B789-80F69CA1CB5B}"/>
                </a:ext>
              </a:extLst>
            </p:cNvPr>
            <p:cNvCxnSpPr>
              <a:cxnSpLocks/>
            </p:cNvCxnSpPr>
            <p:nvPr/>
          </p:nvCxnSpPr>
          <p:spPr>
            <a:xfrm>
              <a:off x="8998672" y="1031542"/>
              <a:ext cx="192024" cy="0"/>
            </a:xfrm>
            <a:prstGeom prst="straightConnector1">
              <a:avLst/>
            </a:prstGeom>
            <a:ln w="28575">
              <a:solidFill>
                <a:schemeClr val="accent6"/>
              </a:solidFill>
              <a:tailEnd type="oval"/>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AC91D57D-C64D-6782-A275-6AF8CAF9C18F}"/>
                </a:ext>
              </a:extLst>
            </p:cNvPr>
            <p:cNvSpPr txBox="1">
              <a:spLocks/>
            </p:cNvSpPr>
            <p:nvPr/>
          </p:nvSpPr>
          <p:spPr>
            <a:xfrm>
              <a:off x="9304731" y="939209"/>
              <a:ext cx="1571625" cy="153888"/>
            </a:xfrm>
            <a:prstGeom prst="rect">
              <a:avLst/>
            </a:prstGeom>
            <a:noFill/>
          </p:spPr>
          <p:txBody>
            <a:bodyPr wrap="square" lIns="0" tIns="0" rIns="0" bIns="0" rtlCol="0">
              <a:spAutoFit/>
            </a:bodyPr>
            <a:lstStyle/>
            <a:p>
              <a:r>
                <a:rPr lang="en-GB" sz="1000">
                  <a:latin typeface="Century Gothic" panose="020B0502020202020204" pitchFamily="34" charset="0"/>
                </a:rPr>
                <a:t>NDC Process</a:t>
              </a:r>
            </a:p>
          </p:txBody>
        </p:sp>
      </p:grpSp>
      <p:grpSp>
        <p:nvGrpSpPr>
          <p:cNvPr id="253" name="Group 252">
            <a:extLst>
              <a:ext uri="{FF2B5EF4-FFF2-40B4-BE49-F238E27FC236}">
                <a16:creationId xmlns:a16="http://schemas.microsoft.com/office/drawing/2014/main" id="{C9F94906-8FA5-9363-20A8-F50C844718A5}"/>
              </a:ext>
            </a:extLst>
          </p:cNvPr>
          <p:cNvGrpSpPr/>
          <p:nvPr/>
        </p:nvGrpSpPr>
        <p:grpSpPr>
          <a:xfrm>
            <a:off x="10524636" y="906195"/>
            <a:ext cx="1878013" cy="153888"/>
            <a:chOff x="8998672" y="1148716"/>
            <a:chExt cx="1877684" cy="153888"/>
          </a:xfrm>
        </p:grpSpPr>
        <p:cxnSp>
          <p:nvCxnSpPr>
            <p:cNvPr id="24" name="Straight Arrow Connector 23">
              <a:extLst>
                <a:ext uri="{FF2B5EF4-FFF2-40B4-BE49-F238E27FC236}">
                  <a16:creationId xmlns:a16="http://schemas.microsoft.com/office/drawing/2014/main" id="{BD8B2F0A-48D3-19B4-FF60-5277CBA263B6}"/>
                </a:ext>
              </a:extLst>
            </p:cNvPr>
            <p:cNvCxnSpPr>
              <a:cxnSpLocks/>
            </p:cNvCxnSpPr>
            <p:nvPr/>
          </p:nvCxnSpPr>
          <p:spPr>
            <a:xfrm>
              <a:off x="8998672" y="1241049"/>
              <a:ext cx="192024" cy="0"/>
            </a:xfrm>
            <a:prstGeom prst="straightConnector1">
              <a:avLst/>
            </a:prstGeom>
            <a:ln w="28575">
              <a:solidFill>
                <a:schemeClr val="accent2"/>
              </a:solidFill>
              <a:tailEnd type="oval"/>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C0CC8062-B41D-8745-EE30-DB7753F5BFF0}"/>
                </a:ext>
              </a:extLst>
            </p:cNvPr>
            <p:cNvSpPr txBox="1">
              <a:spLocks/>
            </p:cNvSpPr>
            <p:nvPr/>
          </p:nvSpPr>
          <p:spPr>
            <a:xfrm>
              <a:off x="9304731" y="1148716"/>
              <a:ext cx="1571625" cy="153888"/>
            </a:xfrm>
            <a:prstGeom prst="rect">
              <a:avLst/>
            </a:prstGeom>
            <a:noFill/>
          </p:spPr>
          <p:txBody>
            <a:bodyPr wrap="square" lIns="0" tIns="0" rIns="0" bIns="0" rtlCol="0">
              <a:spAutoFit/>
            </a:bodyPr>
            <a:lstStyle/>
            <a:p>
              <a:r>
                <a:rPr lang="en-GB" sz="1000">
                  <a:latin typeface="Century Gothic" panose="020B0502020202020204" pitchFamily="34" charset="0"/>
                </a:rPr>
                <a:t>Global Stocktake</a:t>
              </a:r>
            </a:p>
          </p:txBody>
        </p:sp>
      </p:grpSp>
      <p:grpSp>
        <p:nvGrpSpPr>
          <p:cNvPr id="13" name="Group 12">
            <a:extLst>
              <a:ext uri="{FF2B5EF4-FFF2-40B4-BE49-F238E27FC236}">
                <a16:creationId xmlns:a16="http://schemas.microsoft.com/office/drawing/2014/main" id="{0D0FFD62-A930-1FE5-D843-A43860F2C99C}"/>
              </a:ext>
            </a:extLst>
          </p:cNvPr>
          <p:cNvGrpSpPr/>
          <p:nvPr/>
        </p:nvGrpSpPr>
        <p:grpSpPr>
          <a:xfrm>
            <a:off x="10434638" y="1068890"/>
            <a:ext cx="1812086" cy="307777"/>
            <a:chOff x="10061205" y="922665"/>
            <a:chExt cx="1812086" cy="307777"/>
          </a:xfrm>
        </p:grpSpPr>
        <p:sp>
          <p:nvSpPr>
            <p:cNvPr id="30" name="Rectangle: Rounded Corners 29">
              <a:extLst>
                <a:ext uri="{FF2B5EF4-FFF2-40B4-BE49-F238E27FC236}">
                  <a16:creationId xmlns:a16="http://schemas.microsoft.com/office/drawing/2014/main" id="{C9D041F2-3957-2548-1C01-1AD34CA22F52}"/>
                </a:ext>
              </a:extLst>
            </p:cNvPr>
            <p:cNvSpPr>
              <a:spLocks/>
            </p:cNvSpPr>
            <p:nvPr/>
          </p:nvSpPr>
          <p:spPr>
            <a:xfrm>
              <a:off x="10061205" y="957296"/>
              <a:ext cx="373433" cy="238514"/>
            </a:xfrm>
            <a:prstGeom prst="roundRect">
              <a:avLst/>
            </a:prstGeom>
            <a:solidFill>
              <a:schemeClr val="accent3">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000" err="1">
                <a:ln>
                  <a:noFill/>
                </a:ln>
                <a:solidFill>
                  <a:schemeClr val="tx1">
                    <a:lumMod val="85000"/>
                    <a:lumOff val="15000"/>
                  </a:schemeClr>
                </a:solidFill>
                <a:latin typeface="Century Gothic" panose="020B0502020202020204" pitchFamily="34" charset="0"/>
              </a:endParaRPr>
            </a:p>
          </p:txBody>
        </p:sp>
        <p:sp>
          <p:nvSpPr>
            <p:cNvPr id="31" name="TextBox 30">
              <a:extLst>
                <a:ext uri="{FF2B5EF4-FFF2-40B4-BE49-F238E27FC236}">
                  <a16:creationId xmlns:a16="http://schemas.microsoft.com/office/drawing/2014/main" id="{D4B046B0-AA4B-B782-AED1-08E0B09294E4}"/>
                </a:ext>
              </a:extLst>
            </p:cNvPr>
            <p:cNvSpPr txBox="1">
              <a:spLocks/>
            </p:cNvSpPr>
            <p:nvPr/>
          </p:nvSpPr>
          <p:spPr>
            <a:xfrm>
              <a:off x="10457316" y="922665"/>
              <a:ext cx="1415975" cy="307777"/>
            </a:xfrm>
            <a:prstGeom prst="rect">
              <a:avLst/>
            </a:prstGeom>
            <a:noFill/>
          </p:spPr>
          <p:txBody>
            <a:bodyPr wrap="square" lIns="0" tIns="0" rIns="0" bIns="0" rtlCol="0">
              <a:spAutoFit/>
            </a:bodyPr>
            <a:lstStyle/>
            <a:p>
              <a:r>
                <a:rPr lang="en-GB" sz="1000">
                  <a:latin typeface="Century Gothic" panose="020B0502020202020204" pitchFamily="34" charset="0"/>
                </a:rPr>
                <a:t>Key 5-yearly NDC </a:t>
              </a:r>
            </a:p>
            <a:p>
              <a:r>
                <a:rPr lang="en-GB" sz="1000">
                  <a:latin typeface="Century Gothic" panose="020B0502020202020204" pitchFamily="34" charset="0"/>
                </a:rPr>
                <a:t>Ratchet COPs </a:t>
              </a:r>
            </a:p>
          </p:txBody>
        </p:sp>
      </p:grpSp>
      <p:graphicFrame>
        <p:nvGraphicFramePr>
          <p:cNvPr id="7" name="Chart 6">
            <a:extLst>
              <a:ext uri="{FF2B5EF4-FFF2-40B4-BE49-F238E27FC236}">
                <a16:creationId xmlns:a16="http://schemas.microsoft.com/office/drawing/2014/main" id="{8057A18D-7D62-61E2-ECA2-226C66C1C506}"/>
              </a:ext>
            </a:extLst>
          </p:cNvPr>
          <p:cNvGraphicFramePr/>
          <p:nvPr>
            <p:custDataLst>
              <p:tags r:id="rId2"/>
            </p:custDataLst>
          </p:nvPr>
        </p:nvGraphicFramePr>
        <p:xfrm>
          <a:off x="-4763" y="2724150"/>
          <a:ext cx="12071350" cy="3284538"/>
        </p:xfrm>
        <a:graphic>
          <a:graphicData uri="http://schemas.openxmlformats.org/drawingml/2006/chart">
            <c:chart xmlns:c="http://schemas.openxmlformats.org/drawingml/2006/chart" xmlns:r="http://schemas.openxmlformats.org/officeDocument/2006/relationships" r:id="rId22"/>
          </a:graphicData>
        </a:graphic>
      </p:graphicFrame>
      <p:sp>
        <p:nvSpPr>
          <p:cNvPr id="173" name="Text Placeholder 2">
            <a:extLst>
              <a:ext uri="{FF2B5EF4-FFF2-40B4-BE49-F238E27FC236}">
                <a16:creationId xmlns:a16="http://schemas.microsoft.com/office/drawing/2014/main" id="{B926D567-524F-4499-A030-E098F89DCD34}"/>
              </a:ext>
            </a:extLst>
          </p:cNvPr>
          <p:cNvSpPr>
            <a:spLocks noGrp="1"/>
          </p:cNvSpPr>
          <p:nvPr>
            <p:custDataLst>
              <p:tags r:id="rId3"/>
            </p:custDataLst>
          </p:nvPr>
        </p:nvSpPr>
        <p:spPr bwMode="auto">
          <a:xfrm>
            <a:off x="255588" y="5876925"/>
            <a:ext cx="3492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166F7CB-D754-464C-AD19-A538D6BF9342}" type="datetime'''20''''1''''''''''''''''''''''''''4'">
              <a:rPr lang="en-GB" altLang="en-US" sz="1200" smtClean="0">
                <a:effectLst/>
              </a:rPr>
              <a:pPr marL="0" lvl="0" indent="0" algn="ctr">
                <a:spcBef>
                  <a:spcPct val="0"/>
                </a:spcBef>
                <a:spcAft>
                  <a:spcPct val="0"/>
                </a:spcAft>
                <a:buNone/>
              </a:pPr>
              <a:t>2014</a:t>
            </a:fld>
            <a:endParaRPr lang="en-GB" sz="1200" noProof="0"/>
          </a:p>
        </p:txBody>
      </p:sp>
      <p:sp>
        <p:nvSpPr>
          <p:cNvPr id="174" name="Text Placeholder 2">
            <a:extLst>
              <a:ext uri="{FF2B5EF4-FFF2-40B4-BE49-F238E27FC236}">
                <a16:creationId xmlns:a16="http://schemas.microsoft.com/office/drawing/2014/main" id="{B926D567-524F-4499-A030-E098F89DCD34}"/>
              </a:ext>
            </a:extLst>
          </p:cNvPr>
          <p:cNvSpPr>
            <a:spLocks noGrp="1"/>
          </p:cNvSpPr>
          <p:nvPr>
            <p:custDataLst>
              <p:tags r:id="rId4"/>
            </p:custDataLst>
          </p:nvPr>
        </p:nvSpPr>
        <p:spPr bwMode="auto">
          <a:xfrm>
            <a:off x="1185863" y="5876925"/>
            <a:ext cx="3492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07691D7-6942-442D-B922-64C1F3489E96}" type="datetime'2''''''''''''0''1''''''''''''''''''''''''''''''''''''''''5'''">
              <a:rPr lang="en-GB" altLang="en-US" sz="1200" smtClean="0">
                <a:effectLst/>
              </a:rPr>
              <a:pPr marL="0" lvl="0" indent="0" algn="ctr">
                <a:spcBef>
                  <a:spcPct val="0"/>
                </a:spcBef>
                <a:spcAft>
                  <a:spcPct val="0"/>
                </a:spcAft>
                <a:buNone/>
              </a:pPr>
              <a:t>2015</a:t>
            </a:fld>
            <a:endParaRPr lang="en-GB" sz="1200" noProof="0"/>
          </a:p>
        </p:txBody>
      </p:sp>
      <p:sp>
        <p:nvSpPr>
          <p:cNvPr id="175" name="Text Placeholder 2">
            <a:extLst>
              <a:ext uri="{FF2B5EF4-FFF2-40B4-BE49-F238E27FC236}">
                <a16:creationId xmlns:a16="http://schemas.microsoft.com/office/drawing/2014/main" id="{B926D567-524F-4499-A030-E098F89DCD34}"/>
              </a:ext>
            </a:extLst>
          </p:cNvPr>
          <p:cNvSpPr>
            <a:spLocks noGrp="1"/>
          </p:cNvSpPr>
          <p:nvPr>
            <p:custDataLst>
              <p:tags r:id="rId5"/>
            </p:custDataLst>
          </p:nvPr>
        </p:nvSpPr>
        <p:spPr bwMode="auto">
          <a:xfrm>
            <a:off x="2116138" y="5876925"/>
            <a:ext cx="3492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A195E6D-FC8D-4394-B11C-E01B8D1CF472}" type="datetime'''''''2''''''''''''''''''''''''''''''''''01''''6'''">
              <a:rPr lang="en-GB" altLang="en-US" sz="1200" smtClean="0">
                <a:effectLst/>
              </a:rPr>
              <a:pPr marL="0" lvl="0" indent="0" algn="ctr">
                <a:spcBef>
                  <a:spcPct val="0"/>
                </a:spcBef>
                <a:spcAft>
                  <a:spcPct val="0"/>
                </a:spcAft>
                <a:buNone/>
              </a:pPr>
              <a:t>2016</a:t>
            </a:fld>
            <a:endParaRPr lang="en-GB" sz="1200" noProof="0"/>
          </a:p>
        </p:txBody>
      </p:sp>
      <p:sp>
        <p:nvSpPr>
          <p:cNvPr id="176" name="Text Placeholder 2">
            <a:extLst>
              <a:ext uri="{FF2B5EF4-FFF2-40B4-BE49-F238E27FC236}">
                <a16:creationId xmlns:a16="http://schemas.microsoft.com/office/drawing/2014/main" id="{B926D567-524F-4499-A030-E098F89DCD34}"/>
              </a:ext>
            </a:extLst>
          </p:cNvPr>
          <p:cNvSpPr>
            <a:spLocks noGrp="1"/>
          </p:cNvSpPr>
          <p:nvPr>
            <p:custDataLst>
              <p:tags r:id="rId6"/>
            </p:custDataLst>
          </p:nvPr>
        </p:nvSpPr>
        <p:spPr bwMode="auto">
          <a:xfrm>
            <a:off x="3044825" y="5876925"/>
            <a:ext cx="3492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DF2475C-9C50-44E0-BBCB-DB2E0CBB4FD8}" type="datetime'''''''''''''2''''''''''''''''0''1''''''''7'''''''''''''''''''">
              <a:rPr lang="en-GB" altLang="en-US" sz="1200" smtClean="0">
                <a:effectLst/>
              </a:rPr>
              <a:pPr marL="0" lvl="0" indent="0" algn="ctr">
                <a:spcBef>
                  <a:spcPct val="0"/>
                </a:spcBef>
                <a:spcAft>
                  <a:spcPct val="0"/>
                </a:spcAft>
                <a:buNone/>
              </a:pPr>
              <a:t>2017</a:t>
            </a:fld>
            <a:endParaRPr lang="en-GB" sz="1200" noProof="0"/>
          </a:p>
        </p:txBody>
      </p:sp>
      <p:sp>
        <p:nvSpPr>
          <p:cNvPr id="177" name="Text Placeholder 2">
            <a:extLst>
              <a:ext uri="{FF2B5EF4-FFF2-40B4-BE49-F238E27FC236}">
                <a16:creationId xmlns:a16="http://schemas.microsoft.com/office/drawing/2014/main" id="{B926D567-524F-4499-A030-E098F89DCD34}"/>
              </a:ext>
            </a:extLst>
          </p:cNvPr>
          <p:cNvSpPr>
            <a:spLocks noGrp="1"/>
          </p:cNvSpPr>
          <p:nvPr>
            <p:custDataLst>
              <p:tags r:id="rId7"/>
            </p:custDataLst>
          </p:nvPr>
        </p:nvSpPr>
        <p:spPr bwMode="auto">
          <a:xfrm>
            <a:off x="3975100" y="5876925"/>
            <a:ext cx="3492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39BF54A-A7AA-495C-82B2-3947D3CF6032}" type="datetime'20''''''''''''''''''''''1''''''''8'''''''''">
              <a:rPr lang="en-GB" altLang="en-US" sz="1200" smtClean="0">
                <a:effectLst/>
              </a:rPr>
              <a:pPr marL="0" lvl="0" indent="0" algn="ctr">
                <a:spcBef>
                  <a:spcPct val="0"/>
                </a:spcBef>
                <a:spcAft>
                  <a:spcPct val="0"/>
                </a:spcAft>
                <a:buNone/>
              </a:pPr>
              <a:t>2018</a:t>
            </a:fld>
            <a:endParaRPr lang="en-GB" sz="1200" noProof="0"/>
          </a:p>
        </p:txBody>
      </p:sp>
      <p:sp>
        <p:nvSpPr>
          <p:cNvPr id="178" name="Text Placeholder 2">
            <a:extLst>
              <a:ext uri="{FF2B5EF4-FFF2-40B4-BE49-F238E27FC236}">
                <a16:creationId xmlns:a16="http://schemas.microsoft.com/office/drawing/2014/main" id="{B926D567-524F-4499-A030-E098F89DCD34}"/>
              </a:ext>
            </a:extLst>
          </p:cNvPr>
          <p:cNvSpPr>
            <a:spLocks noGrp="1"/>
          </p:cNvSpPr>
          <p:nvPr>
            <p:custDataLst>
              <p:tags r:id="rId8"/>
            </p:custDataLst>
          </p:nvPr>
        </p:nvSpPr>
        <p:spPr bwMode="auto">
          <a:xfrm>
            <a:off x="4905375" y="5876925"/>
            <a:ext cx="3492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C7E04D3-E39B-46AB-BBEA-4CA086486ACB}" type="datetime'''2''''''''''''0''''''''''''''''''''''''1''''''''''''9'">
              <a:rPr lang="en-GB" altLang="en-US" sz="1200" smtClean="0">
                <a:effectLst/>
              </a:rPr>
              <a:pPr marL="0" lvl="0" indent="0" algn="ctr">
                <a:spcBef>
                  <a:spcPct val="0"/>
                </a:spcBef>
                <a:spcAft>
                  <a:spcPct val="0"/>
                </a:spcAft>
                <a:buNone/>
              </a:pPr>
              <a:t>2019</a:t>
            </a:fld>
            <a:endParaRPr lang="en-GB" sz="1200" noProof="0"/>
          </a:p>
        </p:txBody>
      </p:sp>
      <p:sp>
        <p:nvSpPr>
          <p:cNvPr id="179" name="Text Placeholder 2">
            <a:extLst>
              <a:ext uri="{FF2B5EF4-FFF2-40B4-BE49-F238E27FC236}">
                <a16:creationId xmlns:a16="http://schemas.microsoft.com/office/drawing/2014/main" id="{B926D567-524F-4499-A030-E098F89DCD34}"/>
              </a:ext>
            </a:extLst>
          </p:cNvPr>
          <p:cNvSpPr>
            <a:spLocks noGrp="1"/>
          </p:cNvSpPr>
          <p:nvPr>
            <p:custDataLst>
              <p:tags r:id="rId9"/>
            </p:custDataLst>
          </p:nvPr>
        </p:nvSpPr>
        <p:spPr bwMode="auto">
          <a:xfrm>
            <a:off x="5835650" y="5876925"/>
            <a:ext cx="3492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D3FBEA1-BE21-4417-99EE-6F12B0B97F96}" type="datetime'''''2''''''''''''''''''02''''''''''''0'''''''''''''''''">
              <a:rPr lang="en-GB" altLang="en-US" sz="1200" smtClean="0">
                <a:effectLst/>
              </a:rPr>
              <a:pPr marL="0" lvl="0" indent="0" algn="ctr">
                <a:spcBef>
                  <a:spcPct val="0"/>
                </a:spcBef>
                <a:spcAft>
                  <a:spcPct val="0"/>
                </a:spcAft>
                <a:buNone/>
              </a:pPr>
              <a:t>2020</a:t>
            </a:fld>
            <a:endParaRPr lang="en-GB" sz="1200" noProof="0"/>
          </a:p>
        </p:txBody>
      </p:sp>
      <p:sp>
        <p:nvSpPr>
          <p:cNvPr id="180" name="Text Placeholder 2">
            <a:extLst>
              <a:ext uri="{FF2B5EF4-FFF2-40B4-BE49-F238E27FC236}">
                <a16:creationId xmlns:a16="http://schemas.microsoft.com/office/drawing/2014/main" id="{B926D567-524F-4499-A030-E098F89DCD34}"/>
              </a:ext>
            </a:extLst>
          </p:cNvPr>
          <p:cNvSpPr>
            <a:spLocks noGrp="1"/>
          </p:cNvSpPr>
          <p:nvPr>
            <p:custDataLst>
              <p:tags r:id="rId10"/>
            </p:custDataLst>
          </p:nvPr>
        </p:nvSpPr>
        <p:spPr bwMode="auto">
          <a:xfrm>
            <a:off x="6764338" y="5876925"/>
            <a:ext cx="3492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72F4BFE-4389-4DAF-9C3D-4EBFCB5636A8}" type="datetime'2''''''''''''''''0''''2''1'''">
              <a:rPr lang="en-GB" altLang="en-US" sz="1200" smtClean="0">
                <a:effectLst/>
              </a:rPr>
              <a:pPr marL="0" lvl="0" indent="0" algn="ctr">
                <a:spcBef>
                  <a:spcPct val="0"/>
                </a:spcBef>
                <a:spcAft>
                  <a:spcPct val="0"/>
                </a:spcAft>
                <a:buNone/>
              </a:pPr>
              <a:t>2021</a:t>
            </a:fld>
            <a:endParaRPr lang="en-GB" sz="1200" noProof="0"/>
          </a:p>
        </p:txBody>
      </p:sp>
      <p:sp>
        <p:nvSpPr>
          <p:cNvPr id="181" name="Text Placeholder 2">
            <a:extLst>
              <a:ext uri="{FF2B5EF4-FFF2-40B4-BE49-F238E27FC236}">
                <a16:creationId xmlns:a16="http://schemas.microsoft.com/office/drawing/2014/main" id="{B926D567-524F-4499-A030-E098F89DCD34}"/>
              </a:ext>
            </a:extLst>
          </p:cNvPr>
          <p:cNvSpPr>
            <a:spLocks noGrp="1"/>
          </p:cNvSpPr>
          <p:nvPr>
            <p:custDataLst>
              <p:tags r:id="rId11"/>
            </p:custDataLst>
          </p:nvPr>
        </p:nvSpPr>
        <p:spPr bwMode="auto">
          <a:xfrm>
            <a:off x="7694613" y="5876925"/>
            <a:ext cx="3492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08DE2A8-83C2-4074-BB63-7344A76EFC31}" type="datetime'''''''''''''''''''2''''''''''''''''''''''''''0''''''22'''''">
              <a:rPr lang="en-GB" altLang="en-US" sz="1200" smtClean="0">
                <a:effectLst/>
              </a:rPr>
              <a:pPr marL="0" lvl="0" indent="0" algn="ctr">
                <a:spcBef>
                  <a:spcPct val="0"/>
                </a:spcBef>
                <a:spcAft>
                  <a:spcPct val="0"/>
                </a:spcAft>
                <a:buNone/>
              </a:pPr>
              <a:t>2022</a:t>
            </a:fld>
            <a:endParaRPr lang="en-GB" sz="1200" noProof="0"/>
          </a:p>
        </p:txBody>
      </p:sp>
      <p:sp>
        <p:nvSpPr>
          <p:cNvPr id="182" name="Text Placeholder 2">
            <a:extLst>
              <a:ext uri="{FF2B5EF4-FFF2-40B4-BE49-F238E27FC236}">
                <a16:creationId xmlns:a16="http://schemas.microsoft.com/office/drawing/2014/main" id="{B926D567-524F-4499-A030-E098F89DCD34}"/>
              </a:ext>
            </a:extLst>
          </p:cNvPr>
          <p:cNvSpPr>
            <a:spLocks noGrp="1"/>
          </p:cNvSpPr>
          <p:nvPr>
            <p:custDataLst>
              <p:tags r:id="rId12"/>
            </p:custDataLst>
          </p:nvPr>
        </p:nvSpPr>
        <p:spPr bwMode="auto">
          <a:xfrm>
            <a:off x="8624888" y="5876925"/>
            <a:ext cx="3492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E5B5388-E404-4D3D-8E2F-B7C8DE21705A}" type="datetime'''''''2''''''0''''''''''''''''''2''''''''''''''''''3'''''''">
              <a:rPr lang="en-GB" altLang="en-US" sz="1200" smtClean="0">
                <a:effectLst/>
              </a:rPr>
              <a:pPr marL="0" lvl="0" indent="0" algn="ctr">
                <a:spcBef>
                  <a:spcPct val="0"/>
                </a:spcBef>
                <a:spcAft>
                  <a:spcPct val="0"/>
                </a:spcAft>
                <a:buNone/>
              </a:pPr>
              <a:t>2023</a:t>
            </a:fld>
            <a:endParaRPr lang="en-GB" sz="1200" noProof="0"/>
          </a:p>
        </p:txBody>
      </p:sp>
      <p:sp>
        <p:nvSpPr>
          <p:cNvPr id="183" name="Text Placeholder 2">
            <a:extLst>
              <a:ext uri="{FF2B5EF4-FFF2-40B4-BE49-F238E27FC236}">
                <a16:creationId xmlns:a16="http://schemas.microsoft.com/office/drawing/2014/main" id="{B926D567-524F-4499-A030-E098F89DCD34}"/>
              </a:ext>
            </a:extLst>
          </p:cNvPr>
          <p:cNvSpPr>
            <a:spLocks noGrp="1"/>
          </p:cNvSpPr>
          <p:nvPr>
            <p:custDataLst>
              <p:tags r:id="rId13"/>
            </p:custDataLst>
          </p:nvPr>
        </p:nvSpPr>
        <p:spPr bwMode="auto">
          <a:xfrm>
            <a:off x="9505950" y="5876925"/>
            <a:ext cx="4476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2D33C4A-73E2-4756-A2E8-C638460B5863}" type="datetime'''''''''''''2''''''''''0''''''''''2''''''''''4''''''''''''e'''">
              <a:rPr lang="en-GB" altLang="en-US" sz="1200" smtClean="0">
                <a:effectLst/>
              </a:rPr>
              <a:pPr marL="0" lvl="0" indent="0" algn="ctr">
                <a:spcBef>
                  <a:spcPct val="0"/>
                </a:spcBef>
                <a:spcAft>
                  <a:spcPct val="0"/>
                </a:spcAft>
                <a:buNone/>
              </a:pPr>
              <a:t>2024e</a:t>
            </a:fld>
            <a:endParaRPr lang="en-GB" sz="1200" noProof="0"/>
          </a:p>
        </p:txBody>
      </p:sp>
      <p:sp>
        <p:nvSpPr>
          <p:cNvPr id="185" name="Text Placeholder 2">
            <a:extLst>
              <a:ext uri="{FF2B5EF4-FFF2-40B4-BE49-F238E27FC236}">
                <a16:creationId xmlns:a16="http://schemas.microsoft.com/office/drawing/2014/main" id="{1594CEED-B506-8C7C-84A2-F4B9A629EBE3}"/>
              </a:ext>
            </a:extLst>
          </p:cNvPr>
          <p:cNvSpPr>
            <a:spLocks noGrp="1"/>
          </p:cNvSpPr>
          <p:nvPr>
            <p:custDataLst>
              <p:tags r:id="rId14"/>
            </p:custDataLst>
          </p:nvPr>
        </p:nvSpPr>
        <p:spPr bwMode="auto">
          <a:xfrm>
            <a:off x="10434638" y="5876925"/>
            <a:ext cx="4476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2E20CC0-6A34-4B4A-A8F8-B67A9972324E}" type="datetime'''''''2''''''''02''''''5''''''''e'''''''''">
              <a:rPr lang="en-GB" altLang="en-US" sz="1200" smtClean="0"/>
              <a:pPr marL="0" lvl="0" indent="0" algn="ctr">
                <a:spcBef>
                  <a:spcPct val="0"/>
                </a:spcBef>
                <a:spcAft>
                  <a:spcPct val="0"/>
                </a:spcAft>
                <a:buNone/>
              </a:pPr>
              <a:t>2025e</a:t>
            </a:fld>
            <a:endParaRPr lang="en-GB" sz="1200" noProof="0"/>
          </a:p>
        </p:txBody>
      </p:sp>
      <p:cxnSp>
        <p:nvCxnSpPr>
          <p:cNvPr id="50" name="Straight Connector 49">
            <a:extLst>
              <a:ext uri="{FF2B5EF4-FFF2-40B4-BE49-F238E27FC236}">
                <a16:creationId xmlns:a16="http://schemas.microsoft.com/office/drawing/2014/main" id="{3FBCC9DA-715E-E31C-19B6-4D33F117086B}"/>
              </a:ext>
            </a:extLst>
          </p:cNvPr>
          <p:cNvCxnSpPr/>
          <p:nvPr>
            <p:custDataLst>
              <p:tags r:id="rId15"/>
            </p:custDataLst>
          </p:nvPr>
        </p:nvCxnSpPr>
        <p:spPr bwMode="gray">
          <a:xfrm>
            <a:off x="8693150" y="976313"/>
            <a:ext cx="160338" cy="0"/>
          </a:xfrm>
          <a:prstGeom prst="line">
            <a:avLst/>
          </a:prstGeom>
          <a:ln w="19050" cap="rnd" cmpd="sng" algn="ctr">
            <a:solidFill>
              <a:srgbClr val="F87907"/>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 name="Straight Connector 51">
            <a:extLst>
              <a:ext uri="{FF2B5EF4-FFF2-40B4-BE49-F238E27FC236}">
                <a16:creationId xmlns:a16="http://schemas.microsoft.com/office/drawing/2014/main" id="{37F8B879-B621-C53E-71E0-3D81BB36F66E}"/>
              </a:ext>
            </a:extLst>
          </p:cNvPr>
          <p:cNvCxnSpPr/>
          <p:nvPr>
            <p:custDataLst>
              <p:tags r:id="rId16"/>
            </p:custDataLst>
          </p:nvPr>
        </p:nvCxnSpPr>
        <p:spPr bwMode="gray">
          <a:xfrm>
            <a:off x="8693150" y="1171575"/>
            <a:ext cx="160338" cy="0"/>
          </a:xfrm>
          <a:prstGeom prst="line">
            <a:avLst/>
          </a:prstGeom>
          <a:ln w="19050" cap="rnd" cmpd="sng" algn="ctr">
            <a:solidFill>
              <a:srgbClr val="969696"/>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Text Placeholder 2">
            <a:extLst>
              <a:ext uri="{FF2B5EF4-FFF2-40B4-BE49-F238E27FC236}">
                <a16:creationId xmlns:a16="http://schemas.microsoft.com/office/drawing/2014/main" id="{B926D567-524F-4499-A030-E098F89DCD34}"/>
              </a:ext>
            </a:extLst>
          </p:cNvPr>
          <p:cNvSpPr>
            <a:spLocks noGrp="1"/>
          </p:cNvSpPr>
          <p:nvPr>
            <p:custDataLst>
              <p:tags r:id="rId17"/>
            </p:custDataLst>
          </p:nvPr>
        </p:nvSpPr>
        <p:spPr bwMode="auto">
          <a:xfrm>
            <a:off x="8913813" y="917575"/>
            <a:ext cx="12176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7543A8BF-B447-4B48-864F-A691B54FDF58}" type="datetime'''''''Polic''''ie''s'''' ''an''''d'' a''''c''t''''''i''ons'">
              <a:rPr lang="en-US" altLang="en-US" sz="1000" smtClean="0">
                <a:cs typeface="Inter" panose="020B0604020202020204" charset="0"/>
              </a:rPr>
              <a:pPr marL="0" lvl="0" indent="0">
                <a:spcBef>
                  <a:spcPct val="0"/>
                </a:spcBef>
                <a:spcAft>
                  <a:spcPct val="0"/>
                </a:spcAft>
                <a:buNone/>
              </a:pPr>
              <a:t>Policies and actions</a:t>
            </a:fld>
            <a:endParaRPr lang="en-GB" sz="1000" noProof="0">
              <a:cs typeface="Inter" panose="020B0604020202020204" charset="0"/>
            </a:endParaRPr>
          </a:p>
        </p:txBody>
      </p:sp>
      <p:sp>
        <p:nvSpPr>
          <p:cNvPr id="15" name="Text Placeholder 2">
            <a:extLst>
              <a:ext uri="{FF2B5EF4-FFF2-40B4-BE49-F238E27FC236}">
                <a16:creationId xmlns:a16="http://schemas.microsoft.com/office/drawing/2014/main" id="{B926D567-524F-4499-A030-E098F89DCD34}"/>
              </a:ext>
            </a:extLst>
          </p:cNvPr>
          <p:cNvSpPr>
            <a:spLocks noGrp="1"/>
          </p:cNvSpPr>
          <p:nvPr>
            <p:custDataLst>
              <p:tags r:id="rId18"/>
            </p:custDataLst>
          </p:nvPr>
        </p:nvSpPr>
        <p:spPr bwMode="auto">
          <a:xfrm>
            <a:off x="8913813" y="1112838"/>
            <a:ext cx="13938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A87B8AFA-F3C7-4EB8-B232-976B3B5B725B}" type="datetime'Glo''b''''''''''''al'' GHG ''''''emis''s''''''io''''''ns '">
              <a:rPr lang="en-GB" altLang="en-US" sz="1000" smtClean="0">
                <a:cs typeface="Inter" panose="020B0604020202020204" charset="0"/>
              </a:rPr>
              <a:pPr marL="0" lvl="0" indent="0">
                <a:spcBef>
                  <a:spcPct val="0"/>
                </a:spcBef>
                <a:spcAft>
                  <a:spcPct val="0"/>
                </a:spcAft>
                <a:buNone/>
              </a:pPr>
              <a:t>Global GHG emissions </a:t>
            </a:fld>
            <a:endParaRPr lang="en-GB" sz="1000" noProof="0">
              <a:cs typeface="Inter" panose="020B0604020202020204" charset="0"/>
            </a:endParaRPr>
          </a:p>
        </p:txBody>
      </p:sp>
      <p:cxnSp>
        <p:nvCxnSpPr>
          <p:cNvPr id="78" name="Straight Connector 77">
            <a:extLst>
              <a:ext uri="{FF2B5EF4-FFF2-40B4-BE49-F238E27FC236}">
                <a16:creationId xmlns:a16="http://schemas.microsoft.com/office/drawing/2014/main" id="{407EB3AE-F0D1-0D86-477E-98C4F0FBA162}"/>
              </a:ext>
            </a:extLst>
          </p:cNvPr>
          <p:cNvCxnSpPr>
            <a:cxnSpLocks/>
          </p:cNvCxnSpPr>
          <p:nvPr/>
        </p:nvCxnSpPr>
        <p:spPr>
          <a:xfrm>
            <a:off x="185612" y="1403424"/>
            <a:ext cx="11825413" cy="0"/>
          </a:xfrm>
          <a:prstGeom prst="line">
            <a:avLst/>
          </a:prstGeom>
          <a:ln w="19050" cap="flat" cmpd="sng" algn="ctr">
            <a:solidFill>
              <a:schemeClr val="tx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9" name="Rectangle 78">
            <a:extLst>
              <a:ext uri="{FF2B5EF4-FFF2-40B4-BE49-F238E27FC236}">
                <a16:creationId xmlns:a16="http://schemas.microsoft.com/office/drawing/2014/main" id="{C9EBF069-2C35-ABC6-C88B-F7C8522423A4}"/>
              </a:ext>
            </a:extLst>
          </p:cNvPr>
          <p:cNvSpPr>
            <a:spLocks/>
          </p:cNvSpPr>
          <p:nvPr/>
        </p:nvSpPr>
        <p:spPr>
          <a:xfrm>
            <a:off x="366779" y="941688"/>
            <a:ext cx="8439276" cy="384850"/>
          </a:xfrm>
          <a:prstGeom prst="rect">
            <a:avLst/>
          </a:prstGeom>
          <a:noFill/>
        </p:spPr>
        <p:txBody>
          <a:bodyPr wrap="square" lIns="0" tIns="0" rIns="0" bIns="0" rtlCol="0">
            <a:spAutoFit/>
          </a:bodyPr>
          <a:lstStyle/>
          <a:p>
            <a:r>
              <a:rPr lang="en-GB" sz="1401" b="1">
                <a:solidFill>
                  <a:schemeClr val="tx2"/>
                </a:solidFill>
                <a:latin typeface="Century Gothic" panose="020B0502020202020204" pitchFamily="34" charset="0"/>
              </a:rPr>
              <a:t>Evolution of global GHG emissions (left) and 2100 global temperature increase (right)</a:t>
            </a:r>
          </a:p>
          <a:p>
            <a:r>
              <a:rPr lang="en-GB" sz="1100">
                <a:solidFill>
                  <a:schemeClr val="bg1">
                    <a:lumMod val="50000"/>
                  </a:schemeClr>
                </a:solidFill>
                <a:latin typeface="Century Gothic" panose="020B0502020202020204" pitchFamily="34" charset="0"/>
              </a:rPr>
              <a:t>In GtCO</a:t>
            </a:r>
            <a:r>
              <a:rPr lang="en-GB" sz="1100" baseline="-25000">
                <a:solidFill>
                  <a:schemeClr val="bg1">
                    <a:lumMod val="50000"/>
                  </a:schemeClr>
                </a:solidFill>
                <a:latin typeface="Century Gothic" panose="020B0502020202020204" pitchFamily="34" charset="0"/>
              </a:rPr>
              <a:t>2</a:t>
            </a:r>
            <a:r>
              <a:rPr lang="en-GB" sz="1100">
                <a:solidFill>
                  <a:schemeClr val="bg1">
                    <a:lumMod val="50000"/>
                  </a:schemeClr>
                </a:solidFill>
                <a:latin typeface="Century Gothic" panose="020B0502020202020204" pitchFamily="34" charset="0"/>
              </a:rPr>
              <a:t>e (left) and °C relative to pre-industrial averages (right)</a:t>
            </a:r>
            <a:endParaRPr lang="en-GB" sz="1401">
              <a:solidFill>
                <a:schemeClr val="bg1">
                  <a:lumMod val="50000"/>
                </a:schemeClr>
              </a:solidFill>
              <a:latin typeface="Century Gothic" panose="020B0502020202020204" pitchFamily="34" charset="0"/>
            </a:endParaRPr>
          </a:p>
        </p:txBody>
      </p:sp>
      <p:cxnSp>
        <p:nvCxnSpPr>
          <p:cNvPr id="157" name="Straight Arrow Connector 156">
            <a:extLst>
              <a:ext uri="{FF2B5EF4-FFF2-40B4-BE49-F238E27FC236}">
                <a16:creationId xmlns:a16="http://schemas.microsoft.com/office/drawing/2014/main" id="{FA78CB8A-8803-B29B-1C1D-79D92AAC217F}"/>
              </a:ext>
            </a:extLst>
          </p:cNvPr>
          <p:cNvCxnSpPr>
            <a:cxnSpLocks/>
          </p:cNvCxnSpPr>
          <p:nvPr/>
        </p:nvCxnSpPr>
        <p:spPr>
          <a:xfrm flipV="1">
            <a:off x="2285069" y="3290344"/>
            <a:ext cx="0" cy="1313881"/>
          </a:xfrm>
          <a:prstGeom prst="straightConnector1">
            <a:avLst/>
          </a:prstGeom>
          <a:ln w="28575">
            <a:solidFill>
              <a:schemeClr val="accent6"/>
            </a:solidFill>
            <a:tailEnd type="oval"/>
          </a:ln>
        </p:spPr>
        <p:style>
          <a:lnRef idx="1">
            <a:schemeClr val="accent1"/>
          </a:lnRef>
          <a:fillRef idx="0">
            <a:schemeClr val="accent1"/>
          </a:fillRef>
          <a:effectRef idx="0">
            <a:schemeClr val="accent1"/>
          </a:effectRef>
          <a:fontRef idx="minor">
            <a:schemeClr val="tx1"/>
          </a:fontRef>
        </p:style>
      </p:cxnSp>
      <p:sp>
        <p:nvSpPr>
          <p:cNvPr id="158" name="TextBox 157">
            <a:extLst>
              <a:ext uri="{FF2B5EF4-FFF2-40B4-BE49-F238E27FC236}">
                <a16:creationId xmlns:a16="http://schemas.microsoft.com/office/drawing/2014/main" id="{362EE23A-D7E8-FB69-2846-D4F8370901C8}"/>
              </a:ext>
            </a:extLst>
          </p:cNvPr>
          <p:cNvSpPr txBox="1"/>
          <p:nvPr/>
        </p:nvSpPr>
        <p:spPr>
          <a:xfrm>
            <a:off x="2105185" y="4658666"/>
            <a:ext cx="1031260" cy="677108"/>
          </a:xfrm>
          <a:prstGeom prst="rect">
            <a:avLst/>
          </a:prstGeom>
          <a:noFill/>
        </p:spPr>
        <p:txBody>
          <a:bodyPr wrap="square" lIns="0" tIns="0" rIns="0" bIns="0" rtlCol="0">
            <a:spAutoFit/>
          </a:bodyPr>
          <a:lstStyle/>
          <a:p>
            <a:r>
              <a:rPr lang="en-GB" sz="1100" b="1">
                <a:latin typeface="Century Gothic" panose="020B0502020202020204" pitchFamily="34" charset="0"/>
              </a:rPr>
              <a:t>2016 </a:t>
            </a:r>
          </a:p>
          <a:p>
            <a:r>
              <a:rPr lang="en-GB" sz="1100" i="1">
                <a:latin typeface="Century Gothic" panose="020B0502020202020204" pitchFamily="34" charset="0"/>
              </a:rPr>
              <a:t>1</a:t>
            </a:r>
            <a:r>
              <a:rPr lang="en-GB" sz="1100" i="1" baseline="30000">
                <a:latin typeface="Century Gothic" panose="020B0502020202020204" pitchFamily="34" charset="0"/>
              </a:rPr>
              <a:t>st</a:t>
            </a:r>
            <a:r>
              <a:rPr lang="en-GB" sz="1100" i="1">
                <a:latin typeface="Century Gothic" panose="020B0502020202020204" pitchFamily="34" charset="0"/>
              </a:rPr>
              <a:t> NDC </a:t>
            </a:r>
          </a:p>
          <a:p>
            <a:r>
              <a:rPr lang="en-GB" sz="1100" i="1">
                <a:latin typeface="Century Gothic" panose="020B0502020202020204" pitchFamily="34" charset="0"/>
              </a:rPr>
              <a:t>Publication (“NDCs 1.0”)</a:t>
            </a:r>
          </a:p>
        </p:txBody>
      </p:sp>
      <p:sp>
        <p:nvSpPr>
          <p:cNvPr id="159" name="TextBox 158">
            <a:extLst>
              <a:ext uri="{FF2B5EF4-FFF2-40B4-BE49-F238E27FC236}">
                <a16:creationId xmlns:a16="http://schemas.microsoft.com/office/drawing/2014/main" id="{CE6F258A-23B6-C3C8-D426-ADB520A85945}"/>
              </a:ext>
            </a:extLst>
          </p:cNvPr>
          <p:cNvSpPr txBox="1">
            <a:spLocks/>
          </p:cNvSpPr>
          <p:nvPr/>
        </p:nvSpPr>
        <p:spPr>
          <a:xfrm>
            <a:off x="2132517" y="1637795"/>
            <a:ext cx="2351112" cy="553998"/>
          </a:xfrm>
          <a:prstGeom prst="rect">
            <a:avLst/>
          </a:prstGeom>
          <a:noFill/>
        </p:spPr>
        <p:txBody>
          <a:bodyPr wrap="square" lIns="0" tIns="0" rIns="0" bIns="0" rtlCol="0">
            <a:spAutoFit/>
          </a:bodyPr>
          <a:lstStyle/>
          <a:p>
            <a:pPr algn="ctr"/>
            <a:r>
              <a:rPr lang="en-GB" sz="1200" b="1">
                <a:latin typeface="Century Gothic" panose="020B0502020202020204" pitchFamily="34" charset="0"/>
              </a:rPr>
              <a:t>Bringing the Paris Agreement to life: further detail outlined in NDCs</a:t>
            </a:r>
            <a:endParaRPr lang="en-GB" sz="1200">
              <a:latin typeface="Century Gothic" panose="020B0502020202020204" pitchFamily="34" charset="0"/>
            </a:endParaRPr>
          </a:p>
        </p:txBody>
      </p:sp>
      <p:sp>
        <p:nvSpPr>
          <p:cNvPr id="161" name="TextBox 160">
            <a:extLst>
              <a:ext uri="{FF2B5EF4-FFF2-40B4-BE49-F238E27FC236}">
                <a16:creationId xmlns:a16="http://schemas.microsoft.com/office/drawing/2014/main" id="{61F3085C-B141-227E-EEF8-9A765F6317DF}"/>
              </a:ext>
            </a:extLst>
          </p:cNvPr>
          <p:cNvSpPr txBox="1">
            <a:spLocks/>
          </p:cNvSpPr>
          <p:nvPr/>
        </p:nvSpPr>
        <p:spPr>
          <a:xfrm>
            <a:off x="842357" y="1637795"/>
            <a:ext cx="1044317" cy="369332"/>
          </a:xfrm>
          <a:prstGeom prst="rect">
            <a:avLst/>
          </a:prstGeom>
          <a:noFill/>
        </p:spPr>
        <p:txBody>
          <a:bodyPr wrap="square" lIns="0" tIns="0" rIns="0" bIns="0" rtlCol="0">
            <a:spAutoFit/>
          </a:bodyPr>
          <a:lstStyle/>
          <a:p>
            <a:pPr algn="ctr"/>
            <a:r>
              <a:rPr lang="en-GB" sz="1200" b="1">
                <a:latin typeface="Century Gothic" panose="020B0502020202020204" pitchFamily="34" charset="0"/>
              </a:rPr>
              <a:t>From INDCs </a:t>
            </a:r>
          </a:p>
          <a:p>
            <a:pPr algn="ctr"/>
            <a:r>
              <a:rPr lang="en-GB" sz="1200" b="1">
                <a:latin typeface="Century Gothic" panose="020B0502020202020204" pitchFamily="34" charset="0"/>
              </a:rPr>
              <a:t>to NDCs</a:t>
            </a:r>
            <a:endParaRPr lang="en-GB" sz="1200">
              <a:latin typeface="Century Gothic" panose="020B0502020202020204" pitchFamily="34" charset="0"/>
            </a:endParaRPr>
          </a:p>
        </p:txBody>
      </p:sp>
      <p:sp>
        <p:nvSpPr>
          <p:cNvPr id="164" name="Rectangle: Rounded Corners 163">
            <a:extLst>
              <a:ext uri="{FF2B5EF4-FFF2-40B4-BE49-F238E27FC236}">
                <a16:creationId xmlns:a16="http://schemas.microsoft.com/office/drawing/2014/main" id="{F7C40EA9-AC90-0EC0-5576-FF0A8BD35B85}"/>
              </a:ext>
            </a:extLst>
          </p:cNvPr>
          <p:cNvSpPr>
            <a:spLocks/>
          </p:cNvSpPr>
          <p:nvPr/>
        </p:nvSpPr>
        <p:spPr>
          <a:xfrm>
            <a:off x="955544" y="4071727"/>
            <a:ext cx="797161" cy="888670"/>
          </a:xfrm>
          <a:prstGeom prst="roundRect">
            <a:avLst/>
          </a:prstGeom>
          <a:solidFill>
            <a:schemeClr val="accent3">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r>
              <a:rPr lang="en-GB" sz="1100" b="1">
                <a:solidFill>
                  <a:schemeClr val="tx1"/>
                </a:solidFill>
                <a:latin typeface="Century Gothic" panose="020B0502020202020204" pitchFamily="34" charset="0"/>
              </a:rPr>
              <a:t>2015 </a:t>
            </a:r>
          </a:p>
          <a:p>
            <a:pPr algn="ctr"/>
            <a:r>
              <a:rPr lang="en-GB" sz="1100" i="1">
                <a:solidFill>
                  <a:schemeClr val="tx1"/>
                </a:solidFill>
                <a:latin typeface="Century Gothic" panose="020B0502020202020204" pitchFamily="34" charset="0"/>
              </a:rPr>
              <a:t>COP21</a:t>
            </a:r>
          </a:p>
          <a:p>
            <a:pPr algn="ctr"/>
            <a:r>
              <a:rPr lang="en-GB" sz="1100" i="1">
                <a:solidFill>
                  <a:schemeClr val="tx1"/>
                </a:solidFill>
                <a:latin typeface="Century Gothic" panose="020B0502020202020204" pitchFamily="34" charset="0"/>
              </a:rPr>
              <a:t>Paris</a:t>
            </a:r>
          </a:p>
          <a:p>
            <a:pPr algn="ctr"/>
            <a:endParaRPr lang="en-GB" sz="1100">
              <a:ln>
                <a:noFill/>
              </a:ln>
              <a:solidFill>
                <a:schemeClr val="tx1"/>
              </a:solidFill>
              <a:latin typeface="Century Gothic" panose="020B0502020202020204" pitchFamily="34" charset="0"/>
            </a:endParaRPr>
          </a:p>
        </p:txBody>
      </p:sp>
      <p:cxnSp>
        <p:nvCxnSpPr>
          <p:cNvPr id="165" name="Straight Arrow Connector 164">
            <a:extLst>
              <a:ext uri="{FF2B5EF4-FFF2-40B4-BE49-F238E27FC236}">
                <a16:creationId xmlns:a16="http://schemas.microsoft.com/office/drawing/2014/main" id="{486E8FB4-DB56-C876-50F8-14A2239229B5}"/>
              </a:ext>
            </a:extLst>
          </p:cNvPr>
          <p:cNvCxnSpPr>
            <a:cxnSpLocks/>
          </p:cNvCxnSpPr>
          <p:nvPr/>
        </p:nvCxnSpPr>
        <p:spPr>
          <a:xfrm flipV="1">
            <a:off x="1354124" y="3304303"/>
            <a:ext cx="0" cy="764544"/>
          </a:xfrm>
          <a:prstGeom prst="straightConnector1">
            <a:avLst/>
          </a:prstGeom>
          <a:ln w="28575">
            <a:solidFill>
              <a:schemeClr val="accent1"/>
            </a:solidFill>
            <a:tailEnd type="oval"/>
          </a:ln>
        </p:spPr>
        <p:style>
          <a:lnRef idx="1">
            <a:schemeClr val="accent1"/>
          </a:lnRef>
          <a:fillRef idx="0">
            <a:schemeClr val="accent1"/>
          </a:fillRef>
          <a:effectRef idx="0">
            <a:schemeClr val="accent1"/>
          </a:effectRef>
          <a:fontRef idx="minor">
            <a:schemeClr val="tx1"/>
          </a:fontRef>
        </p:style>
      </p:cxnSp>
      <p:cxnSp>
        <p:nvCxnSpPr>
          <p:cNvPr id="189" name="Straight Arrow Connector 188">
            <a:extLst>
              <a:ext uri="{FF2B5EF4-FFF2-40B4-BE49-F238E27FC236}">
                <a16:creationId xmlns:a16="http://schemas.microsoft.com/office/drawing/2014/main" id="{A3FE7D1C-AEB5-39CA-F63B-C2189434E386}"/>
              </a:ext>
            </a:extLst>
          </p:cNvPr>
          <p:cNvCxnSpPr>
            <a:cxnSpLocks/>
          </p:cNvCxnSpPr>
          <p:nvPr/>
        </p:nvCxnSpPr>
        <p:spPr>
          <a:xfrm flipV="1">
            <a:off x="4139048" y="3599584"/>
            <a:ext cx="0" cy="564920"/>
          </a:xfrm>
          <a:prstGeom prst="straightConnector1">
            <a:avLst/>
          </a:prstGeom>
          <a:ln w="28575">
            <a:solidFill>
              <a:schemeClr val="accent1"/>
            </a:solidFill>
            <a:tailEnd type="oval"/>
          </a:ln>
        </p:spPr>
        <p:style>
          <a:lnRef idx="1">
            <a:schemeClr val="accent1"/>
          </a:lnRef>
          <a:fillRef idx="0">
            <a:schemeClr val="accent1"/>
          </a:fillRef>
          <a:effectRef idx="0">
            <a:schemeClr val="accent1"/>
          </a:effectRef>
          <a:fontRef idx="minor">
            <a:schemeClr val="tx1"/>
          </a:fontRef>
        </p:style>
      </p:cxnSp>
      <p:sp>
        <p:nvSpPr>
          <p:cNvPr id="190" name="TextBox 189">
            <a:extLst>
              <a:ext uri="{FF2B5EF4-FFF2-40B4-BE49-F238E27FC236}">
                <a16:creationId xmlns:a16="http://schemas.microsoft.com/office/drawing/2014/main" id="{17948F12-441D-DB64-83A9-31E2C9520CCD}"/>
              </a:ext>
            </a:extLst>
          </p:cNvPr>
          <p:cNvSpPr txBox="1"/>
          <p:nvPr/>
        </p:nvSpPr>
        <p:spPr>
          <a:xfrm>
            <a:off x="2780351" y="4256703"/>
            <a:ext cx="1571625" cy="677108"/>
          </a:xfrm>
          <a:prstGeom prst="rect">
            <a:avLst/>
          </a:prstGeom>
          <a:noFill/>
        </p:spPr>
        <p:txBody>
          <a:bodyPr wrap="square" lIns="0" tIns="0" rIns="0" bIns="0" rtlCol="0">
            <a:spAutoFit/>
          </a:bodyPr>
          <a:lstStyle/>
          <a:p>
            <a:pPr algn="r"/>
            <a:r>
              <a:rPr lang="en-GB" sz="1100" b="1">
                <a:latin typeface="Century Gothic" panose="020B0502020202020204" pitchFamily="34" charset="0"/>
              </a:rPr>
              <a:t>2018 </a:t>
            </a:r>
          </a:p>
          <a:p>
            <a:pPr algn="r"/>
            <a:r>
              <a:rPr lang="en-GB" sz="1100" i="1">
                <a:latin typeface="Century Gothic" panose="020B0502020202020204" pitchFamily="34" charset="0"/>
              </a:rPr>
              <a:t>COP24</a:t>
            </a:r>
          </a:p>
          <a:p>
            <a:pPr algn="r"/>
            <a:r>
              <a:rPr lang="en-GB" sz="1100" i="1">
                <a:latin typeface="Century Gothic" panose="020B0502020202020204" pitchFamily="34" charset="0"/>
              </a:rPr>
              <a:t>Katowice Climate Package</a:t>
            </a:r>
          </a:p>
        </p:txBody>
      </p:sp>
      <p:sp>
        <p:nvSpPr>
          <p:cNvPr id="191" name="TextBox 190">
            <a:extLst>
              <a:ext uri="{FF2B5EF4-FFF2-40B4-BE49-F238E27FC236}">
                <a16:creationId xmlns:a16="http://schemas.microsoft.com/office/drawing/2014/main" id="{61A2BEA8-9407-CD60-977A-BB13A22E4C12}"/>
              </a:ext>
            </a:extLst>
          </p:cNvPr>
          <p:cNvSpPr txBox="1">
            <a:spLocks/>
          </p:cNvSpPr>
          <p:nvPr/>
        </p:nvSpPr>
        <p:spPr>
          <a:xfrm>
            <a:off x="5740228" y="1637795"/>
            <a:ext cx="2325969" cy="369332"/>
          </a:xfrm>
          <a:prstGeom prst="rect">
            <a:avLst/>
          </a:prstGeom>
          <a:noFill/>
        </p:spPr>
        <p:txBody>
          <a:bodyPr wrap="square" lIns="0" tIns="0" rIns="0" bIns="0" rtlCol="0">
            <a:spAutoFit/>
          </a:bodyPr>
          <a:lstStyle/>
          <a:p>
            <a:pPr algn="ctr"/>
            <a:r>
              <a:rPr lang="en-GB" sz="1200" b="1">
                <a:latin typeface="Century Gothic" panose="020B0502020202020204" pitchFamily="34" charset="0"/>
              </a:rPr>
              <a:t>1</a:t>
            </a:r>
            <a:r>
              <a:rPr lang="en-GB" sz="1200" b="1" baseline="30000">
                <a:latin typeface="Century Gothic" panose="020B0502020202020204" pitchFamily="34" charset="0"/>
              </a:rPr>
              <a:t>st</a:t>
            </a:r>
            <a:r>
              <a:rPr lang="en-GB" sz="1200" b="1">
                <a:latin typeface="Century Gothic" panose="020B0502020202020204" pitchFamily="34" charset="0"/>
              </a:rPr>
              <a:t> round of NDC updates: long-term success, short-term failure </a:t>
            </a:r>
            <a:endParaRPr lang="en-GB" sz="1200" i="1">
              <a:latin typeface="Century Gothic" panose="020B0502020202020204" pitchFamily="34" charset="0"/>
            </a:endParaRPr>
          </a:p>
        </p:txBody>
      </p:sp>
      <p:cxnSp>
        <p:nvCxnSpPr>
          <p:cNvPr id="200" name="Straight Arrow Connector 199">
            <a:extLst>
              <a:ext uri="{FF2B5EF4-FFF2-40B4-BE49-F238E27FC236}">
                <a16:creationId xmlns:a16="http://schemas.microsoft.com/office/drawing/2014/main" id="{8F4DB5A3-0E8E-07DD-5393-B1A77F2B4C9B}"/>
              </a:ext>
            </a:extLst>
          </p:cNvPr>
          <p:cNvCxnSpPr>
            <a:cxnSpLocks/>
          </p:cNvCxnSpPr>
          <p:nvPr/>
        </p:nvCxnSpPr>
        <p:spPr>
          <a:xfrm flipV="1">
            <a:off x="5995849" y="3986181"/>
            <a:ext cx="0" cy="656718"/>
          </a:xfrm>
          <a:prstGeom prst="straightConnector1">
            <a:avLst/>
          </a:prstGeom>
          <a:ln w="28575">
            <a:solidFill>
              <a:schemeClr val="accent6"/>
            </a:solidFill>
            <a:tailEnd type="oval"/>
          </a:ln>
        </p:spPr>
        <p:style>
          <a:lnRef idx="1">
            <a:schemeClr val="accent1"/>
          </a:lnRef>
          <a:fillRef idx="0">
            <a:schemeClr val="accent1"/>
          </a:fillRef>
          <a:effectRef idx="0">
            <a:schemeClr val="accent1"/>
          </a:effectRef>
          <a:fontRef idx="minor">
            <a:schemeClr val="tx1"/>
          </a:fontRef>
        </p:style>
      </p:cxnSp>
      <p:sp>
        <p:nvSpPr>
          <p:cNvPr id="201" name="TextBox 200">
            <a:extLst>
              <a:ext uri="{FF2B5EF4-FFF2-40B4-BE49-F238E27FC236}">
                <a16:creationId xmlns:a16="http://schemas.microsoft.com/office/drawing/2014/main" id="{AD70ADD1-0996-91B0-F6DE-CEADF153E03B}"/>
              </a:ext>
            </a:extLst>
          </p:cNvPr>
          <p:cNvSpPr txBox="1"/>
          <p:nvPr/>
        </p:nvSpPr>
        <p:spPr>
          <a:xfrm>
            <a:off x="5814868" y="4658666"/>
            <a:ext cx="1033204" cy="677108"/>
          </a:xfrm>
          <a:prstGeom prst="rect">
            <a:avLst/>
          </a:prstGeom>
          <a:noFill/>
        </p:spPr>
        <p:txBody>
          <a:bodyPr wrap="square" lIns="0" tIns="0" rIns="0" bIns="0" rtlCol="0">
            <a:spAutoFit/>
          </a:bodyPr>
          <a:lstStyle/>
          <a:p>
            <a:r>
              <a:rPr lang="en-GB" sz="1100" b="1">
                <a:latin typeface="Century Gothic" panose="020B0502020202020204" pitchFamily="34" charset="0"/>
              </a:rPr>
              <a:t>2020 </a:t>
            </a:r>
          </a:p>
          <a:p>
            <a:r>
              <a:rPr lang="en-GB" sz="1100" i="1">
                <a:latin typeface="Century Gothic" panose="020B0502020202020204" pitchFamily="34" charset="0"/>
              </a:rPr>
              <a:t>1</a:t>
            </a:r>
            <a:r>
              <a:rPr lang="en-GB" sz="1100" i="1" baseline="30000">
                <a:latin typeface="Century Gothic" panose="020B0502020202020204" pitchFamily="34" charset="0"/>
              </a:rPr>
              <a:t>st</a:t>
            </a:r>
            <a:r>
              <a:rPr lang="en-GB" sz="1100" i="1">
                <a:latin typeface="Century Gothic" panose="020B0502020202020204" pitchFamily="34" charset="0"/>
              </a:rPr>
              <a:t> NDC update (“NDCs 2.0”)</a:t>
            </a:r>
          </a:p>
        </p:txBody>
      </p:sp>
      <p:sp>
        <p:nvSpPr>
          <p:cNvPr id="202" name="Rectangle: Rounded Corners 201">
            <a:extLst>
              <a:ext uri="{FF2B5EF4-FFF2-40B4-BE49-F238E27FC236}">
                <a16:creationId xmlns:a16="http://schemas.microsoft.com/office/drawing/2014/main" id="{9E293C43-C1E0-CCB2-8211-784424FB4F31}"/>
              </a:ext>
            </a:extLst>
          </p:cNvPr>
          <p:cNvSpPr>
            <a:spLocks/>
          </p:cNvSpPr>
          <p:nvPr/>
        </p:nvSpPr>
        <p:spPr>
          <a:xfrm>
            <a:off x="6264334" y="2120447"/>
            <a:ext cx="1338731" cy="1002139"/>
          </a:xfrm>
          <a:prstGeom prst="roundRect">
            <a:avLst/>
          </a:prstGeom>
          <a:solidFill>
            <a:schemeClr val="accent3">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r>
              <a:rPr lang="en-GB" sz="1100" b="1">
                <a:solidFill>
                  <a:schemeClr val="tx1"/>
                </a:solidFill>
                <a:latin typeface="Century Gothic" panose="020B0502020202020204" pitchFamily="34" charset="0"/>
              </a:rPr>
              <a:t>2021 </a:t>
            </a:r>
          </a:p>
          <a:p>
            <a:pPr algn="ctr"/>
            <a:r>
              <a:rPr lang="en-GB" sz="1100" i="1">
                <a:solidFill>
                  <a:schemeClr val="tx1"/>
                </a:solidFill>
                <a:latin typeface="Century Gothic" panose="020B0502020202020204" pitchFamily="34" charset="0"/>
              </a:rPr>
              <a:t>COP26</a:t>
            </a:r>
          </a:p>
          <a:p>
            <a:pPr algn="ctr"/>
            <a:r>
              <a:rPr lang="en-GB" sz="1100" i="1">
                <a:solidFill>
                  <a:schemeClr val="tx1"/>
                </a:solidFill>
                <a:latin typeface="Century Gothic" panose="020B0502020202020204" pitchFamily="34" charset="0"/>
              </a:rPr>
              <a:t>Glasgow Climate Pact</a:t>
            </a:r>
          </a:p>
          <a:p>
            <a:pPr algn="ctr"/>
            <a:endParaRPr lang="en-GB" sz="1100">
              <a:ln>
                <a:noFill/>
              </a:ln>
              <a:solidFill>
                <a:schemeClr val="tx1"/>
              </a:solidFill>
              <a:latin typeface="Century Gothic" panose="020B0502020202020204" pitchFamily="34" charset="0"/>
            </a:endParaRPr>
          </a:p>
        </p:txBody>
      </p:sp>
      <p:cxnSp>
        <p:nvCxnSpPr>
          <p:cNvPr id="203" name="Straight Arrow Connector 202">
            <a:extLst>
              <a:ext uri="{FF2B5EF4-FFF2-40B4-BE49-F238E27FC236}">
                <a16:creationId xmlns:a16="http://schemas.microsoft.com/office/drawing/2014/main" id="{9ED7EAC3-61EC-D3BB-0ED5-7F3E2593687C}"/>
              </a:ext>
            </a:extLst>
          </p:cNvPr>
          <p:cNvCxnSpPr>
            <a:cxnSpLocks/>
            <a:stCxn id="202" idx="2"/>
          </p:cNvCxnSpPr>
          <p:nvPr/>
        </p:nvCxnSpPr>
        <p:spPr>
          <a:xfrm>
            <a:off x="6933700" y="3122586"/>
            <a:ext cx="0" cy="1041918"/>
          </a:xfrm>
          <a:prstGeom prst="straightConnector1">
            <a:avLst/>
          </a:prstGeom>
          <a:ln w="28575">
            <a:solidFill>
              <a:schemeClr val="accent1"/>
            </a:solidFill>
            <a:tailEnd type="oval"/>
          </a:ln>
        </p:spPr>
        <p:style>
          <a:lnRef idx="1">
            <a:schemeClr val="accent1"/>
          </a:lnRef>
          <a:fillRef idx="0">
            <a:schemeClr val="accent1"/>
          </a:fillRef>
          <a:effectRef idx="0">
            <a:schemeClr val="accent1"/>
          </a:effectRef>
          <a:fontRef idx="minor">
            <a:schemeClr val="tx1"/>
          </a:fontRef>
        </p:style>
      </p:cxnSp>
      <p:cxnSp>
        <p:nvCxnSpPr>
          <p:cNvPr id="208" name="Straight Arrow Connector 207">
            <a:extLst>
              <a:ext uri="{FF2B5EF4-FFF2-40B4-BE49-F238E27FC236}">
                <a16:creationId xmlns:a16="http://schemas.microsoft.com/office/drawing/2014/main" id="{19F06A43-05B4-EC90-3952-00603CAD574E}"/>
              </a:ext>
            </a:extLst>
          </p:cNvPr>
          <p:cNvCxnSpPr>
            <a:cxnSpLocks/>
          </p:cNvCxnSpPr>
          <p:nvPr/>
        </p:nvCxnSpPr>
        <p:spPr>
          <a:xfrm flipV="1">
            <a:off x="7863085" y="4151594"/>
            <a:ext cx="0" cy="233010"/>
          </a:xfrm>
          <a:prstGeom prst="straightConnector1">
            <a:avLst/>
          </a:prstGeom>
          <a:ln w="28575">
            <a:solidFill>
              <a:schemeClr val="accent1"/>
            </a:solidFill>
            <a:tailEnd type="oval"/>
          </a:ln>
        </p:spPr>
        <p:style>
          <a:lnRef idx="1">
            <a:schemeClr val="accent1"/>
          </a:lnRef>
          <a:fillRef idx="0">
            <a:schemeClr val="accent1"/>
          </a:fillRef>
          <a:effectRef idx="0">
            <a:schemeClr val="accent1"/>
          </a:effectRef>
          <a:fontRef idx="minor">
            <a:schemeClr val="tx1"/>
          </a:fontRef>
        </p:style>
      </p:cxnSp>
      <p:sp>
        <p:nvSpPr>
          <p:cNvPr id="209" name="TextBox 208">
            <a:extLst>
              <a:ext uri="{FF2B5EF4-FFF2-40B4-BE49-F238E27FC236}">
                <a16:creationId xmlns:a16="http://schemas.microsoft.com/office/drawing/2014/main" id="{D9E4C3A2-AB56-E7F7-1AF5-7B8938531A96}"/>
              </a:ext>
            </a:extLst>
          </p:cNvPr>
          <p:cNvSpPr txBox="1"/>
          <p:nvPr/>
        </p:nvSpPr>
        <p:spPr>
          <a:xfrm>
            <a:off x="6721012" y="4446613"/>
            <a:ext cx="1313294" cy="846386"/>
          </a:xfrm>
          <a:prstGeom prst="rect">
            <a:avLst/>
          </a:prstGeom>
          <a:noFill/>
        </p:spPr>
        <p:txBody>
          <a:bodyPr wrap="square" lIns="0" tIns="0" rIns="0" bIns="0" rtlCol="0">
            <a:spAutoFit/>
          </a:bodyPr>
          <a:lstStyle/>
          <a:p>
            <a:pPr algn="r"/>
            <a:r>
              <a:rPr lang="en-GB" sz="1100" b="1">
                <a:latin typeface="Century Gothic" panose="020B0502020202020204" pitchFamily="34" charset="0"/>
              </a:rPr>
              <a:t>2022 </a:t>
            </a:r>
          </a:p>
          <a:p>
            <a:pPr algn="r"/>
            <a:r>
              <a:rPr lang="en-GB" sz="1100" i="1">
                <a:latin typeface="Century Gothic" panose="020B0502020202020204" pitchFamily="34" charset="0"/>
              </a:rPr>
              <a:t>COP27</a:t>
            </a:r>
          </a:p>
          <a:p>
            <a:pPr algn="r"/>
            <a:r>
              <a:rPr lang="en-GB" sz="1100" i="1">
                <a:latin typeface="Century Gothic" panose="020B0502020202020204" pitchFamily="34" charset="0"/>
              </a:rPr>
              <a:t>Sharm el-Sheikh Implementation Plan</a:t>
            </a:r>
          </a:p>
        </p:txBody>
      </p:sp>
      <p:sp>
        <p:nvSpPr>
          <p:cNvPr id="219" name="TextBox 218">
            <a:extLst>
              <a:ext uri="{FF2B5EF4-FFF2-40B4-BE49-F238E27FC236}">
                <a16:creationId xmlns:a16="http://schemas.microsoft.com/office/drawing/2014/main" id="{41B3E65E-799C-367C-6D9B-0F65F3A5CA92}"/>
              </a:ext>
            </a:extLst>
          </p:cNvPr>
          <p:cNvSpPr txBox="1">
            <a:spLocks/>
          </p:cNvSpPr>
          <p:nvPr/>
        </p:nvSpPr>
        <p:spPr>
          <a:xfrm>
            <a:off x="8493872" y="1637795"/>
            <a:ext cx="2506711" cy="553998"/>
          </a:xfrm>
          <a:prstGeom prst="rect">
            <a:avLst/>
          </a:prstGeom>
          <a:noFill/>
        </p:spPr>
        <p:txBody>
          <a:bodyPr wrap="square" lIns="0" tIns="0" rIns="0" bIns="0" rtlCol="0">
            <a:spAutoFit/>
          </a:bodyPr>
          <a:lstStyle/>
          <a:p>
            <a:pPr algn="ctr"/>
            <a:r>
              <a:rPr lang="en-GB" sz="1200" b="1">
                <a:latin typeface="Century Gothic" panose="020B0502020202020204" pitchFamily="34" charset="0"/>
              </a:rPr>
              <a:t>Global Stocktake, 2</a:t>
            </a:r>
            <a:r>
              <a:rPr lang="en-GB" sz="1200" b="1" baseline="30000">
                <a:latin typeface="Century Gothic" panose="020B0502020202020204" pitchFamily="34" charset="0"/>
              </a:rPr>
              <a:t>nd</a:t>
            </a:r>
            <a:r>
              <a:rPr lang="en-GB" sz="1200" b="1">
                <a:latin typeface="Century Gothic" panose="020B0502020202020204" pitchFamily="34" charset="0"/>
              </a:rPr>
              <a:t> round of NDC updates: last chance to close the gap to 1.5°C</a:t>
            </a:r>
            <a:endParaRPr lang="en-GB" sz="1200" i="1">
              <a:latin typeface="Century Gothic" panose="020B0502020202020204" pitchFamily="34" charset="0"/>
            </a:endParaRPr>
          </a:p>
        </p:txBody>
      </p:sp>
      <p:cxnSp>
        <p:nvCxnSpPr>
          <p:cNvPr id="238" name="Straight Arrow Connector 237">
            <a:extLst>
              <a:ext uri="{FF2B5EF4-FFF2-40B4-BE49-F238E27FC236}">
                <a16:creationId xmlns:a16="http://schemas.microsoft.com/office/drawing/2014/main" id="{6657F623-CAFF-3161-1632-0FC848C06843}"/>
              </a:ext>
            </a:extLst>
          </p:cNvPr>
          <p:cNvCxnSpPr>
            <a:cxnSpLocks/>
          </p:cNvCxnSpPr>
          <p:nvPr/>
        </p:nvCxnSpPr>
        <p:spPr>
          <a:xfrm flipV="1">
            <a:off x="8779203" y="4168740"/>
            <a:ext cx="0" cy="362914"/>
          </a:xfrm>
          <a:prstGeom prst="straightConnector1">
            <a:avLst/>
          </a:prstGeom>
          <a:ln w="28575">
            <a:solidFill>
              <a:schemeClr val="accent2"/>
            </a:solidFill>
            <a:tailEnd type="oval"/>
          </a:ln>
        </p:spPr>
        <p:style>
          <a:lnRef idx="1">
            <a:schemeClr val="accent1"/>
          </a:lnRef>
          <a:fillRef idx="0">
            <a:schemeClr val="accent1"/>
          </a:fillRef>
          <a:effectRef idx="0">
            <a:schemeClr val="accent1"/>
          </a:effectRef>
          <a:fontRef idx="minor">
            <a:schemeClr val="tx1"/>
          </a:fontRef>
        </p:style>
      </p:cxnSp>
      <p:sp>
        <p:nvSpPr>
          <p:cNvPr id="239" name="TextBox 238">
            <a:extLst>
              <a:ext uri="{FF2B5EF4-FFF2-40B4-BE49-F238E27FC236}">
                <a16:creationId xmlns:a16="http://schemas.microsoft.com/office/drawing/2014/main" id="{68A72036-6D99-E372-FEA7-A2E9E5E320AF}"/>
              </a:ext>
            </a:extLst>
          </p:cNvPr>
          <p:cNvSpPr txBox="1"/>
          <p:nvPr/>
        </p:nvSpPr>
        <p:spPr>
          <a:xfrm>
            <a:off x="8694333" y="4619772"/>
            <a:ext cx="2112865" cy="846386"/>
          </a:xfrm>
          <a:prstGeom prst="rect">
            <a:avLst/>
          </a:prstGeom>
          <a:noFill/>
        </p:spPr>
        <p:txBody>
          <a:bodyPr wrap="square" lIns="0" tIns="0" rIns="0" bIns="0" rtlCol="0">
            <a:spAutoFit/>
          </a:bodyPr>
          <a:lstStyle/>
          <a:p>
            <a:r>
              <a:rPr lang="en-GB" sz="1100" b="1">
                <a:latin typeface="Century Gothic" panose="020B0502020202020204" pitchFamily="34" charset="0"/>
              </a:rPr>
              <a:t>2023 </a:t>
            </a:r>
          </a:p>
          <a:p>
            <a:r>
              <a:rPr lang="en-GB" sz="1100" i="1">
                <a:latin typeface="Century Gothic" panose="020B0502020202020204" pitchFamily="34" charset="0"/>
              </a:rPr>
              <a:t>COP28</a:t>
            </a:r>
          </a:p>
          <a:p>
            <a:r>
              <a:rPr lang="en-GB" sz="1100" i="1">
                <a:latin typeface="Century Gothic" panose="020B0502020202020204" pitchFamily="34" charset="0"/>
              </a:rPr>
              <a:t>Dubai</a:t>
            </a:r>
          </a:p>
          <a:p>
            <a:r>
              <a:rPr lang="en-GB" sz="1100" i="1">
                <a:latin typeface="Century Gothic" panose="020B0502020202020204" pitchFamily="34" charset="0"/>
              </a:rPr>
              <a:t>UAE Consensus + Outcome of 1</a:t>
            </a:r>
            <a:r>
              <a:rPr lang="en-GB" sz="1100" i="1" baseline="30000">
                <a:latin typeface="Century Gothic" panose="020B0502020202020204" pitchFamily="34" charset="0"/>
              </a:rPr>
              <a:t>st</a:t>
            </a:r>
            <a:r>
              <a:rPr lang="en-GB" sz="1100" i="1">
                <a:latin typeface="Century Gothic" panose="020B0502020202020204" pitchFamily="34" charset="0"/>
              </a:rPr>
              <a:t> Global Stock Take</a:t>
            </a:r>
          </a:p>
        </p:txBody>
      </p:sp>
      <p:cxnSp>
        <p:nvCxnSpPr>
          <p:cNvPr id="240" name="Straight Arrow Connector 239">
            <a:extLst>
              <a:ext uri="{FF2B5EF4-FFF2-40B4-BE49-F238E27FC236}">
                <a16:creationId xmlns:a16="http://schemas.microsoft.com/office/drawing/2014/main" id="{1A606383-80E1-E39E-3ED1-8A58484611F2}"/>
              </a:ext>
            </a:extLst>
          </p:cNvPr>
          <p:cNvCxnSpPr>
            <a:cxnSpLocks/>
            <a:stCxn id="241" idx="2"/>
          </p:cNvCxnSpPr>
          <p:nvPr/>
        </p:nvCxnSpPr>
        <p:spPr>
          <a:xfrm>
            <a:off x="10095187" y="3722240"/>
            <a:ext cx="0" cy="380278"/>
          </a:xfrm>
          <a:prstGeom prst="straightConnector1">
            <a:avLst/>
          </a:prstGeom>
          <a:ln w="28575">
            <a:solidFill>
              <a:schemeClr val="accent6"/>
            </a:solidFill>
            <a:tailEnd type="oval"/>
          </a:ln>
        </p:spPr>
        <p:style>
          <a:lnRef idx="1">
            <a:schemeClr val="accent1"/>
          </a:lnRef>
          <a:fillRef idx="0">
            <a:schemeClr val="accent1"/>
          </a:fillRef>
          <a:effectRef idx="0">
            <a:schemeClr val="accent1"/>
          </a:effectRef>
          <a:fontRef idx="minor">
            <a:schemeClr val="tx1"/>
          </a:fontRef>
        </p:style>
      </p:cxnSp>
      <p:sp>
        <p:nvSpPr>
          <p:cNvPr id="241" name="TextBox 240">
            <a:extLst>
              <a:ext uri="{FF2B5EF4-FFF2-40B4-BE49-F238E27FC236}">
                <a16:creationId xmlns:a16="http://schemas.microsoft.com/office/drawing/2014/main" id="{7DAEDD85-EF43-6AA7-FE0B-E3F76A044CFB}"/>
              </a:ext>
            </a:extLst>
          </p:cNvPr>
          <p:cNvSpPr txBox="1">
            <a:spLocks/>
          </p:cNvSpPr>
          <p:nvPr/>
        </p:nvSpPr>
        <p:spPr>
          <a:xfrm>
            <a:off x="9505950" y="3214409"/>
            <a:ext cx="1178474" cy="507831"/>
          </a:xfrm>
          <a:prstGeom prst="rect">
            <a:avLst/>
          </a:prstGeom>
          <a:noFill/>
        </p:spPr>
        <p:txBody>
          <a:bodyPr wrap="square" lIns="0" tIns="0" rIns="0" bIns="0" rtlCol="0">
            <a:spAutoFit/>
          </a:bodyPr>
          <a:lstStyle/>
          <a:p>
            <a:pPr algn="ctr"/>
            <a:r>
              <a:rPr lang="en-GB" sz="1100" b="1">
                <a:latin typeface="Century Gothic" panose="020B0502020202020204" pitchFamily="34" charset="0"/>
              </a:rPr>
              <a:t>2024-25 </a:t>
            </a:r>
          </a:p>
          <a:p>
            <a:pPr algn="ctr"/>
            <a:r>
              <a:rPr lang="en-GB" sz="1100" i="1">
                <a:latin typeface="Century Gothic" panose="020B0502020202020204" pitchFamily="34" charset="0"/>
              </a:rPr>
              <a:t>2</a:t>
            </a:r>
            <a:r>
              <a:rPr lang="en-GB" sz="1100" i="1" baseline="30000">
                <a:latin typeface="Century Gothic" panose="020B0502020202020204" pitchFamily="34" charset="0"/>
              </a:rPr>
              <a:t>nd</a:t>
            </a:r>
            <a:r>
              <a:rPr lang="en-GB" sz="1100" i="1">
                <a:latin typeface="Century Gothic" panose="020B0502020202020204" pitchFamily="34" charset="0"/>
              </a:rPr>
              <a:t> NDC update (“NDCs 3.0”)</a:t>
            </a:r>
          </a:p>
        </p:txBody>
      </p:sp>
      <p:sp>
        <p:nvSpPr>
          <p:cNvPr id="245" name="Rectangle: Rounded Corners 244">
            <a:extLst>
              <a:ext uri="{FF2B5EF4-FFF2-40B4-BE49-F238E27FC236}">
                <a16:creationId xmlns:a16="http://schemas.microsoft.com/office/drawing/2014/main" id="{3C28AB5C-7A03-5FAB-773A-CB64B0E0B58A}"/>
              </a:ext>
            </a:extLst>
          </p:cNvPr>
          <p:cNvSpPr>
            <a:spLocks/>
          </p:cNvSpPr>
          <p:nvPr/>
        </p:nvSpPr>
        <p:spPr>
          <a:xfrm>
            <a:off x="9988351" y="4444772"/>
            <a:ext cx="1046958" cy="721706"/>
          </a:xfrm>
          <a:prstGeom prst="roundRect">
            <a:avLst/>
          </a:prstGeom>
          <a:solidFill>
            <a:schemeClr val="accent3">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r>
              <a:rPr lang="en-GB" sz="1100" b="1">
                <a:solidFill>
                  <a:schemeClr val="tx1"/>
                </a:solidFill>
                <a:latin typeface="Century Gothic" panose="020B0502020202020204" pitchFamily="34" charset="0"/>
              </a:rPr>
              <a:t>2025 </a:t>
            </a:r>
          </a:p>
          <a:p>
            <a:pPr algn="ctr"/>
            <a:r>
              <a:rPr lang="en-GB" sz="1100" i="1">
                <a:solidFill>
                  <a:schemeClr val="tx1"/>
                </a:solidFill>
                <a:latin typeface="Century Gothic" panose="020B0502020202020204" pitchFamily="34" charset="0"/>
              </a:rPr>
              <a:t>COP30</a:t>
            </a:r>
          </a:p>
          <a:p>
            <a:pPr algn="ctr"/>
            <a:r>
              <a:rPr lang="en-GB" sz="1100" i="1">
                <a:solidFill>
                  <a:schemeClr val="tx1"/>
                </a:solidFill>
                <a:latin typeface="Century Gothic" panose="020B0502020202020204" pitchFamily="34" charset="0"/>
              </a:rPr>
              <a:t>Brazil</a:t>
            </a:r>
          </a:p>
          <a:p>
            <a:pPr algn="ctr"/>
            <a:endParaRPr lang="en-GB" sz="1100">
              <a:ln>
                <a:noFill/>
              </a:ln>
              <a:solidFill>
                <a:schemeClr val="tx1"/>
              </a:solidFill>
              <a:latin typeface="Century Gothic" panose="020B0502020202020204" pitchFamily="34" charset="0"/>
            </a:endParaRPr>
          </a:p>
        </p:txBody>
      </p:sp>
      <p:cxnSp>
        <p:nvCxnSpPr>
          <p:cNvPr id="246" name="Straight Arrow Connector 245">
            <a:extLst>
              <a:ext uri="{FF2B5EF4-FFF2-40B4-BE49-F238E27FC236}">
                <a16:creationId xmlns:a16="http://schemas.microsoft.com/office/drawing/2014/main" id="{307609F3-5879-9BA9-6BF1-FCA01C2FD4E5}"/>
              </a:ext>
            </a:extLst>
          </p:cNvPr>
          <p:cNvCxnSpPr>
            <a:cxnSpLocks/>
          </p:cNvCxnSpPr>
          <p:nvPr/>
        </p:nvCxnSpPr>
        <p:spPr>
          <a:xfrm flipV="1">
            <a:off x="10592854" y="4189707"/>
            <a:ext cx="0" cy="238763"/>
          </a:xfrm>
          <a:prstGeom prst="straightConnector1">
            <a:avLst/>
          </a:prstGeom>
          <a:ln w="28575">
            <a:solidFill>
              <a:schemeClr val="accent1"/>
            </a:solidFill>
            <a:tailEnd type="oval"/>
          </a:ln>
        </p:spPr>
        <p:style>
          <a:lnRef idx="1">
            <a:schemeClr val="accent1"/>
          </a:lnRef>
          <a:fillRef idx="0">
            <a:schemeClr val="accent1"/>
          </a:fillRef>
          <a:effectRef idx="0">
            <a:schemeClr val="accent1"/>
          </a:effectRef>
          <a:fontRef idx="minor">
            <a:schemeClr val="tx1"/>
          </a:fontRef>
        </p:style>
      </p:cxnSp>
      <p:sp>
        <p:nvSpPr>
          <p:cNvPr id="258" name="Footer Placeholder 3">
            <a:extLst>
              <a:ext uri="{FF2B5EF4-FFF2-40B4-BE49-F238E27FC236}">
                <a16:creationId xmlns:a16="http://schemas.microsoft.com/office/drawing/2014/main" id="{15B9E615-6875-E699-960A-114F4138D1D9}"/>
              </a:ext>
            </a:extLst>
          </p:cNvPr>
          <p:cNvSpPr txBox="1">
            <a:spLocks/>
          </p:cNvSpPr>
          <p:nvPr/>
        </p:nvSpPr>
        <p:spPr>
          <a:xfrm>
            <a:off x="255588" y="6262531"/>
            <a:ext cx="11771311" cy="524830"/>
          </a:xfrm>
          <a:prstGeom prst="rect">
            <a:avLst/>
          </a:prstGeom>
          <a:solidFill>
            <a:schemeClr val="bg1"/>
          </a:solidFill>
        </p:spPr>
        <p:txBody>
          <a:bodyPr anchor="ctr"/>
          <a:lstStyle>
            <a:defPPr>
              <a:defRPr lang="de-DE"/>
            </a:defPPr>
            <a:lvl1pPr marL="0" algn="l" defTabSz="914400" rtl="0" eaLnBrk="1" latinLnBrk="0" hangingPunct="1">
              <a:defRPr sz="900" kern="1200">
                <a:solidFill>
                  <a:schemeClr val="tx1"/>
                </a:solidFill>
                <a:latin typeface="Century Gothic" panose="020B0502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Note: INDCs = Intended Nationally Determined Contributions, emissions and temperature outcomes post-2023 are assumed constant for illustration purposes. </a:t>
            </a:r>
          </a:p>
          <a:p>
            <a:r>
              <a:rPr lang="en-US"/>
              <a:t>Source: Systemiq analysis for the ETC, Climate Action Tracker (2023), </a:t>
            </a:r>
            <a:r>
              <a:rPr lang="en-US" i="1"/>
              <a:t>Warming Projections Global Update December 2023. </a:t>
            </a:r>
          </a:p>
        </p:txBody>
      </p:sp>
    </p:spTree>
    <p:extLst>
      <p:ext uri="{BB962C8B-B14F-4D97-AF65-F5344CB8AC3E}">
        <p14:creationId xmlns:p14="http://schemas.microsoft.com/office/powerpoint/2010/main" val="222890401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1EABC86-5A72-4793-82A5-A6A26A1B8109}"/>
              </a:ext>
            </a:extLst>
          </p:cNvPr>
          <p:cNvGraphicFramePr>
            <a:graphicFrameLocks noChangeAspect="1"/>
          </p:cNvGraphicFramePr>
          <p:nvPr>
            <p:custDataLst>
              <p:tags r:id="rId1"/>
            </p:custDataLst>
            <p:extLst>
              <p:ext uri="{D42A27DB-BD31-4B8C-83A1-F6EECF244321}">
                <p14:modId xmlns:p14="http://schemas.microsoft.com/office/powerpoint/2010/main" val="31467606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8" imgW="395" imgH="394" progId="TCLayout.ActiveDocument.1">
                  <p:embed/>
                </p:oleObj>
              </mc:Choice>
              <mc:Fallback>
                <p:oleObj name="think-cell Slide" r:id="rId38" imgW="395" imgH="394" progId="TCLayout.ActiveDocument.1">
                  <p:embed/>
                  <p:pic>
                    <p:nvPicPr>
                      <p:cNvPr id="7" name="Object 6" hidden="1">
                        <a:extLst>
                          <a:ext uri="{FF2B5EF4-FFF2-40B4-BE49-F238E27FC236}">
                            <a16:creationId xmlns:a16="http://schemas.microsoft.com/office/drawing/2014/main" id="{41EABC86-5A72-4793-82A5-A6A26A1B8109}"/>
                          </a:ext>
                        </a:extLst>
                      </p:cNvPr>
                      <p:cNvPicPr/>
                      <p:nvPr/>
                    </p:nvPicPr>
                    <p:blipFill>
                      <a:blip r:embed="rId39"/>
                      <a:stretch>
                        <a:fillRect/>
                      </a:stretch>
                    </p:blipFill>
                    <p:spPr>
                      <a:xfrm>
                        <a:off x="1588" y="1588"/>
                        <a:ext cx="1588" cy="1588"/>
                      </a:xfrm>
                      <a:prstGeom prst="rect">
                        <a:avLst/>
                      </a:prstGeom>
                    </p:spPr>
                  </p:pic>
                </p:oleObj>
              </mc:Fallback>
            </mc:AlternateContent>
          </a:graphicData>
        </a:graphic>
      </p:graphicFrame>
      <p:sp>
        <p:nvSpPr>
          <p:cNvPr id="95" name="Freeform: Shape 94">
            <a:extLst>
              <a:ext uri="{FF2B5EF4-FFF2-40B4-BE49-F238E27FC236}">
                <a16:creationId xmlns:a16="http://schemas.microsoft.com/office/drawing/2014/main" id="{D19489C9-8145-F0D5-5DD5-06FBAF3B3AF5}"/>
              </a:ext>
            </a:extLst>
          </p:cNvPr>
          <p:cNvSpPr/>
          <p:nvPr/>
        </p:nvSpPr>
        <p:spPr>
          <a:xfrm>
            <a:off x="6096000" y="1881188"/>
            <a:ext cx="2652713" cy="3810000"/>
          </a:xfrm>
          <a:custGeom>
            <a:avLst/>
            <a:gdLst>
              <a:gd name="connsiteX0" fmla="*/ 0 w 2652713"/>
              <a:gd name="connsiteY0" fmla="*/ 0 h 3810000"/>
              <a:gd name="connsiteX1" fmla="*/ 433388 w 2652713"/>
              <a:gd name="connsiteY1" fmla="*/ 1919287 h 3810000"/>
              <a:gd name="connsiteX2" fmla="*/ 1519238 w 2652713"/>
              <a:gd name="connsiteY2" fmla="*/ 3152775 h 3810000"/>
              <a:gd name="connsiteX3" fmla="*/ 2633663 w 2652713"/>
              <a:gd name="connsiteY3" fmla="*/ 3810000 h 3810000"/>
              <a:gd name="connsiteX4" fmla="*/ 2652713 w 2652713"/>
              <a:gd name="connsiteY4" fmla="*/ 3124200 h 3810000"/>
              <a:gd name="connsiteX5" fmla="*/ 1566863 w 2652713"/>
              <a:gd name="connsiteY5" fmla="*/ 2424112 h 3810000"/>
              <a:gd name="connsiteX6" fmla="*/ 452438 w 2652713"/>
              <a:gd name="connsiteY6" fmla="*/ 1319212 h 3810000"/>
              <a:gd name="connsiteX7" fmla="*/ 0 w 2652713"/>
              <a:gd name="connsiteY7" fmla="*/ 0 h 38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52713" h="3810000">
                <a:moveTo>
                  <a:pt x="0" y="0"/>
                </a:moveTo>
                <a:lnTo>
                  <a:pt x="433388" y="1919287"/>
                </a:lnTo>
                <a:lnTo>
                  <a:pt x="1519238" y="3152775"/>
                </a:lnTo>
                <a:lnTo>
                  <a:pt x="2633663" y="3810000"/>
                </a:lnTo>
                <a:lnTo>
                  <a:pt x="2652713" y="3124200"/>
                </a:lnTo>
                <a:lnTo>
                  <a:pt x="1566863" y="2424112"/>
                </a:lnTo>
                <a:lnTo>
                  <a:pt x="452438" y="1319212"/>
                </a:lnTo>
                <a:lnTo>
                  <a:pt x="0" y="0"/>
                </a:lnTo>
                <a:close/>
              </a:path>
            </a:pathLst>
          </a:custGeom>
          <a:solidFill>
            <a:srgbClr val="EDFFC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a:ln>
                <a:noFill/>
              </a:ln>
              <a:solidFill>
                <a:schemeClr val="bg1"/>
              </a:solidFill>
              <a:latin typeface="Century Gothic" panose="020B0502020202020204" pitchFamily="34" charset="0"/>
            </a:endParaRPr>
          </a:p>
        </p:txBody>
      </p:sp>
      <p:sp>
        <p:nvSpPr>
          <p:cNvPr id="94" name="Freeform: Shape 93">
            <a:extLst>
              <a:ext uri="{FF2B5EF4-FFF2-40B4-BE49-F238E27FC236}">
                <a16:creationId xmlns:a16="http://schemas.microsoft.com/office/drawing/2014/main" id="{31230233-1BDB-2634-5118-A96794BE4D9A}"/>
              </a:ext>
            </a:extLst>
          </p:cNvPr>
          <p:cNvSpPr/>
          <p:nvPr/>
        </p:nvSpPr>
        <p:spPr>
          <a:xfrm>
            <a:off x="6115050" y="1828800"/>
            <a:ext cx="2638425" cy="2724150"/>
          </a:xfrm>
          <a:custGeom>
            <a:avLst/>
            <a:gdLst>
              <a:gd name="connsiteX0" fmla="*/ 61913 w 2638425"/>
              <a:gd name="connsiteY0" fmla="*/ 214313 h 2724150"/>
              <a:gd name="connsiteX1" fmla="*/ 404813 w 2638425"/>
              <a:gd name="connsiteY1" fmla="*/ 1376363 h 2724150"/>
              <a:gd name="connsiteX2" fmla="*/ 1514475 w 2638425"/>
              <a:gd name="connsiteY2" fmla="*/ 2143125 h 2724150"/>
              <a:gd name="connsiteX3" fmla="*/ 2638425 w 2638425"/>
              <a:gd name="connsiteY3" fmla="*/ 2724150 h 2724150"/>
              <a:gd name="connsiteX4" fmla="*/ 2619375 w 2638425"/>
              <a:gd name="connsiteY4" fmla="*/ 1943100 h 2724150"/>
              <a:gd name="connsiteX5" fmla="*/ 1514475 w 2638425"/>
              <a:gd name="connsiteY5" fmla="*/ 1233488 h 2724150"/>
              <a:gd name="connsiteX6" fmla="*/ 414338 w 2638425"/>
              <a:gd name="connsiteY6" fmla="*/ 700088 h 2724150"/>
              <a:gd name="connsiteX7" fmla="*/ 0 w 2638425"/>
              <a:gd name="connsiteY7" fmla="*/ 0 h 2724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38425" h="2724150">
                <a:moveTo>
                  <a:pt x="61913" y="214313"/>
                </a:moveTo>
                <a:lnTo>
                  <a:pt x="404813" y="1376363"/>
                </a:lnTo>
                <a:lnTo>
                  <a:pt x="1514475" y="2143125"/>
                </a:lnTo>
                <a:lnTo>
                  <a:pt x="2638425" y="2724150"/>
                </a:lnTo>
                <a:lnTo>
                  <a:pt x="2619375" y="1943100"/>
                </a:lnTo>
                <a:lnTo>
                  <a:pt x="1514475" y="1233488"/>
                </a:lnTo>
                <a:lnTo>
                  <a:pt x="414338" y="700088"/>
                </a:lnTo>
                <a:lnTo>
                  <a:pt x="0" y="0"/>
                </a:lnTo>
              </a:path>
            </a:pathLst>
          </a:custGeom>
          <a:solidFill>
            <a:srgbClr val="FFF5CC"/>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Rectangle 8">
            <a:extLst>
              <a:ext uri="{FF2B5EF4-FFF2-40B4-BE49-F238E27FC236}">
                <a16:creationId xmlns:a16="http://schemas.microsoft.com/office/drawing/2014/main" id="{70F238B3-84FB-84C7-2D0B-D69BD7727C80}"/>
              </a:ext>
            </a:extLst>
          </p:cNvPr>
          <p:cNvSpPr/>
          <p:nvPr/>
        </p:nvSpPr>
        <p:spPr>
          <a:xfrm>
            <a:off x="203200" y="6248400"/>
            <a:ext cx="1259840" cy="589385"/>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US" sz="1400">
              <a:ln>
                <a:noFill/>
              </a:ln>
              <a:solidFill>
                <a:schemeClr val="bg1"/>
              </a:solidFill>
              <a:latin typeface="Century Gothic" panose="020B0502020202020204" pitchFamily="34" charset="0"/>
            </a:endParaRPr>
          </a:p>
        </p:txBody>
      </p:sp>
      <p:sp>
        <p:nvSpPr>
          <p:cNvPr id="2" name="Title 1">
            <a:extLst>
              <a:ext uri="{FF2B5EF4-FFF2-40B4-BE49-F238E27FC236}">
                <a16:creationId xmlns:a16="http://schemas.microsoft.com/office/drawing/2014/main" id="{84E13208-AA70-4116-9C35-A3E9EE4F8C77}"/>
              </a:ext>
            </a:extLst>
          </p:cNvPr>
          <p:cNvSpPr>
            <a:spLocks noGrp="1"/>
          </p:cNvSpPr>
          <p:nvPr>
            <p:ph type="title"/>
          </p:nvPr>
        </p:nvSpPr>
        <p:spPr>
          <a:xfrm>
            <a:off x="366779" y="179388"/>
            <a:ext cx="11677583" cy="708715"/>
          </a:xfrm>
        </p:spPr>
        <p:txBody>
          <a:bodyPr vert="horz"/>
          <a:lstStyle/>
          <a:p>
            <a:r>
              <a:rPr lang="en-GB" sz="2000"/>
              <a:t>Targets of current NDCs, if fully implemented, are only expected to deliver ~6 GtCO</a:t>
            </a:r>
            <a:r>
              <a:rPr lang="en-GB" sz="2000" baseline="-25000"/>
              <a:t>2</a:t>
            </a:r>
            <a:r>
              <a:rPr lang="en-GB" sz="2000"/>
              <a:t>e of mitigation per year by 2035</a:t>
            </a:r>
          </a:p>
        </p:txBody>
      </p:sp>
      <p:sp>
        <p:nvSpPr>
          <p:cNvPr id="4" name="Slide Number Placeholder 3">
            <a:extLst>
              <a:ext uri="{FF2B5EF4-FFF2-40B4-BE49-F238E27FC236}">
                <a16:creationId xmlns:a16="http://schemas.microsoft.com/office/drawing/2014/main" id="{5B2E696E-88B1-482D-B29E-10A2D5F7E884}"/>
              </a:ext>
            </a:extLst>
          </p:cNvPr>
          <p:cNvSpPr>
            <a:spLocks noGrp="1"/>
          </p:cNvSpPr>
          <p:nvPr>
            <p:ph type="sldNum" sz="quarter" idx="12"/>
          </p:nvPr>
        </p:nvSpPr>
        <p:spPr>
          <a:xfrm>
            <a:off x="11523663" y="6342890"/>
            <a:ext cx="506413" cy="374690"/>
          </a:xfrm>
        </p:spPr>
        <p:txBody>
          <a:bodyPr/>
          <a:lstStyle/>
          <a:p>
            <a:fld id="{ABB6D191-819E-455F-BC39-F2381519C0C1}" type="slidenum">
              <a:rPr lang="en-GB" sz="1100" noProof="0" smtClean="0"/>
              <a:pPr/>
              <a:t>8</a:t>
            </a:fld>
            <a:endParaRPr lang="en-GB" sz="1100" noProof="0"/>
          </a:p>
        </p:txBody>
      </p:sp>
      <p:sp>
        <p:nvSpPr>
          <p:cNvPr id="431" name="Footer Placeholder 3">
            <a:extLst>
              <a:ext uri="{FF2B5EF4-FFF2-40B4-BE49-F238E27FC236}">
                <a16:creationId xmlns:a16="http://schemas.microsoft.com/office/drawing/2014/main" id="{7EAE2B14-5C89-816D-62A1-2FCB9EFFFEFA}"/>
              </a:ext>
            </a:extLst>
          </p:cNvPr>
          <p:cNvSpPr txBox="1">
            <a:spLocks/>
          </p:cNvSpPr>
          <p:nvPr/>
        </p:nvSpPr>
        <p:spPr>
          <a:xfrm>
            <a:off x="366779" y="6151821"/>
            <a:ext cx="11677583" cy="605857"/>
          </a:xfrm>
          <a:prstGeom prst="rect">
            <a:avLst/>
          </a:prstGeom>
          <a:solidFill>
            <a:schemeClr val="bg1"/>
          </a:solidFill>
        </p:spPr>
        <p:txBody>
          <a:bodyPr lIns="0" tIns="0" rIns="0" bIns="0" anchor="b"/>
          <a:lstStyle>
            <a:defPPr>
              <a:defRPr lang="de-DE"/>
            </a:defPPr>
            <a:lvl1pPr marL="0" algn="l" defTabSz="914400" rtl="0" eaLnBrk="1" latinLnBrk="0" hangingPunct="1">
              <a:defRPr sz="900" kern="1200">
                <a:solidFill>
                  <a:schemeClr val="tx1"/>
                </a:solidFill>
                <a:latin typeface="Century Gothic" panose="020B0502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Notes: [</a:t>
            </a:r>
            <a:r>
              <a:rPr lang="en-US" err="1"/>
              <a:t>i</a:t>
            </a:r>
            <a:r>
              <a:rPr lang="en-US"/>
              <a:t>] Based on IPCC Working Group III Sixth Assessment Report scenario class c1 (limit warming to 1.5°C (&gt;50%) with no or limited overshoot). [ii] Based on IPCC Working Group III Sixth Assessment Report scenario class c3 (limit warming to 2°C (&gt;67%)). [iii] Range corresponds to range between tenth and ninetieth percentile, central line corresponds to median. </a:t>
            </a:r>
          </a:p>
          <a:p>
            <a:r>
              <a:rPr lang="en-US"/>
              <a:t>Sources: Systemiq analysis for the ETC based on [1] IPCC (2022), </a:t>
            </a:r>
            <a:r>
              <a:rPr lang="en-US" i="1"/>
              <a:t>Metadata Browser: Data for Figure SPM.5 - Summary for Policymakers of the WGIII Contribution to the IPCC AR6</a:t>
            </a:r>
            <a:r>
              <a:rPr lang="en-US"/>
              <a:t>, [2] UNEP (2023), </a:t>
            </a:r>
            <a:r>
              <a:rPr lang="en-US" i="1"/>
              <a:t>Emissions Gap Report: Broken Record.</a:t>
            </a:r>
          </a:p>
        </p:txBody>
      </p:sp>
      <p:sp>
        <p:nvSpPr>
          <p:cNvPr id="8" name="Speech Bubble: Rectangle 7">
            <a:extLst>
              <a:ext uri="{FF2B5EF4-FFF2-40B4-BE49-F238E27FC236}">
                <a16:creationId xmlns:a16="http://schemas.microsoft.com/office/drawing/2014/main" id="{F9CB737E-65E8-2978-EB48-7147599DA7AA}"/>
              </a:ext>
            </a:extLst>
          </p:cNvPr>
          <p:cNvSpPr>
            <a:spLocks/>
          </p:cNvSpPr>
          <p:nvPr/>
        </p:nvSpPr>
        <p:spPr>
          <a:xfrm>
            <a:off x="9704909" y="2980862"/>
            <a:ext cx="1959836" cy="781976"/>
          </a:xfrm>
          <a:prstGeom prst="wedgeRectCallout">
            <a:avLst>
              <a:gd name="adj1" fmla="val -81436"/>
              <a:gd name="adj2" fmla="val 3604"/>
            </a:avLst>
          </a:prstGeom>
          <a:solidFill>
            <a:srgbClr val="FFF5C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algn="ctr"/>
            <a:r>
              <a:rPr lang="en-GB" sz="1400" b="1">
                <a:solidFill>
                  <a:schemeClr val="tx1"/>
                </a:solidFill>
                <a:latin typeface="Century Gothic" panose="020B0502020202020204" pitchFamily="34" charset="0"/>
              </a:rPr>
              <a:t>11–19 GtCO</a:t>
            </a:r>
            <a:r>
              <a:rPr lang="en-GB" sz="1400" b="1" baseline="-25000">
                <a:solidFill>
                  <a:schemeClr val="tx1"/>
                </a:solidFill>
                <a:latin typeface="Century Gothic" panose="020B0502020202020204" pitchFamily="34" charset="0"/>
              </a:rPr>
              <a:t>2</a:t>
            </a:r>
            <a:r>
              <a:rPr lang="en-GB" sz="1400" b="1">
                <a:solidFill>
                  <a:schemeClr val="tx1"/>
                </a:solidFill>
                <a:latin typeface="Century Gothic" panose="020B0502020202020204" pitchFamily="34" charset="0"/>
              </a:rPr>
              <a:t>e</a:t>
            </a:r>
          </a:p>
          <a:p>
            <a:pPr algn="ctr"/>
            <a:r>
              <a:rPr lang="en-GB" sz="1200" i="1" u="sng">
                <a:solidFill>
                  <a:schemeClr val="tx1"/>
                </a:solidFill>
                <a:latin typeface="Century Gothic" panose="020B0502020202020204" pitchFamily="34" charset="0"/>
              </a:rPr>
              <a:t>Ambition</a:t>
            </a:r>
            <a:r>
              <a:rPr lang="en-GB" sz="1200" i="1">
                <a:solidFill>
                  <a:schemeClr val="tx1"/>
                </a:solidFill>
                <a:latin typeface="Century Gothic" panose="020B0502020202020204" pitchFamily="34" charset="0"/>
              </a:rPr>
              <a:t> gap to 2°C</a:t>
            </a:r>
          </a:p>
        </p:txBody>
      </p:sp>
      <p:sp>
        <p:nvSpPr>
          <p:cNvPr id="10" name="Rectangle 9">
            <a:extLst>
              <a:ext uri="{FF2B5EF4-FFF2-40B4-BE49-F238E27FC236}">
                <a16:creationId xmlns:a16="http://schemas.microsoft.com/office/drawing/2014/main" id="{8528CD1A-E219-8C40-772D-2F0CC7186B01}"/>
              </a:ext>
            </a:extLst>
          </p:cNvPr>
          <p:cNvSpPr>
            <a:spLocks/>
          </p:cNvSpPr>
          <p:nvPr/>
        </p:nvSpPr>
        <p:spPr>
          <a:xfrm>
            <a:off x="366779" y="919021"/>
            <a:ext cx="11446626" cy="4651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b" anchorCtr="0" forceAA="0" compatLnSpc="1">
            <a:prstTxWarp prst="textNoShape">
              <a:avLst/>
            </a:prstTxWarp>
            <a:noAutofit/>
          </a:bodyPr>
          <a:lstStyle/>
          <a:p>
            <a:r>
              <a:rPr lang="en-GB" sz="1401" b="1">
                <a:solidFill>
                  <a:schemeClr val="tx2"/>
                </a:solidFill>
                <a:latin typeface="Century Gothic" panose="020B0502020202020204" pitchFamily="34" charset="0"/>
              </a:rPr>
              <a:t>Global GHG emissions</a:t>
            </a:r>
            <a:endParaRPr lang="en-US" sz="1100" b="1">
              <a:solidFill>
                <a:schemeClr val="tx2"/>
              </a:solidFill>
              <a:latin typeface="Century Gothic" panose="020B0502020202020204" pitchFamily="34" charset="0"/>
            </a:endParaRPr>
          </a:p>
          <a:p>
            <a:r>
              <a:rPr lang="en-US" sz="1100">
                <a:solidFill>
                  <a:schemeClr val="bg1">
                    <a:lumMod val="50000"/>
                  </a:schemeClr>
                </a:solidFill>
                <a:latin typeface="Century Gothic" panose="020B0502020202020204" pitchFamily="34" charset="0"/>
              </a:rPr>
              <a:t>GtCO</a:t>
            </a:r>
            <a:r>
              <a:rPr lang="en-US" sz="1100" baseline="-25000">
                <a:solidFill>
                  <a:schemeClr val="bg1">
                    <a:lumMod val="50000"/>
                  </a:schemeClr>
                </a:solidFill>
                <a:latin typeface="Century Gothic" panose="020B0502020202020204" pitchFamily="34" charset="0"/>
              </a:rPr>
              <a:t>2</a:t>
            </a:r>
            <a:r>
              <a:rPr lang="en-US" sz="1100">
                <a:solidFill>
                  <a:schemeClr val="bg1">
                    <a:lumMod val="50000"/>
                  </a:schemeClr>
                </a:solidFill>
                <a:latin typeface="Century Gothic" panose="020B0502020202020204" pitchFamily="34" charset="0"/>
              </a:rPr>
              <a:t>e p.a. </a:t>
            </a:r>
          </a:p>
        </p:txBody>
      </p:sp>
      <p:cxnSp>
        <p:nvCxnSpPr>
          <p:cNvPr id="11" name="Straight Connector 10">
            <a:extLst>
              <a:ext uri="{FF2B5EF4-FFF2-40B4-BE49-F238E27FC236}">
                <a16:creationId xmlns:a16="http://schemas.microsoft.com/office/drawing/2014/main" id="{670DC94F-074C-6359-A9BC-A2C16D11906E}"/>
              </a:ext>
            </a:extLst>
          </p:cNvPr>
          <p:cNvCxnSpPr>
            <a:cxnSpLocks/>
          </p:cNvCxnSpPr>
          <p:nvPr/>
        </p:nvCxnSpPr>
        <p:spPr>
          <a:xfrm>
            <a:off x="366779" y="1384159"/>
            <a:ext cx="11446626"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4D23AD8A-DCF3-BA17-4E01-953BBBC47331}"/>
              </a:ext>
            </a:extLst>
          </p:cNvPr>
          <p:cNvCxnSpPr>
            <a:cxnSpLocks/>
          </p:cNvCxnSpPr>
          <p:nvPr/>
        </p:nvCxnSpPr>
        <p:spPr>
          <a:xfrm>
            <a:off x="8812848" y="4114799"/>
            <a:ext cx="500170" cy="0"/>
          </a:xfrm>
          <a:prstGeom prst="line">
            <a:avLst/>
          </a:prstGeom>
          <a:ln w="1905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1C0EF150-7DB5-8B0C-2899-6B9DAE6091A8}"/>
              </a:ext>
            </a:extLst>
          </p:cNvPr>
          <p:cNvCxnSpPr>
            <a:cxnSpLocks/>
          </p:cNvCxnSpPr>
          <p:nvPr/>
        </p:nvCxnSpPr>
        <p:spPr>
          <a:xfrm>
            <a:off x="8812848" y="5239762"/>
            <a:ext cx="500170" cy="0"/>
          </a:xfrm>
          <a:prstGeom prst="line">
            <a:avLst/>
          </a:prstGeom>
          <a:ln w="1905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647B65EF-85F1-4AEF-AD7C-80D24D363EBE}"/>
              </a:ext>
            </a:extLst>
          </p:cNvPr>
          <p:cNvCxnSpPr>
            <a:cxnSpLocks/>
          </p:cNvCxnSpPr>
          <p:nvPr/>
        </p:nvCxnSpPr>
        <p:spPr>
          <a:xfrm flipV="1">
            <a:off x="9062933" y="2667000"/>
            <a:ext cx="0" cy="1409700"/>
          </a:xfrm>
          <a:prstGeom prst="straightConnector1">
            <a:avLst/>
          </a:prstGeom>
          <a:ln w="19050">
            <a:solidFill>
              <a:srgbClr val="FFCD00"/>
            </a:solidFill>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1020660D-3F8E-9D5F-83D5-2CDBEB1A48F8}"/>
              </a:ext>
            </a:extLst>
          </p:cNvPr>
          <p:cNvCxnSpPr>
            <a:cxnSpLocks/>
          </p:cNvCxnSpPr>
          <p:nvPr/>
        </p:nvCxnSpPr>
        <p:spPr>
          <a:xfrm>
            <a:off x="9062933" y="4141398"/>
            <a:ext cx="0" cy="1068777"/>
          </a:xfrm>
          <a:prstGeom prst="straightConnector1">
            <a:avLst/>
          </a:prstGeom>
          <a:ln w="19050">
            <a:solidFill>
              <a:srgbClr val="95D60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31BF0341-89DC-1644-F76F-252CEC9B1307}"/>
              </a:ext>
            </a:extLst>
          </p:cNvPr>
          <p:cNvCxnSpPr>
            <a:cxnSpLocks/>
          </p:cNvCxnSpPr>
          <p:nvPr/>
        </p:nvCxnSpPr>
        <p:spPr>
          <a:xfrm>
            <a:off x="8812848" y="2643385"/>
            <a:ext cx="500170" cy="0"/>
          </a:xfrm>
          <a:prstGeom prst="line">
            <a:avLst/>
          </a:prstGeom>
          <a:ln w="1905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933C5570-F267-3053-AFF8-4A91EFB11E15}"/>
              </a:ext>
            </a:extLst>
          </p:cNvPr>
          <p:cNvCxnSpPr/>
          <p:nvPr>
            <p:custDataLst>
              <p:tags r:id="rId2"/>
            </p:custDataLst>
          </p:nvPr>
        </p:nvCxnSpPr>
        <p:spPr bwMode="auto">
          <a:xfrm flipH="1">
            <a:off x="938213" y="5827713"/>
            <a:ext cx="42863"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 name="Straight Connector 36">
            <a:extLst>
              <a:ext uri="{FF2B5EF4-FFF2-40B4-BE49-F238E27FC236}">
                <a16:creationId xmlns:a16="http://schemas.microsoft.com/office/drawing/2014/main" id="{19360CC4-978B-5B90-BEBD-EED065EBA809}"/>
              </a:ext>
            </a:extLst>
          </p:cNvPr>
          <p:cNvCxnSpPr/>
          <p:nvPr>
            <p:custDataLst>
              <p:tags r:id="rId3"/>
            </p:custDataLst>
          </p:nvPr>
        </p:nvCxnSpPr>
        <p:spPr bwMode="auto">
          <a:xfrm flipH="1">
            <a:off x="938213" y="5210175"/>
            <a:ext cx="42863"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8" name="Straight Connector 37">
            <a:extLst>
              <a:ext uri="{FF2B5EF4-FFF2-40B4-BE49-F238E27FC236}">
                <a16:creationId xmlns:a16="http://schemas.microsoft.com/office/drawing/2014/main" id="{8E8AA67B-39F4-DF3D-D782-3B80EC93B7B5}"/>
              </a:ext>
            </a:extLst>
          </p:cNvPr>
          <p:cNvCxnSpPr/>
          <p:nvPr>
            <p:custDataLst>
              <p:tags r:id="rId4"/>
            </p:custDataLst>
          </p:nvPr>
        </p:nvCxnSpPr>
        <p:spPr bwMode="auto">
          <a:xfrm flipH="1">
            <a:off x="938213" y="4700588"/>
            <a:ext cx="42863"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9" name="Straight Connector 38">
            <a:extLst>
              <a:ext uri="{FF2B5EF4-FFF2-40B4-BE49-F238E27FC236}">
                <a16:creationId xmlns:a16="http://schemas.microsoft.com/office/drawing/2014/main" id="{BFC814F8-E3F3-35F7-A470-3087BFEDC804}"/>
              </a:ext>
            </a:extLst>
          </p:cNvPr>
          <p:cNvCxnSpPr/>
          <p:nvPr>
            <p:custDataLst>
              <p:tags r:id="rId5"/>
            </p:custDataLst>
          </p:nvPr>
        </p:nvCxnSpPr>
        <p:spPr bwMode="auto">
          <a:xfrm flipH="1">
            <a:off x="938213" y="4192588"/>
            <a:ext cx="42863"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0" name="Straight Connector 39">
            <a:extLst>
              <a:ext uri="{FF2B5EF4-FFF2-40B4-BE49-F238E27FC236}">
                <a16:creationId xmlns:a16="http://schemas.microsoft.com/office/drawing/2014/main" id="{1A36F1AF-C9B6-5DD6-F434-E9BD4CD5430B}"/>
              </a:ext>
            </a:extLst>
          </p:cNvPr>
          <p:cNvCxnSpPr/>
          <p:nvPr>
            <p:custDataLst>
              <p:tags r:id="rId6"/>
            </p:custDataLst>
          </p:nvPr>
        </p:nvCxnSpPr>
        <p:spPr bwMode="auto">
          <a:xfrm flipH="1">
            <a:off x="938213" y="3684588"/>
            <a:ext cx="42863"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 name="Straight Connector 40">
            <a:extLst>
              <a:ext uri="{FF2B5EF4-FFF2-40B4-BE49-F238E27FC236}">
                <a16:creationId xmlns:a16="http://schemas.microsoft.com/office/drawing/2014/main" id="{47F22579-F28C-A423-D01A-B771BED6DF8C}"/>
              </a:ext>
            </a:extLst>
          </p:cNvPr>
          <p:cNvCxnSpPr/>
          <p:nvPr>
            <p:custDataLst>
              <p:tags r:id="rId7"/>
            </p:custDataLst>
          </p:nvPr>
        </p:nvCxnSpPr>
        <p:spPr bwMode="auto">
          <a:xfrm flipH="1">
            <a:off x="938213" y="3176588"/>
            <a:ext cx="42863"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 name="Straight Connector 41">
            <a:extLst>
              <a:ext uri="{FF2B5EF4-FFF2-40B4-BE49-F238E27FC236}">
                <a16:creationId xmlns:a16="http://schemas.microsoft.com/office/drawing/2014/main" id="{4F487B29-CA37-E119-35FE-B3CC85E4E5E2}"/>
              </a:ext>
            </a:extLst>
          </p:cNvPr>
          <p:cNvCxnSpPr/>
          <p:nvPr>
            <p:custDataLst>
              <p:tags r:id="rId8"/>
            </p:custDataLst>
          </p:nvPr>
        </p:nvCxnSpPr>
        <p:spPr bwMode="auto">
          <a:xfrm flipH="1">
            <a:off x="938213" y="2667000"/>
            <a:ext cx="42863"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 name="Straight Connector 42">
            <a:extLst>
              <a:ext uri="{FF2B5EF4-FFF2-40B4-BE49-F238E27FC236}">
                <a16:creationId xmlns:a16="http://schemas.microsoft.com/office/drawing/2014/main" id="{B3E6B630-B95A-6034-1E38-77EDDE22C188}"/>
              </a:ext>
            </a:extLst>
          </p:cNvPr>
          <p:cNvCxnSpPr/>
          <p:nvPr>
            <p:custDataLst>
              <p:tags r:id="rId9"/>
            </p:custDataLst>
          </p:nvPr>
        </p:nvCxnSpPr>
        <p:spPr bwMode="auto">
          <a:xfrm flipH="1">
            <a:off x="938213" y="2159000"/>
            <a:ext cx="42863"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 name="Straight Connector 43">
            <a:extLst>
              <a:ext uri="{FF2B5EF4-FFF2-40B4-BE49-F238E27FC236}">
                <a16:creationId xmlns:a16="http://schemas.microsoft.com/office/drawing/2014/main" id="{5B9E59DD-31F2-C35A-AD65-804B21ADC31C}"/>
              </a:ext>
            </a:extLst>
          </p:cNvPr>
          <p:cNvCxnSpPr/>
          <p:nvPr>
            <p:custDataLst>
              <p:tags r:id="rId10"/>
            </p:custDataLst>
          </p:nvPr>
        </p:nvCxnSpPr>
        <p:spPr bwMode="auto">
          <a:xfrm flipH="1">
            <a:off x="938213" y="1651000"/>
            <a:ext cx="42863"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90" name="Chart 89">
            <a:extLst>
              <a:ext uri="{FF2B5EF4-FFF2-40B4-BE49-F238E27FC236}">
                <a16:creationId xmlns:a16="http://schemas.microsoft.com/office/drawing/2014/main" id="{44FBB689-115F-CC5D-0896-A5A638AF0141}"/>
              </a:ext>
            </a:extLst>
          </p:cNvPr>
          <p:cNvGraphicFramePr/>
          <p:nvPr>
            <p:custDataLst>
              <p:tags r:id="rId11"/>
            </p:custDataLst>
            <p:extLst>
              <p:ext uri="{D42A27DB-BD31-4B8C-83A1-F6EECF244321}">
                <p14:modId xmlns:p14="http://schemas.microsoft.com/office/powerpoint/2010/main" val="2357523451"/>
              </p:ext>
            </p:extLst>
          </p:nvPr>
        </p:nvGraphicFramePr>
        <p:xfrm>
          <a:off x="681038" y="1568450"/>
          <a:ext cx="8366125" cy="4633913"/>
        </p:xfrm>
        <a:graphic>
          <a:graphicData uri="http://schemas.openxmlformats.org/drawingml/2006/chart">
            <c:chart xmlns:c="http://schemas.openxmlformats.org/drawingml/2006/chart" xmlns:r="http://schemas.openxmlformats.org/officeDocument/2006/relationships" r:id="rId40"/>
          </a:graphicData>
        </a:graphic>
      </p:graphicFrame>
      <p:sp>
        <p:nvSpPr>
          <p:cNvPr id="18" name="Text Placeholder 2">
            <a:extLst>
              <a:ext uri="{FF2B5EF4-FFF2-40B4-BE49-F238E27FC236}">
                <a16:creationId xmlns:a16="http://schemas.microsoft.com/office/drawing/2014/main" id="{B926D567-524F-4499-A030-E098F89DCD34}"/>
              </a:ext>
            </a:extLst>
          </p:cNvPr>
          <p:cNvSpPr>
            <a:spLocks noGrp="1"/>
          </p:cNvSpPr>
          <p:nvPr>
            <p:custDataLst>
              <p:tags r:id="rId12"/>
            </p:custDataLst>
          </p:nvPr>
        </p:nvSpPr>
        <p:spPr bwMode="gray">
          <a:xfrm>
            <a:off x="782638" y="5764213"/>
            <a:ext cx="69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2DDFE25C-6BF5-4D4A-BA75-26362E4F2908}" type="datetime'''''''''''''0'''">
              <a:rPr lang="en-GB" altLang="en-US" sz="1000" smtClean="0">
                <a:effectLst/>
              </a:rPr>
              <a:pPr marL="0" lvl="0" indent="0" algn="r">
                <a:spcBef>
                  <a:spcPct val="0"/>
                </a:spcBef>
                <a:spcAft>
                  <a:spcPct val="0"/>
                </a:spcAft>
                <a:buNone/>
              </a:pPr>
              <a:t>0</a:t>
            </a:fld>
            <a:endParaRPr lang="en-GB" sz="1000" noProof="0"/>
          </a:p>
        </p:txBody>
      </p:sp>
      <p:sp>
        <p:nvSpPr>
          <p:cNvPr id="20" name="Text Placeholder 2">
            <a:extLst>
              <a:ext uri="{FF2B5EF4-FFF2-40B4-BE49-F238E27FC236}">
                <a16:creationId xmlns:a16="http://schemas.microsoft.com/office/drawing/2014/main" id="{B926D567-524F-4499-A030-E098F89DCD34}"/>
              </a:ext>
            </a:extLst>
          </p:cNvPr>
          <p:cNvSpPr>
            <a:spLocks noGrp="1"/>
          </p:cNvSpPr>
          <p:nvPr>
            <p:custDataLst>
              <p:tags r:id="rId13"/>
            </p:custDataLst>
          </p:nvPr>
        </p:nvSpPr>
        <p:spPr bwMode="gray">
          <a:xfrm>
            <a:off x="712788" y="5146675"/>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67EC2663-5427-4DD6-85BF-5339A492A18F}" type="datetime'2''''''''''''''5'''''''''''''''''''''''''''''''''''''''''">
              <a:rPr lang="en-GB" altLang="en-US" sz="1000" smtClean="0">
                <a:effectLst/>
              </a:rPr>
              <a:pPr marL="0" lvl="0" indent="0" algn="r">
                <a:spcBef>
                  <a:spcPct val="0"/>
                </a:spcBef>
                <a:spcAft>
                  <a:spcPct val="0"/>
                </a:spcAft>
                <a:buNone/>
              </a:pPr>
              <a:t>25</a:t>
            </a:fld>
            <a:endParaRPr lang="en-GB" sz="1000" noProof="0"/>
          </a:p>
        </p:txBody>
      </p:sp>
      <p:sp>
        <p:nvSpPr>
          <p:cNvPr id="21" name="Text Placeholder 2">
            <a:extLst>
              <a:ext uri="{FF2B5EF4-FFF2-40B4-BE49-F238E27FC236}">
                <a16:creationId xmlns:a16="http://schemas.microsoft.com/office/drawing/2014/main" id="{B926D567-524F-4499-A030-E098F89DCD34}"/>
              </a:ext>
            </a:extLst>
          </p:cNvPr>
          <p:cNvSpPr>
            <a:spLocks noGrp="1"/>
          </p:cNvSpPr>
          <p:nvPr>
            <p:custDataLst>
              <p:tags r:id="rId14"/>
            </p:custDataLst>
          </p:nvPr>
        </p:nvSpPr>
        <p:spPr bwMode="gray">
          <a:xfrm>
            <a:off x="712788" y="4637088"/>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195BAC90-49D6-4148-BB8D-8C4E71B6F79A}" type="datetime'''''''''''''3''''0'''''''''''''''''''''''">
              <a:rPr lang="en-GB" altLang="en-US" sz="1000" smtClean="0">
                <a:effectLst/>
              </a:rPr>
              <a:pPr marL="0" lvl="0" indent="0" algn="r">
                <a:spcBef>
                  <a:spcPct val="0"/>
                </a:spcBef>
                <a:spcAft>
                  <a:spcPct val="0"/>
                </a:spcAft>
                <a:buNone/>
              </a:pPr>
              <a:t>30</a:t>
            </a:fld>
            <a:endParaRPr lang="en-GB" sz="1000" noProof="0"/>
          </a:p>
        </p:txBody>
      </p:sp>
      <p:sp>
        <p:nvSpPr>
          <p:cNvPr id="22" name="Text Placeholder 2">
            <a:extLst>
              <a:ext uri="{FF2B5EF4-FFF2-40B4-BE49-F238E27FC236}">
                <a16:creationId xmlns:a16="http://schemas.microsoft.com/office/drawing/2014/main" id="{B926D567-524F-4499-A030-E098F89DCD34}"/>
              </a:ext>
            </a:extLst>
          </p:cNvPr>
          <p:cNvSpPr>
            <a:spLocks noGrp="1"/>
          </p:cNvSpPr>
          <p:nvPr>
            <p:custDataLst>
              <p:tags r:id="rId15"/>
            </p:custDataLst>
          </p:nvPr>
        </p:nvSpPr>
        <p:spPr bwMode="gray">
          <a:xfrm>
            <a:off x="712788" y="4129088"/>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EC483083-F6C2-41F9-AF55-C4D885305606}" type="datetime'''''''''''''''''''''''''''''''''''''''3''''''''''''''5'">
              <a:rPr lang="en-GB" altLang="en-US" sz="1000" smtClean="0">
                <a:effectLst/>
              </a:rPr>
              <a:pPr marL="0" lvl="0" indent="0" algn="r">
                <a:spcBef>
                  <a:spcPct val="0"/>
                </a:spcBef>
                <a:spcAft>
                  <a:spcPct val="0"/>
                </a:spcAft>
                <a:buNone/>
              </a:pPr>
              <a:t>35</a:t>
            </a:fld>
            <a:endParaRPr lang="en-GB" sz="1000" noProof="0"/>
          </a:p>
        </p:txBody>
      </p:sp>
      <p:sp>
        <p:nvSpPr>
          <p:cNvPr id="23" name="Text Placeholder 2">
            <a:extLst>
              <a:ext uri="{FF2B5EF4-FFF2-40B4-BE49-F238E27FC236}">
                <a16:creationId xmlns:a16="http://schemas.microsoft.com/office/drawing/2014/main" id="{B926D567-524F-4499-A030-E098F89DCD34}"/>
              </a:ext>
            </a:extLst>
          </p:cNvPr>
          <p:cNvSpPr>
            <a:spLocks noGrp="1"/>
          </p:cNvSpPr>
          <p:nvPr>
            <p:custDataLst>
              <p:tags r:id="rId16"/>
            </p:custDataLst>
          </p:nvPr>
        </p:nvSpPr>
        <p:spPr bwMode="gray">
          <a:xfrm>
            <a:off x="712788" y="3621088"/>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EA59518C-1E11-41CE-9AD7-88253B8A82CD}" type="datetime'''''''4''''''0'''''''''''''''''''''''''''''''''''''''''''">
              <a:rPr lang="en-GB" altLang="en-US" sz="1000" smtClean="0">
                <a:effectLst/>
              </a:rPr>
              <a:pPr marL="0" lvl="0" indent="0" algn="r">
                <a:spcBef>
                  <a:spcPct val="0"/>
                </a:spcBef>
                <a:spcAft>
                  <a:spcPct val="0"/>
                </a:spcAft>
                <a:buNone/>
              </a:pPr>
              <a:t>40</a:t>
            </a:fld>
            <a:endParaRPr lang="en-GB" sz="1000" noProof="0"/>
          </a:p>
        </p:txBody>
      </p:sp>
      <p:sp>
        <p:nvSpPr>
          <p:cNvPr id="24" name="Text Placeholder 2">
            <a:extLst>
              <a:ext uri="{FF2B5EF4-FFF2-40B4-BE49-F238E27FC236}">
                <a16:creationId xmlns:a16="http://schemas.microsoft.com/office/drawing/2014/main" id="{B926D567-524F-4499-A030-E098F89DCD34}"/>
              </a:ext>
            </a:extLst>
          </p:cNvPr>
          <p:cNvSpPr>
            <a:spLocks noGrp="1"/>
          </p:cNvSpPr>
          <p:nvPr>
            <p:custDataLst>
              <p:tags r:id="rId17"/>
            </p:custDataLst>
          </p:nvPr>
        </p:nvSpPr>
        <p:spPr bwMode="gray">
          <a:xfrm>
            <a:off x="712788" y="3113088"/>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AF27D9AA-7215-42B6-90CB-2954AB57312D}" type="datetime'''''''''''''''''4''''''''''''''''''''''''''''5'''''">
              <a:rPr lang="en-GB" altLang="en-US" sz="1000" smtClean="0">
                <a:effectLst/>
              </a:rPr>
              <a:pPr marL="0" lvl="0" indent="0" algn="r">
                <a:spcBef>
                  <a:spcPct val="0"/>
                </a:spcBef>
                <a:spcAft>
                  <a:spcPct val="0"/>
                </a:spcAft>
                <a:buNone/>
              </a:pPr>
              <a:t>45</a:t>
            </a:fld>
            <a:endParaRPr lang="en-GB" sz="1000" noProof="0"/>
          </a:p>
        </p:txBody>
      </p:sp>
      <p:sp>
        <p:nvSpPr>
          <p:cNvPr id="25" name="Text Placeholder 2">
            <a:extLst>
              <a:ext uri="{FF2B5EF4-FFF2-40B4-BE49-F238E27FC236}">
                <a16:creationId xmlns:a16="http://schemas.microsoft.com/office/drawing/2014/main" id="{B926D567-524F-4499-A030-E098F89DCD34}"/>
              </a:ext>
            </a:extLst>
          </p:cNvPr>
          <p:cNvSpPr>
            <a:spLocks noGrp="1"/>
          </p:cNvSpPr>
          <p:nvPr>
            <p:custDataLst>
              <p:tags r:id="rId18"/>
            </p:custDataLst>
          </p:nvPr>
        </p:nvSpPr>
        <p:spPr bwMode="gray">
          <a:xfrm>
            <a:off x="712788" y="2603500"/>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19828DFA-20D2-4348-B39F-E7E326160375}" type="datetime'''''''''''''''''''5''''''''''''''''''''''''''''''0'''''''''">
              <a:rPr lang="en-GB" altLang="en-US" sz="1000" smtClean="0">
                <a:effectLst/>
              </a:rPr>
              <a:pPr marL="0" lvl="0" indent="0" algn="r">
                <a:spcBef>
                  <a:spcPct val="0"/>
                </a:spcBef>
                <a:spcAft>
                  <a:spcPct val="0"/>
                </a:spcAft>
                <a:buNone/>
              </a:pPr>
              <a:t>50</a:t>
            </a:fld>
            <a:endParaRPr lang="en-GB" sz="1000" noProof="0"/>
          </a:p>
        </p:txBody>
      </p:sp>
      <p:sp>
        <p:nvSpPr>
          <p:cNvPr id="34" name="Text Placeholder 2">
            <a:extLst>
              <a:ext uri="{FF2B5EF4-FFF2-40B4-BE49-F238E27FC236}">
                <a16:creationId xmlns:a16="http://schemas.microsoft.com/office/drawing/2014/main" id="{B926D567-524F-4499-A030-E098F89DCD34}"/>
              </a:ext>
            </a:extLst>
          </p:cNvPr>
          <p:cNvSpPr>
            <a:spLocks noGrp="1"/>
          </p:cNvSpPr>
          <p:nvPr>
            <p:custDataLst>
              <p:tags r:id="rId19"/>
            </p:custDataLst>
          </p:nvPr>
        </p:nvSpPr>
        <p:spPr bwMode="gray">
          <a:xfrm>
            <a:off x="712788" y="2095500"/>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51585517-2523-40B6-B80E-777A08DC3907}" type="datetime'''''''''5''5'''''''''''''''''''''''''''''''''''''''''''''''''">
              <a:rPr lang="en-GB" altLang="en-US" sz="1000" smtClean="0">
                <a:effectLst/>
              </a:rPr>
              <a:pPr marL="0" lvl="0" indent="0" algn="r">
                <a:spcBef>
                  <a:spcPct val="0"/>
                </a:spcBef>
                <a:spcAft>
                  <a:spcPct val="0"/>
                </a:spcAft>
                <a:buNone/>
              </a:pPr>
              <a:t>55</a:t>
            </a:fld>
            <a:endParaRPr lang="en-GB" sz="1000" noProof="0"/>
          </a:p>
        </p:txBody>
      </p:sp>
      <p:sp>
        <p:nvSpPr>
          <p:cNvPr id="35" name="Text Placeholder 2">
            <a:extLst>
              <a:ext uri="{FF2B5EF4-FFF2-40B4-BE49-F238E27FC236}">
                <a16:creationId xmlns:a16="http://schemas.microsoft.com/office/drawing/2014/main" id="{B926D567-524F-4499-A030-E098F89DCD34}"/>
              </a:ext>
            </a:extLst>
          </p:cNvPr>
          <p:cNvSpPr>
            <a:spLocks noGrp="1"/>
          </p:cNvSpPr>
          <p:nvPr>
            <p:custDataLst>
              <p:tags r:id="rId20"/>
            </p:custDataLst>
          </p:nvPr>
        </p:nvSpPr>
        <p:spPr bwMode="gray">
          <a:xfrm>
            <a:off x="712788" y="1587500"/>
            <a:ext cx="13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0BEA27F3-AB48-4E2D-B465-96DCFF624E9C}" type="datetime'6''''''''''''''''''''''''''''''''''''''''''''''''''0'''''''">
              <a:rPr lang="en-GB" altLang="en-US" sz="1000" smtClean="0">
                <a:effectLst/>
              </a:rPr>
              <a:pPr marL="0" lvl="0" indent="0" algn="r">
                <a:spcBef>
                  <a:spcPct val="0"/>
                </a:spcBef>
                <a:spcAft>
                  <a:spcPct val="0"/>
                </a:spcAft>
                <a:buNone/>
              </a:pPr>
              <a:t>60</a:t>
            </a:fld>
            <a:endParaRPr lang="en-GB" sz="1000" noProof="0"/>
          </a:p>
        </p:txBody>
      </p:sp>
      <p:sp useBgFill="1">
        <p:nvSpPr>
          <p:cNvPr id="71" name="Freeform: Shape 70">
            <a:extLst>
              <a:ext uri="{FF2B5EF4-FFF2-40B4-BE49-F238E27FC236}">
                <a16:creationId xmlns:a16="http://schemas.microsoft.com/office/drawing/2014/main" id="{5F9FC0D8-85E5-97BF-FD67-260CF3A7481E}"/>
              </a:ext>
            </a:extLst>
          </p:cNvPr>
          <p:cNvSpPr/>
          <p:nvPr>
            <p:custDataLst>
              <p:tags r:id="rId21"/>
            </p:custDataLst>
          </p:nvPr>
        </p:nvSpPr>
        <p:spPr bwMode="auto">
          <a:xfrm>
            <a:off x="908050" y="5715000"/>
            <a:ext cx="146050" cy="96838"/>
          </a:xfrm>
          <a:custGeom>
            <a:avLst/>
            <a:gdLst/>
            <a:ahLst/>
            <a:cxnLst/>
            <a:rect l="0" t="0" r="0" b="0"/>
            <a:pathLst>
              <a:path w="146051" h="96839">
                <a:moveTo>
                  <a:pt x="0" y="39688"/>
                </a:moveTo>
                <a:lnTo>
                  <a:pt x="146050" y="0"/>
                </a:lnTo>
                <a:lnTo>
                  <a:pt x="146050" y="57150"/>
                </a:lnTo>
                <a:lnTo>
                  <a:pt x="0" y="96838"/>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tx2"/>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a:ln>
                <a:noFill/>
              </a:ln>
              <a:solidFill>
                <a:schemeClr val="bg1"/>
              </a:solidFill>
              <a:latin typeface="Century Gothic" panose="020B0502020202020204" pitchFamily="34" charset="0"/>
            </a:endParaRPr>
          </a:p>
        </p:txBody>
      </p:sp>
      <p:sp>
        <p:nvSpPr>
          <p:cNvPr id="69" name="Freeform: Shape 68">
            <a:extLst>
              <a:ext uri="{FF2B5EF4-FFF2-40B4-BE49-F238E27FC236}">
                <a16:creationId xmlns:a16="http://schemas.microsoft.com/office/drawing/2014/main" id="{726AD3D4-894F-1F55-7C8A-C8C97C763429}"/>
              </a:ext>
            </a:extLst>
          </p:cNvPr>
          <p:cNvSpPr/>
          <p:nvPr>
            <p:custDataLst>
              <p:tags r:id="rId22"/>
            </p:custDataLst>
          </p:nvPr>
        </p:nvSpPr>
        <p:spPr bwMode="auto">
          <a:xfrm>
            <a:off x="908050" y="5715000"/>
            <a:ext cx="146050" cy="39688"/>
          </a:xfrm>
          <a:custGeom>
            <a:avLst/>
            <a:gdLst/>
            <a:ahLst/>
            <a:cxnLst/>
            <a:rect l="0" t="0" r="0" b="0"/>
            <a:pathLst>
              <a:path w="146051" h="39689">
                <a:moveTo>
                  <a:pt x="0" y="39688"/>
                </a:moveTo>
                <a:lnTo>
                  <a:pt x="146050" y="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70" name="Freeform: Shape 69">
            <a:extLst>
              <a:ext uri="{FF2B5EF4-FFF2-40B4-BE49-F238E27FC236}">
                <a16:creationId xmlns:a16="http://schemas.microsoft.com/office/drawing/2014/main" id="{EFE0A30D-2424-16E4-CA32-F720EA4C876C}"/>
              </a:ext>
            </a:extLst>
          </p:cNvPr>
          <p:cNvSpPr/>
          <p:nvPr>
            <p:custDataLst>
              <p:tags r:id="rId23"/>
            </p:custDataLst>
          </p:nvPr>
        </p:nvSpPr>
        <p:spPr bwMode="auto">
          <a:xfrm>
            <a:off x="908050" y="5772150"/>
            <a:ext cx="146050" cy="39688"/>
          </a:xfrm>
          <a:custGeom>
            <a:avLst/>
            <a:gdLst/>
            <a:ahLst/>
            <a:cxnLst/>
            <a:rect l="0" t="0" r="0" b="0"/>
            <a:pathLst>
              <a:path w="146051" h="39689">
                <a:moveTo>
                  <a:pt x="0" y="39688"/>
                </a:moveTo>
                <a:lnTo>
                  <a:pt x="146050" y="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cxnSp>
        <p:nvCxnSpPr>
          <p:cNvPr id="31" name="Straight Connector 30">
            <a:extLst>
              <a:ext uri="{FF2B5EF4-FFF2-40B4-BE49-F238E27FC236}">
                <a16:creationId xmlns:a16="http://schemas.microsoft.com/office/drawing/2014/main" id="{71EFF53A-9D3B-04CE-4F1D-C3F58230E030}"/>
              </a:ext>
            </a:extLst>
          </p:cNvPr>
          <p:cNvCxnSpPr>
            <a:cxnSpLocks/>
          </p:cNvCxnSpPr>
          <p:nvPr/>
        </p:nvCxnSpPr>
        <p:spPr>
          <a:xfrm>
            <a:off x="8812848" y="2059722"/>
            <a:ext cx="500170" cy="0"/>
          </a:xfrm>
          <a:prstGeom prst="line">
            <a:avLst/>
          </a:prstGeom>
          <a:ln w="1905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CF5AF0B5-B7B2-F205-11E7-0A9A08B3898A}"/>
              </a:ext>
            </a:extLst>
          </p:cNvPr>
          <p:cNvCxnSpPr>
            <a:cxnSpLocks/>
          </p:cNvCxnSpPr>
          <p:nvPr/>
        </p:nvCxnSpPr>
        <p:spPr>
          <a:xfrm>
            <a:off x="9062933" y="2071687"/>
            <a:ext cx="0" cy="531813"/>
          </a:xfrm>
          <a:prstGeom prst="straightConnector1">
            <a:avLst/>
          </a:prstGeom>
          <a:ln w="1905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3" name="Speech Bubble: Rectangle 32">
            <a:extLst>
              <a:ext uri="{FF2B5EF4-FFF2-40B4-BE49-F238E27FC236}">
                <a16:creationId xmlns:a16="http://schemas.microsoft.com/office/drawing/2014/main" id="{68B30E2E-B8A9-1870-ECC6-086719C7B9A0}"/>
              </a:ext>
            </a:extLst>
          </p:cNvPr>
          <p:cNvSpPr>
            <a:spLocks/>
          </p:cNvSpPr>
          <p:nvPr/>
        </p:nvSpPr>
        <p:spPr>
          <a:xfrm>
            <a:off x="9704909" y="2028853"/>
            <a:ext cx="1959836" cy="601663"/>
          </a:xfrm>
          <a:prstGeom prst="wedgeRectCallout">
            <a:avLst>
              <a:gd name="adj1" fmla="val -80858"/>
              <a:gd name="adj2" fmla="val 3005"/>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algn="ctr"/>
            <a:r>
              <a:rPr lang="en-GB" sz="1400" b="1">
                <a:solidFill>
                  <a:schemeClr val="bg1"/>
                </a:solidFill>
                <a:latin typeface="Century Gothic" panose="020B0502020202020204" pitchFamily="34" charset="0"/>
              </a:rPr>
              <a:t>~6 GtCO</a:t>
            </a:r>
            <a:r>
              <a:rPr lang="en-GB" sz="1400" b="1" baseline="-25000">
                <a:solidFill>
                  <a:schemeClr val="bg1"/>
                </a:solidFill>
                <a:latin typeface="Century Gothic" panose="020B0502020202020204" pitchFamily="34" charset="0"/>
              </a:rPr>
              <a:t>2</a:t>
            </a:r>
            <a:r>
              <a:rPr lang="en-GB" sz="1400" b="1">
                <a:solidFill>
                  <a:schemeClr val="bg1"/>
                </a:solidFill>
                <a:latin typeface="Century Gothic" panose="020B0502020202020204" pitchFamily="34" charset="0"/>
              </a:rPr>
              <a:t>e</a:t>
            </a:r>
          </a:p>
          <a:p>
            <a:pPr algn="ctr"/>
            <a:r>
              <a:rPr lang="en-GB" sz="1200" i="1" u="sng">
                <a:solidFill>
                  <a:schemeClr val="bg1"/>
                </a:solidFill>
                <a:latin typeface="Century Gothic" panose="020B0502020202020204" pitchFamily="34" charset="0"/>
              </a:rPr>
              <a:t>Implementation</a:t>
            </a:r>
            <a:r>
              <a:rPr lang="en-GB" sz="1200" i="1">
                <a:solidFill>
                  <a:schemeClr val="bg1"/>
                </a:solidFill>
                <a:latin typeface="Century Gothic" panose="020B0502020202020204" pitchFamily="34" charset="0"/>
              </a:rPr>
              <a:t> gap </a:t>
            </a:r>
          </a:p>
        </p:txBody>
      </p:sp>
      <p:cxnSp>
        <p:nvCxnSpPr>
          <p:cNvPr id="54" name="Straight Connector 53">
            <a:extLst>
              <a:ext uri="{FF2B5EF4-FFF2-40B4-BE49-F238E27FC236}">
                <a16:creationId xmlns:a16="http://schemas.microsoft.com/office/drawing/2014/main" id="{BEB63B41-1BF4-4994-DF5E-E2375D61CEDC}"/>
              </a:ext>
            </a:extLst>
          </p:cNvPr>
          <p:cNvCxnSpPr/>
          <p:nvPr>
            <p:custDataLst>
              <p:tags r:id="rId24"/>
            </p:custDataLst>
          </p:nvPr>
        </p:nvCxnSpPr>
        <p:spPr bwMode="gray">
          <a:xfrm>
            <a:off x="5789613" y="1046163"/>
            <a:ext cx="160338" cy="0"/>
          </a:xfrm>
          <a:prstGeom prst="line">
            <a:avLst/>
          </a:prstGeom>
          <a:ln w="19050" cap="rnd" cmpd="sng" algn="ctr">
            <a:solidFill>
              <a:srgbClr val="000000"/>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5" name="Straight Connector 54">
            <a:extLst>
              <a:ext uri="{FF2B5EF4-FFF2-40B4-BE49-F238E27FC236}">
                <a16:creationId xmlns:a16="http://schemas.microsoft.com/office/drawing/2014/main" id="{7FE4E388-07F6-F29A-598A-1FA49803B695}"/>
              </a:ext>
            </a:extLst>
          </p:cNvPr>
          <p:cNvCxnSpPr/>
          <p:nvPr>
            <p:custDataLst>
              <p:tags r:id="rId25"/>
            </p:custDataLst>
          </p:nvPr>
        </p:nvCxnSpPr>
        <p:spPr bwMode="gray">
          <a:xfrm>
            <a:off x="5794375" y="1241425"/>
            <a:ext cx="150813" cy="0"/>
          </a:xfrm>
          <a:prstGeom prst="line">
            <a:avLst/>
          </a:prstGeom>
          <a:ln w="28575" cap="rnd" cmpd="sng" algn="ctr">
            <a:solidFill>
              <a:schemeClr val="accent4"/>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6" name="Straight Connector 55">
            <a:extLst>
              <a:ext uri="{FF2B5EF4-FFF2-40B4-BE49-F238E27FC236}">
                <a16:creationId xmlns:a16="http://schemas.microsoft.com/office/drawing/2014/main" id="{A9C927F5-ACC1-FCD5-E9E8-5630852B6384}"/>
              </a:ext>
            </a:extLst>
          </p:cNvPr>
          <p:cNvCxnSpPr/>
          <p:nvPr>
            <p:custDataLst>
              <p:tags r:id="rId26"/>
            </p:custDataLst>
          </p:nvPr>
        </p:nvCxnSpPr>
        <p:spPr bwMode="gray">
          <a:xfrm>
            <a:off x="7129463" y="1046163"/>
            <a:ext cx="150813" cy="0"/>
          </a:xfrm>
          <a:prstGeom prst="line">
            <a:avLst/>
          </a:prstGeom>
          <a:ln w="28575" cap="rnd" cmpd="sng" algn="ctr">
            <a:solidFill>
              <a:schemeClr val="accent5"/>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7" name="Straight Connector 56">
            <a:extLst>
              <a:ext uri="{FF2B5EF4-FFF2-40B4-BE49-F238E27FC236}">
                <a16:creationId xmlns:a16="http://schemas.microsoft.com/office/drawing/2014/main" id="{78F36FB3-9990-2C99-2816-2A8A076CA06E}"/>
              </a:ext>
            </a:extLst>
          </p:cNvPr>
          <p:cNvCxnSpPr/>
          <p:nvPr>
            <p:custDataLst>
              <p:tags r:id="rId27"/>
            </p:custDataLst>
          </p:nvPr>
        </p:nvCxnSpPr>
        <p:spPr bwMode="gray">
          <a:xfrm>
            <a:off x="7129463" y="1241425"/>
            <a:ext cx="150813" cy="0"/>
          </a:xfrm>
          <a:prstGeom prst="line">
            <a:avLst/>
          </a:prstGeom>
          <a:ln w="28575" cap="rnd" cmpd="sng" algn="ctr">
            <a:solidFill>
              <a:srgbClr val="E59E6D"/>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8" name="Straight Connector 57">
            <a:extLst>
              <a:ext uri="{FF2B5EF4-FFF2-40B4-BE49-F238E27FC236}">
                <a16:creationId xmlns:a16="http://schemas.microsoft.com/office/drawing/2014/main" id="{5F9DCB7C-59A8-F16E-AAF9-EDDE13A5169C}"/>
              </a:ext>
            </a:extLst>
          </p:cNvPr>
          <p:cNvCxnSpPr/>
          <p:nvPr>
            <p:custDataLst>
              <p:tags r:id="rId28"/>
            </p:custDataLst>
          </p:nvPr>
        </p:nvCxnSpPr>
        <p:spPr bwMode="gray">
          <a:xfrm>
            <a:off x="10482263" y="1046163"/>
            <a:ext cx="150813" cy="0"/>
          </a:xfrm>
          <a:prstGeom prst="line">
            <a:avLst/>
          </a:prstGeom>
          <a:ln w="28575" cap="rnd" cmpd="sng" algn="ctr">
            <a:solidFill>
              <a:schemeClr val="accent3"/>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9" name="Straight Connector 58">
            <a:extLst>
              <a:ext uri="{FF2B5EF4-FFF2-40B4-BE49-F238E27FC236}">
                <a16:creationId xmlns:a16="http://schemas.microsoft.com/office/drawing/2014/main" id="{515873EB-336D-B24B-5A8F-04006C1CCFA5}"/>
              </a:ext>
            </a:extLst>
          </p:cNvPr>
          <p:cNvCxnSpPr/>
          <p:nvPr>
            <p:custDataLst>
              <p:tags r:id="rId29"/>
            </p:custDataLst>
          </p:nvPr>
        </p:nvCxnSpPr>
        <p:spPr bwMode="gray">
          <a:xfrm>
            <a:off x="10482263" y="1241425"/>
            <a:ext cx="150813" cy="0"/>
          </a:xfrm>
          <a:prstGeom prst="line">
            <a:avLst/>
          </a:prstGeom>
          <a:ln w="28575" cap="rnd" cmpd="sng" algn="ctr">
            <a:solidFill>
              <a:schemeClr val="accent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0" name="Text Placeholder 2">
            <a:extLst>
              <a:ext uri="{FF2B5EF4-FFF2-40B4-BE49-F238E27FC236}">
                <a16:creationId xmlns:a16="http://schemas.microsoft.com/office/drawing/2014/main" id="{BCE5E507-7D06-8D2E-6DEA-6E269AE124B9}"/>
              </a:ext>
            </a:extLst>
          </p:cNvPr>
          <p:cNvSpPr>
            <a:spLocks noGrp="1"/>
          </p:cNvSpPr>
          <p:nvPr>
            <p:custDataLst>
              <p:tags r:id="rId30"/>
            </p:custDataLst>
          </p:nvPr>
        </p:nvSpPr>
        <p:spPr bwMode="auto">
          <a:xfrm>
            <a:off x="6010275" y="987425"/>
            <a:ext cx="5937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2" indent="-180002" algn="l" defTabSz="914411" rtl="0" eaLnBrk="1" latinLnBrk="0" hangingPunct="1">
              <a:lnSpc>
                <a:spcPct val="90000"/>
              </a:lnSpc>
              <a:spcBef>
                <a:spcPts val="1001"/>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5" indent="-180002" algn="l" defTabSz="914411"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7" indent="-180002" algn="l" defTabSz="914411"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9" indent="-180002" algn="l" defTabSz="914411"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11" indent="-180002" algn="l" defTabSz="914411"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32"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838"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9044"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6249"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a:lstStyle>
          <a:p>
            <a:pPr marL="0" lvl="0" indent="0">
              <a:spcBef>
                <a:spcPct val="0"/>
              </a:spcBef>
              <a:spcAft>
                <a:spcPct val="0"/>
              </a:spcAft>
              <a:buNone/>
            </a:pPr>
            <a:fld id="{BF68820F-7DCB-4E29-8F48-E20FD34470DC}" type="datetime'''''''H''i''''s''t''ori''''c''''''''''''a''''''''l'''''''">
              <a:rPr lang="en-US" altLang="en-US" sz="1000" smtClean="0">
                <a:cs typeface="Inter" panose="020B0604020202020204" charset="0"/>
              </a:rPr>
              <a:pPr marL="0" lvl="0" indent="0">
                <a:spcBef>
                  <a:spcPct val="0"/>
                </a:spcBef>
                <a:spcAft>
                  <a:spcPct val="0"/>
                </a:spcAft>
                <a:buNone/>
              </a:pPr>
              <a:t>Historical</a:t>
            </a:fld>
            <a:r>
              <a:rPr lang="en-US" altLang="en-US" sz="1000" baseline="30000">
                <a:cs typeface="Inter" panose="020B0604020202020204" charset="0"/>
              </a:rPr>
              <a:t>1</a:t>
            </a:r>
            <a:endParaRPr lang="en-US" sz="1000" baseline="30000" noProof="0">
              <a:cs typeface="Inter" panose="020B0604020202020204" charset="0"/>
            </a:endParaRPr>
          </a:p>
        </p:txBody>
      </p:sp>
      <p:sp>
        <p:nvSpPr>
          <p:cNvPr id="61" name="Text Placeholder 2">
            <a:extLst>
              <a:ext uri="{FF2B5EF4-FFF2-40B4-BE49-F238E27FC236}">
                <a16:creationId xmlns:a16="http://schemas.microsoft.com/office/drawing/2014/main" id="{EF344034-BBFF-BABA-7A46-9729D13202C9}"/>
              </a:ext>
            </a:extLst>
          </p:cNvPr>
          <p:cNvSpPr>
            <a:spLocks noGrp="1"/>
          </p:cNvSpPr>
          <p:nvPr>
            <p:custDataLst>
              <p:tags r:id="rId31"/>
            </p:custDataLst>
          </p:nvPr>
        </p:nvSpPr>
        <p:spPr bwMode="auto">
          <a:xfrm>
            <a:off x="6010275" y="1182688"/>
            <a:ext cx="10033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2" indent="-180002" algn="l" defTabSz="914411" rtl="0" eaLnBrk="1" latinLnBrk="0" hangingPunct="1">
              <a:lnSpc>
                <a:spcPct val="90000"/>
              </a:lnSpc>
              <a:spcBef>
                <a:spcPts val="1001"/>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5" indent="-180002" algn="l" defTabSz="914411"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7" indent="-180002" algn="l" defTabSz="914411"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9" indent="-180002" algn="l" defTabSz="914411"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11" indent="-180002" algn="l" defTabSz="914411"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32"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838"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9044"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6249"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a:lstStyle>
          <a:p>
            <a:pPr marL="0" lvl="0" indent="0">
              <a:spcBef>
                <a:spcPct val="0"/>
              </a:spcBef>
              <a:spcAft>
                <a:spcPct val="0"/>
              </a:spcAft>
              <a:buNone/>
            </a:pPr>
            <a:r>
              <a:rPr lang="en-US" altLang="en-US" sz="1000">
                <a:cs typeface="Inter" panose="020B0604020202020204" charset="0"/>
              </a:rPr>
              <a:t>Current policies</a:t>
            </a:r>
            <a:r>
              <a:rPr lang="en-US" altLang="en-US" sz="1000" baseline="30000">
                <a:cs typeface="Inter" panose="020B0604020202020204" charset="0"/>
              </a:rPr>
              <a:t>2</a:t>
            </a:r>
            <a:endParaRPr lang="en-US" sz="1000" baseline="30000" noProof="0">
              <a:cs typeface="Inter" panose="020B0604020202020204" charset="0"/>
            </a:endParaRPr>
          </a:p>
        </p:txBody>
      </p:sp>
      <p:sp>
        <p:nvSpPr>
          <p:cNvPr id="62" name="Text Placeholder 2">
            <a:extLst>
              <a:ext uri="{FF2B5EF4-FFF2-40B4-BE49-F238E27FC236}">
                <a16:creationId xmlns:a16="http://schemas.microsoft.com/office/drawing/2014/main" id="{B7D8552D-A755-2793-6C63-CC8BA3696306}"/>
              </a:ext>
            </a:extLst>
          </p:cNvPr>
          <p:cNvSpPr>
            <a:spLocks noGrp="1"/>
          </p:cNvSpPr>
          <p:nvPr>
            <p:custDataLst>
              <p:tags r:id="rId32"/>
            </p:custDataLst>
          </p:nvPr>
        </p:nvSpPr>
        <p:spPr bwMode="auto">
          <a:xfrm>
            <a:off x="7345363" y="987425"/>
            <a:ext cx="21574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2" indent="-180002" algn="l" defTabSz="914411" rtl="0" eaLnBrk="1" latinLnBrk="0" hangingPunct="1">
              <a:lnSpc>
                <a:spcPct val="90000"/>
              </a:lnSpc>
              <a:spcBef>
                <a:spcPts val="1001"/>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5" indent="-180002" algn="l" defTabSz="914411"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7" indent="-180002" algn="l" defTabSz="914411"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9" indent="-180002" algn="l" defTabSz="914411"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11" indent="-180002" algn="l" defTabSz="914411"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32"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838"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9044"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6249"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a:lstStyle>
          <a:p>
            <a:pPr marL="0" lvl="0" indent="0">
              <a:spcBef>
                <a:spcPct val="0"/>
              </a:spcBef>
              <a:spcAft>
                <a:spcPct val="0"/>
              </a:spcAft>
              <a:buNone/>
            </a:pPr>
            <a:r>
              <a:rPr lang="en-US" altLang="en-US" sz="1000">
                <a:cs typeface="Inter" panose="020B0604020202020204" charset="0"/>
              </a:rPr>
              <a:t>NDCs – 2030 Unconditional targets</a:t>
            </a:r>
            <a:r>
              <a:rPr lang="en-US" altLang="en-US" sz="1000" baseline="30000">
                <a:cs typeface="Inter" panose="020B0604020202020204" charset="0"/>
              </a:rPr>
              <a:t>2</a:t>
            </a:r>
            <a:endParaRPr lang="en-US" sz="1000" baseline="30000" noProof="0">
              <a:cs typeface="Inter" panose="020B0604020202020204" charset="0"/>
            </a:endParaRPr>
          </a:p>
        </p:txBody>
      </p:sp>
      <p:sp>
        <p:nvSpPr>
          <p:cNvPr id="63" name="Text Placeholder 2">
            <a:extLst>
              <a:ext uri="{FF2B5EF4-FFF2-40B4-BE49-F238E27FC236}">
                <a16:creationId xmlns:a16="http://schemas.microsoft.com/office/drawing/2014/main" id="{67B41AC7-5FAF-D304-A79E-D3DA8745F504}"/>
              </a:ext>
            </a:extLst>
          </p:cNvPr>
          <p:cNvSpPr>
            <a:spLocks noGrp="1"/>
          </p:cNvSpPr>
          <p:nvPr>
            <p:custDataLst>
              <p:tags r:id="rId33"/>
            </p:custDataLst>
          </p:nvPr>
        </p:nvSpPr>
        <p:spPr bwMode="auto">
          <a:xfrm>
            <a:off x="7345363" y="1182688"/>
            <a:ext cx="30210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2" indent="-180002" algn="l" defTabSz="914411" rtl="0" eaLnBrk="1" latinLnBrk="0" hangingPunct="1">
              <a:lnSpc>
                <a:spcPct val="90000"/>
              </a:lnSpc>
              <a:spcBef>
                <a:spcPts val="1001"/>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5" indent="-180002" algn="l" defTabSz="914411"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7" indent="-180002" algn="l" defTabSz="914411"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9" indent="-180002" algn="l" defTabSz="914411"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11" indent="-180002" algn="l" defTabSz="914411"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32"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838"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9044"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6249"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a:lstStyle>
          <a:p>
            <a:pPr marL="0" lvl="0" indent="0">
              <a:spcBef>
                <a:spcPct val="0"/>
              </a:spcBef>
              <a:spcAft>
                <a:spcPct val="0"/>
              </a:spcAft>
              <a:buNone/>
            </a:pPr>
            <a:r>
              <a:rPr lang="en-US" altLang="en-US" sz="1000">
                <a:cs typeface="Inter" panose="020B0604020202020204" charset="0"/>
              </a:rPr>
              <a:t>NDCs – 2030 Unconditional &amp; conditional targets</a:t>
            </a:r>
            <a:r>
              <a:rPr lang="en-US" altLang="en-US" sz="1000" baseline="30000">
                <a:cs typeface="Inter" panose="020B0604020202020204" charset="0"/>
              </a:rPr>
              <a:t>2</a:t>
            </a:r>
          </a:p>
        </p:txBody>
      </p:sp>
      <p:sp>
        <p:nvSpPr>
          <p:cNvPr id="64" name="Text Placeholder 2">
            <a:extLst>
              <a:ext uri="{FF2B5EF4-FFF2-40B4-BE49-F238E27FC236}">
                <a16:creationId xmlns:a16="http://schemas.microsoft.com/office/drawing/2014/main" id="{1709261E-9FA1-1825-9F1C-C05DF46675B8}"/>
              </a:ext>
            </a:extLst>
          </p:cNvPr>
          <p:cNvSpPr>
            <a:spLocks noGrp="1"/>
          </p:cNvSpPr>
          <p:nvPr>
            <p:custDataLst>
              <p:tags r:id="rId34"/>
            </p:custDataLst>
          </p:nvPr>
        </p:nvSpPr>
        <p:spPr bwMode="auto">
          <a:xfrm>
            <a:off x="10698163" y="987425"/>
            <a:ext cx="984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2" indent="-180002" algn="l" defTabSz="914411" rtl="0" eaLnBrk="1" latinLnBrk="0" hangingPunct="1">
              <a:lnSpc>
                <a:spcPct val="90000"/>
              </a:lnSpc>
              <a:spcBef>
                <a:spcPts val="1001"/>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5" indent="-180002" algn="l" defTabSz="914411"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7" indent="-180002" algn="l" defTabSz="914411"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9" indent="-180002" algn="l" defTabSz="914411"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11" indent="-180002" algn="l" defTabSz="914411"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32"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838"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9044"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6249"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a:lstStyle>
          <a:p>
            <a:pPr marL="0" lvl="0" indent="0">
              <a:spcBef>
                <a:spcPct val="0"/>
              </a:spcBef>
              <a:spcAft>
                <a:spcPct val="0"/>
              </a:spcAft>
              <a:buNone/>
            </a:pPr>
            <a:r>
              <a:rPr lang="en-US" altLang="en-US" sz="1000">
                <a:cs typeface="Inter" panose="020B0604020202020204" charset="0"/>
              </a:rPr>
              <a:t>2</a:t>
            </a:r>
            <a:r>
              <a:rPr lang="en-US" sz="1000">
                <a:cs typeface="Inter" panose="020B0604020202020204" charset="0"/>
              </a:rPr>
              <a:t>°C Pathway</a:t>
            </a:r>
            <a:r>
              <a:rPr lang="en-US" sz="1000" baseline="30000">
                <a:cs typeface="Inter" panose="020B0604020202020204" charset="0"/>
              </a:rPr>
              <a:t>2,i,iii</a:t>
            </a:r>
            <a:endParaRPr lang="en-US" sz="1000" baseline="30000" noProof="0">
              <a:cs typeface="Inter" panose="020B0604020202020204" charset="0"/>
            </a:endParaRPr>
          </a:p>
        </p:txBody>
      </p:sp>
      <p:sp>
        <p:nvSpPr>
          <p:cNvPr id="65" name="Text Placeholder 2">
            <a:extLst>
              <a:ext uri="{FF2B5EF4-FFF2-40B4-BE49-F238E27FC236}">
                <a16:creationId xmlns:a16="http://schemas.microsoft.com/office/drawing/2014/main" id="{A43FE94B-B97F-1860-CD5A-6757C71366C2}"/>
              </a:ext>
            </a:extLst>
          </p:cNvPr>
          <p:cNvSpPr>
            <a:spLocks noGrp="1"/>
          </p:cNvSpPr>
          <p:nvPr>
            <p:custDataLst>
              <p:tags r:id="rId35"/>
            </p:custDataLst>
          </p:nvPr>
        </p:nvSpPr>
        <p:spPr bwMode="auto">
          <a:xfrm>
            <a:off x="10698163" y="1182688"/>
            <a:ext cx="11064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2" indent="-180002" algn="l" defTabSz="914411" rtl="0" eaLnBrk="1" latinLnBrk="0" hangingPunct="1">
              <a:lnSpc>
                <a:spcPct val="90000"/>
              </a:lnSpc>
              <a:spcBef>
                <a:spcPts val="1001"/>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5" indent="-180002" algn="l" defTabSz="914411"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7" indent="-180002" algn="l" defTabSz="914411"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9" indent="-180002" algn="l" defTabSz="914411"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11" indent="-180002" algn="l" defTabSz="914411"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32"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838"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9044"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6249"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a:lstStyle>
          <a:p>
            <a:pPr marL="0" lvl="0" indent="0">
              <a:spcBef>
                <a:spcPct val="0"/>
              </a:spcBef>
              <a:spcAft>
                <a:spcPct val="0"/>
              </a:spcAft>
              <a:buNone/>
            </a:pPr>
            <a:r>
              <a:rPr lang="en-US" altLang="en-US" sz="1000">
                <a:cs typeface="Inter" panose="020B0604020202020204" charset="0"/>
              </a:rPr>
              <a:t>1.5</a:t>
            </a:r>
            <a:r>
              <a:rPr lang="en-US" sz="1000">
                <a:cs typeface="Inter" panose="020B0604020202020204" charset="0"/>
              </a:rPr>
              <a:t>°C Pathway</a:t>
            </a:r>
            <a:r>
              <a:rPr lang="en-US" sz="1000" baseline="30000">
                <a:cs typeface="Inter" panose="020B0604020202020204" charset="0"/>
              </a:rPr>
              <a:t>2,ii,iii</a:t>
            </a:r>
            <a:endParaRPr lang="en-US" sz="1000" baseline="30000" noProof="0">
              <a:cs typeface="Inter" panose="020B0604020202020204" charset="0"/>
            </a:endParaRPr>
          </a:p>
        </p:txBody>
      </p:sp>
      <p:sp>
        <p:nvSpPr>
          <p:cNvPr id="13" name="TextBox 12">
            <a:extLst>
              <a:ext uri="{FF2B5EF4-FFF2-40B4-BE49-F238E27FC236}">
                <a16:creationId xmlns:a16="http://schemas.microsoft.com/office/drawing/2014/main" id="{48F87A2B-47F2-703A-9630-B5F763B09AA4}"/>
              </a:ext>
            </a:extLst>
          </p:cNvPr>
          <p:cNvSpPr txBox="1">
            <a:spLocks/>
          </p:cNvSpPr>
          <p:nvPr/>
        </p:nvSpPr>
        <p:spPr>
          <a:xfrm>
            <a:off x="9704909" y="5072412"/>
            <a:ext cx="1959836" cy="415498"/>
          </a:xfrm>
          <a:prstGeom prst="rect">
            <a:avLst/>
          </a:prstGeom>
          <a:noFill/>
        </p:spPr>
        <p:txBody>
          <a:bodyPr wrap="square" lIns="0" tIns="0" rIns="0" bIns="0" rtlCol="0">
            <a:spAutoFit/>
          </a:bodyPr>
          <a:lstStyle/>
          <a:p>
            <a:pPr algn="ctr"/>
            <a:r>
              <a:rPr lang="en-GB" sz="900" i="1">
                <a:latin typeface="Century Gothic" panose="020B0502020202020204" pitchFamily="34" charset="0"/>
              </a:rPr>
              <a:t>*Note: not all countries have adopted 1.5°C as their official target </a:t>
            </a:r>
          </a:p>
        </p:txBody>
      </p:sp>
      <p:sp>
        <p:nvSpPr>
          <p:cNvPr id="19" name="Speech Bubble: Rectangle 18">
            <a:extLst>
              <a:ext uri="{FF2B5EF4-FFF2-40B4-BE49-F238E27FC236}">
                <a16:creationId xmlns:a16="http://schemas.microsoft.com/office/drawing/2014/main" id="{6C5657E3-C61E-663A-F751-D16EC0DCD0CF}"/>
              </a:ext>
            </a:extLst>
          </p:cNvPr>
          <p:cNvSpPr>
            <a:spLocks/>
          </p:cNvSpPr>
          <p:nvPr/>
        </p:nvSpPr>
        <p:spPr>
          <a:xfrm>
            <a:off x="9704911" y="4284799"/>
            <a:ext cx="1959836" cy="781976"/>
          </a:xfrm>
          <a:prstGeom prst="wedgeRectCallout">
            <a:avLst>
              <a:gd name="adj1" fmla="val -80921"/>
              <a:gd name="adj2" fmla="val -3850"/>
            </a:avLst>
          </a:prstGeom>
          <a:solidFill>
            <a:srgbClr val="EDFFC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algn="ctr"/>
            <a:r>
              <a:rPr lang="en-GB" sz="1400" b="1">
                <a:solidFill>
                  <a:schemeClr val="tx1"/>
                </a:solidFill>
                <a:latin typeface="Century Gothic" panose="020B0502020202020204" pitchFamily="34" charset="0"/>
              </a:rPr>
              <a:t>23–30 GtCO</a:t>
            </a:r>
            <a:r>
              <a:rPr lang="en-GB" sz="1400" b="1" baseline="-25000">
                <a:solidFill>
                  <a:schemeClr val="tx1"/>
                </a:solidFill>
                <a:latin typeface="Century Gothic" panose="020B0502020202020204" pitchFamily="34" charset="0"/>
              </a:rPr>
              <a:t>2</a:t>
            </a:r>
            <a:r>
              <a:rPr lang="en-GB" sz="1400" b="1">
                <a:solidFill>
                  <a:schemeClr val="tx1"/>
                </a:solidFill>
                <a:latin typeface="Century Gothic" panose="020B0502020202020204" pitchFamily="34" charset="0"/>
              </a:rPr>
              <a:t>e</a:t>
            </a:r>
          </a:p>
          <a:p>
            <a:pPr algn="ctr"/>
            <a:r>
              <a:rPr lang="en-GB" sz="1200" i="1" u="sng">
                <a:solidFill>
                  <a:schemeClr val="tx1"/>
                </a:solidFill>
                <a:latin typeface="Century Gothic" panose="020B0502020202020204" pitchFamily="34" charset="0"/>
              </a:rPr>
              <a:t>Ambition</a:t>
            </a:r>
            <a:r>
              <a:rPr lang="en-GB" sz="1200" i="1">
                <a:solidFill>
                  <a:schemeClr val="tx1"/>
                </a:solidFill>
                <a:latin typeface="Century Gothic" panose="020B0502020202020204" pitchFamily="34" charset="0"/>
              </a:rPr>
              <a:t> gap to 1.5°C*</a:t>
            </a:r>
          </a:p>
        </p:txBody>
      </p:sp>
    </p:spTree>
    <p:extLst>
      <p:ext uri="{BB962C8B-B14F-4D97-AF65-F5344CB8AC3E}">
        <p14:creationId xmlns:p14="http://schemas.microsoft.com/office/powerpoint/2010/main" val="231749096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62C3987A-E567-EA74-0662-F6734553A9C9}"/>
              </a:ext>
            </a:extLst>
          </p:cNvPr>
          <p:cNvGraphicFramePr>
            <a:graphicFrameLocks noChangeAspect="1"/>
          </p:cNvGraphicFramePr>
          <p:nvPr>
            <p:custDataLst>
              <p:tags r:id="rId1"/>
            </p:custDataLst>
            <p:extLst>
              <p:ext uri="{D42A27DB-BD31-4B8C-83A1-F6EECF244321}">
                <p14:modId xmlns:p14="http://schemas.microsoft.com/office/powerpoint/2010/main" val="2236649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62C3987A-E567-EA74-0662-F6734553A9C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2" name="Freeform: Shape 101">
            <a:extLst>
              <a:ext uri="{FF2B5EF4-FFF2-40B4-BE49-F238E27FC236}">
                <a16:creationId xmlns:a16="http://schemas.microsoft.com/office/drawing/2014/main" id="{BC2282F3-4FF9-F2A8-47D7-2505DB79C078}"/>
              </a:ext>
            </a:extLst>
          </p:cNvPr>
          <p:cNvSpPr/>
          <p:nvPr/>
        </p:nvSpPr>
        <p:spPr>
          <a:xfrm>
            <a:off x="4603750" y="2724150"/>
            <a:ext cx="2679700" cy="857250"/>
          </a:xfrm>
          <a:custGeom>
            <a:avLst/>
            <a:gdLst>
              <a:gd name="connsiteX0" fmla="*/ 0 w 2679700"/>
              <a:gd name="connsiteY0" fmla="*/ 0 h 857250"/>
              <a:gd name="connsiteX1" fmla="*/ 2679700 w 2679700"/>
              <a:gd name="connsiteY1" fmla="*/ 0 h 857250"/>
              <a:gd name="connsiteX2" fmla="*/ 1892300 w 2679700"/>
              <a:gd name="connsiteY2" fmla="*/ 704850 h 857250"/>
              <a:gd name="connsiteX3" fmla="*/ 1587500 w 2679700"/>
              <a:gd name="connsiteY3" fmla="*/ 603250 h 857250"/>
              <a:gd name="connsiteX4" fmla="*/ 1282700 w 2679700"/>
              <a:gd name="connsiteY4" fmla="*/ 603250 h 857250"/>
              <a:gd name="connsiteX5" fmla="*/ 1035050 w 2679700"/>
              <a:gd name="connsiteY5" fmla="*/ 673100 h 857250"/>
              <a:gd name="connsiteX6" fmla="*/ 819150 w 2679700"/>
              <a:gd name="connsiteY6" fmla="*/ 857250 h 857250"/>
              <a:gd name="connsiteX7" fmla="*/ 0 w 2679700"/>
              <a:gd name="connsiteY7" fmla="*/ 0 h 857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79700" h="857250">
                <a:moveTo>
                  <a:pt x="0" y="0"/>
                </a:moveTo>
                <a:lnTo>
                  <a:pt x="2679700" y="0"/>
                </a:lnTo>
                <a:lnTo>
                  <a:pt x="1892300" y="704850"/>
                </a:lnTo>
                <a:lnTo>
                  <a:pt x="1587500" y="603250"/>
                </a:lnTo>
                <a:lnTo>
                  <a:pt x="1282700" y="603250"/>
                </a:lnTo>
                <a:lnTo>
                  <a:pt x="1035050" y="673100"/>
                </a:lnTo>
                <a:lnTo>
                  <a:pt x="819150" y="857250"/>
                </a:lnTo>
                <a:lnTo>
                  <a:pt x="0" y="0"/>
                </a:lnTo>
                <a:close/>
              </a:path>
            </a:pathLst>
          </a:custGeom>
          <a:solidFill>
            <a:schemeClr val="bg1">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a:ln>
                <a:noFill/>
              </a:ln>
              <a:solidFill>
                <a:schemeClr val="bg1"/>
              </a:solidFill>
              <a:latin typeface="Century Gothic" panose="020B0502020202020204" pitchFamily="34" charset="0"/>
            </a:endParaRPr>
          </a:p>
        </p:txBody>
      </p:sp>
      <p:sp>
        <p:nvSpPr>
          <p:cNvPr id="96" name="Freeform: Shape 95">
            <a:extLst>
              <a:ext uri="{FF2B5EF4-FFF2-40B4-BE49-F238E27FC236}">
                <a16:creationId xmlns:a16="http://schemas.microsoft.com/office/drawing/2014/main" id="{C68D210C-B72D-273E-A859-585EA57064A8}"/>
              </a:ext>
            </a:extLst>
          </p:cNvPr>
          <p:cNvSpPr/>
          <p:nvPr/>
        </p:nvSpPr>
        <p:spPr>
          <a:xfrm>
            <a:off x="4038600" y="3867150"/>
            <a:ext cx="1835150" cy="1333500"/>
          </a:xfrm>
          <a:custGeom>
            <a:avLst/>
            <a:gdLst>
              <a:gd name="connsiteX0" fmla="*/ 1219200 w 1835150"/>
              <a:gd name="connsiteY0" fmla="*/ 12700 h 1333500"/>
              <a:gd name="connsiteX1" fmla="*/ 6350 w 1835150"/>
              <a:gd name="connsiteY1" fmla="*/ 0 h 1333500"/>
              <a:gd name="connsiteX2" fmla="*/ 0 w 1835150"/>
              <a:gd name="connsiteY2" fmla="*/ 1333500 h 1333500"/>
              <a:gd name="connsiteX3" fmla="*/ 1835150 w 1835150"/>
              <a:gd name="connsiteY3" fmla="*/ 914400 h 1333500"/>
              <a:gd name="connsiteX4" fmla="*/ 1689100 w 1835150"/>
              <a:gd name="connsiteY4" fmla="*/ 876300 h 1333500"/>
              <a:gd name="connsiteX5" fmla="*/ 1549400 w 1835150"/>
              <a:gd name="connsiteY5" fmla="*/ 800100 h 1333500"/>
              <a:gd name="connsiteX6" fmla="*/ 1428750 w 1835150"/>
              <a:gd name="connsiteY6" fmla="*/ 647700 h 1333500"/>
              <a:gd name="connsiteX7" fmla="*/ 1282700 w 1835150"/>
              <a:gd name="connsiteY7" fmla="*/ 406400 h 1333500"/>
              <a:gd name="connsiteX8" fmla="*/ 1231900 w 1835150"/>
              <a:gd name="connsiteY8" fmla="*/ 171450 h 1333500"/>
              <a:gd name="connsiteX9" fmla="*/ 1219200 w 1835150"/>
              <a:gd name="connsiteY9" fmla="*/ 12700 h 133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35150" h="1333500">
                <a:moveTo>
                  <a:pt x="1219200" y="12700"/>
                </a:moveTo>
                <a:lnTo>
                  <a:pt x="6350" y="0"/>
                </a:lnTo>
                <a:cubicBezTo>
                  <a:pt x="4233" y="444500"/>
                  <a:pt x="2117" y="889000"/>
                  <a:pt x="0" y="1333500"/>
                </a:cubicBezTo>
                <a:lnTo>
                  <a:pt x="1835150" y="914400"/>
                </a:lnTo>
                <a:lnTo>
                  <a:pt x="1689100" y="876300"/>
                </a:lnTo>
                <a:lnTo>
                  <a:pt x="1549400" y="800100"/>
                </a:lnTo>
                <a:lnTo>
                  <a:pt x="1428750" y="647700"/>
                </a:lnTo>
                <a:lnTo>
                  <a:pt x="1282700" y="406400"/>
                </a:lnTo>
                <a:lnTo>
                  <a:pt x="1231900" y="171450"/>
                </a:lnTo>
                <a:lnTo>
                  <a:pt x="1219200" y="12700"/>
                </a:lnTo>
                <a:close/>
              </a:path>
            </a:pathLst>
          </a:custGeom>
          <a:solidFill>
            <a:schemeClr val="bg1">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a:ln>
                <a:noFill/>
              </a:ln>
              <a:solidFill>
                <a:schemeClr val="bg1"/>
              </a:solidFill>
              <a:latin typeface="Century Gothic" panose="020B0502020202020204" pitchFamily="34" charset="0"/>
            </a:endParaRPr>
          </a:p>
        </p:txBody>
      </p:sp>
      <p:sp>
        <p:nvSpPr>
          <p:cNvPr id="90" name="Freeform: Shape 89">
            <a:extLst>
              <a:ext uri="{FF2B5EF4-FFF2-40B4-BE49-F238E27FC236}">
                <a16:creationId xmlns:a16="http://schemas.microsoft.com/office/drawing/2014/main" id="{1284260A-5B69-04D1-0831-D394A37A07F7}"/>
              </a:ext>
            </a:extLst>
          </p:cNvPr>
          <p:cNvSpPr/>
          <p:nvPr/>
        </p:nvSpPr>
        <p:spPr>
          <a:xfrm>
            <a:off x="6309360" y="3764280"/>
            <a:ext cx="1577340" cy="1432560"/>
          </a:xfrm>
          <a:custGeom>
            <a:avLst/>
            <a:gdLst>
              <a:gd name="connsiteX0" fmla="*/ 426720 w 1844040"/>
              <a:gd name="connsiteY0" fmla="*/ 0 h 1432560"/>
              <a:gd name="connsiteX1" fmla="*/ 1844040 w 1844040"/>
              <a:gd name="connsiteY1" fmla="*/ 114300 h 1432560"/>
              <a:gd name="connsiteX2" fmla="*/ 1844040 w 1844040"/>
              <a:gd name="connsiteY2" fmla="*/ 1432560 h 1432560"/>
              <a:gd name="connsiteX3" fmla="*/ 0 w 1844040"/>
              <a:gd name="connsiteY3" fmla="*/ 975360 h 1432560"/>
              <a:gd name="connsiteX4" fmla="*/ 137160 w 1844040"/>
              <a:gd name="connsiteY4" fmla="*/ 906780 h 1432560"/>
              <a:gd name="connsiteX5" fmla="*/ 274320 w 1844040"/>
              <a:gd name="connsiteY5" fmla="*/ 784860 h 1432560"/>
              <a:gd name="connsiteX6" fmla="*/ 381000 w 1844040"/>
              <a:gd name="connsiteY6" fmla="*/ 647700 h 1432560"/>
              <a:gd name="connsiteX7" fmla="*/ 441960 w 1844040"/>
              <a:gd name="connsiteY7" fmla="*/ 487680 h 1432560"/>
              <a:gd name="connsiteX8" fmla="*/ 480060 w 1844040"/>
              <a:gd name="connsiteY8" fmla="*/ 304800 h 1432560"/>
              <a:gd name="connsiteX9" fmla="*/ 464820 w 1844040"/>
              <a:gd name="connsiteY9" fmla="*/ 129540 h 1432560"/>
              <a:gd name="connsiteX10" fmla="*/ 426720 w 1844040"/>
              <a:gd name="connsiteY10" fmla="*/ 0 h 1432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44040" h="1432560">
                <a:moveTo>
                  <a:pt x="426720" y="0"/>
                </a:moveTo>
                <a:lnTo>
                  <a:pt x="1844040" y="114300"/>
                </a:lnTo>
                <a:lnTo>
                  <a:pt x="1844040" y="1432560"/>
                </a:lnTo>
                <a:lnTo>
                  <a:pt x="0" y="975360"/>
                </a:lnTo>
                <a:lnTo>
                  <a:pt x="137160" y="906780"/>
                </a:lnTo>
                <a:lnTo>
                  <a:pt x="274320" y="784860"/>
                </a:lnTo>
                <a:lnTo>
                  <a:pt x="381000" y="647700"/>
                </a:lnTo>
                <a:lnTo>
                  <a:pt x="441960" y="487680"/>
                </a:lnTo>
                <a:lnTo>
                  <a:pt x="480060" y="304800"/>
                </a:lnTo>
                <a:lnTo>
                  <a:pt x="464820" y="129540"/>
                </a:lnTo>
                <a:lnTo>
                  <a:pt x="426720" y="0"/>
                </a:lnTo>
                <a:close/>
              </a:path>
            </a:pathLst>
          </a:custGeom>
          <a:solidFill>
            <a:schemeClr val="bg1">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a:ln>
                <a:noFill/>
              </a:ln>
              <a:solidFill>
                <a:schemeClr val="bg1"/>
              </a:solidFill>
              <a:latin typeface="Century Gothic" panose="020B0502020202020204" pitchFamily="34" charset="0"/>
            </a:endParaRPr>
          </a:p>
        </p:txBody>
      </p:sp>
      <p:sp>
        <p:nvSpPr>
          <p:cNvPr id="5" name="Title 4">
            <a:extLst>
              <a:ext uri="{FF2B5EF4-FFF2-40B4-BE49-F238E27FC236}">
                <a16:creationId xmlns:a16="http://schemas.microsoft.com/office/drawing/2014/main" id="{E4289B17-A53F-0074-2AC0-332BFEF9826E}"/>
              </a:ext>
            </a:extLst>
          </p:cNvPr>
          <p:cNvSpPr>
            <a:spLocks noGrp="1"/>
          </p:cNvSpPr>
          <p:nvPr>
            <p:ph type="title"/>
          </p:nvPr>
        </p:nvSpPr>
        <p:spPr/>
        <p:txBody>
          <a:bodyPr vert="horz"/>
          <a:lstStyle/>
          <a:p>
            <a:r>
              <a:rPr lang="en-GB" sz="2000"/>
              <a:t>The world needs much more ambitious NDCs 3.0 – a real economy ambition loop means raising ambition will increase deployment. Increased deployment also raises ambition. </a:t>
            </a:r>
          </a:p>
        </p:txBody>
      </p:sp>
      <p:pic>
        <p:nvPicPr>
          <p:cNvPr id="15" name="Content Placeholder 14" descr="Arrow circle with solid fill">
            <a:extLst>
              <a:ext uri="{FF2B5EF4-FFF2-40B4-BE49-F238E27FC236}">
                <a16:creationId xmlns:a16="http://schemas.microsoft.com/office/drawing/2014/main" id="{260A171C-0CBF-A701-CE4B-50CB98E18CDF}"/>
              </a:ext>
            </a:extLst>
          </p:cNvPr>
          <p:cNvPicPr>
            <a:picLocks noGrp="1" noChangeAspect="1"/>
          </p:cNvPicPr>
          <p:nvPr>
            <p:ph idx="1"/>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738031" y="2819529"/>
            <a:ext cx="2452244" cy="2452244"/>
          </a:xfrm>
        </p:spPr>
      </p:pic>
      <p:sp>
        <p:nvSpPr>
          <p:cNvPr id="3" name="Slide Number Placeholder 2">
            <a:extLst>
              <a:ext uri="{FF2B5EF4-FFF2-40B4-BE49-F238E27FC236}">
                <a16:creationId xmlns:a16="http://schemas.microsoft.com/office/drawing/2014/main" id="{BAD2CBED-384E-4660-CEB4-B3BECBCB12A6}"/>
              </a:ext>
            </a:extLst>
          </p:cNvPr>
          <p:cNvSpPr>
            <a:spLocks noGrp="1"/>
          </p:cNvSpPr>
          <p:nvPr>
            <p:ph type="sldNum" sz="quarter" idx="12"/>
          </p:nvPr>
        </p:nvSpPr>
        <p:spPr/>
        <p:txBody>
          <a:bodyPr/>
          <a:lstStyle/>
          <a:p>
            <a:fld id="{DDF71BC8-773F-4A54-968E-450E29C75AD4}" type="slidenum">
              <a:rPr lang="en-GB" smtClean="0"/>
              <a:pPr/>
              <a:t>9</a:t>
            </a:fld>
            <a:endParaRPr lang="en-GB"/>
          </a:p>
        </p:txBody>
      </p:sp>
      <p:sp>
        <p:nvSpPr>
          <p:cNvPr id="4" name="Footer Placeholder 3">
            <a:extLst>
              <a:ext uri="{FF2B5EF4-FFF2-40B4-BE49-F238E27FC236}">
                <a16:creationId xmlns:a16="http://schemas.microsoft.com/office/drawing/2014/main" id="{4B4630DF-014A-267D-A214-AD48B45C029D}"/>
              </a:ext>
            </a:extLst>
          </p:cNvPr>
          <p:cNvSpPr>
            <a:spLocks noGrp="1"/>
          </p:cNvSpPr>
          <p:nvPr>
            <p:ph type="ftr" sz="quarter" idx="13"/>
          </p:nvPr>
        </p:nvSpPr>
        <p:spPr/>
        <p:txBody>
          <a:bodyPr/>
          <a:lstStyle/>
          <a:p>
            <a:endParaRPr lang="en-GB"/>
          </a:p>
        </p:txBody>
      </p:sp>
      <p:sp>
        <p:nvSpPr>
          <p:cNvPr id="19" name="Rectangle 18">
            <a:extLst>
              <a:ext uri="{FF2B5EF4-FFF2-40B4-BE49-F238E27FC236}">
                <a16:creationId xmlns:a16="http://schemas.microsoft.com/office/drawing/2014/main" id="{7C6CD252-CE8C-5C39-A7AE-F1D35B18E3B1}"/>
              </a:ext>
            </a:extLst>
          </p:cNvPr>
          <p:cNvSpPr/>
          <p:nvPr/>
        </p:nvSpPr>
        <p:spPr>
          <a:xfrm>
            <a:off x="4600100" y="1394874"/>
            <a:ext cx="2688342" cy="1330127"/>
          </a:xfrm>
          <a:prstGeom prst="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endParaRPr lang="en-GB" sz="900" b="1">
              <a:ln>
                <a:noFill/>
              </a:ln>
              <a:solidFill>
                <a:schemeClr val="bg2"/>
              </a:solidFill>
              <a:latin typeface="Century Gothic" panose="020B0502020202020204" pitchFamily="34" charset="0"/>
            </a:endParaRPr>
          </a:p>
          <a:p>
            <a:pPr algn="ctr"/>
            <a:endParaRPr lang="en-GB" sz="900" b="1">
              <a:ln>
                <a:noFill/>
              </a:ln>
              <a:solidFill>
                <a:schemeClr val="bg2"/>
              </a:solidFill>
              <a:latin typeface="Century Gothic" panose="020B0502020202020204" pitchFamily="34" charset="0"/>
            </a:endParaRPr>
          </a:p>
          <a:p>
            <a:pPr algn="ctr"/>
            <a:r>
              <a:rPr lang="en-GB" sz="1400" b="1">
                <a:ln>
                  <a:noFill/>
                </a:ln>
                <a:solidFill>
                  <a:schemeClr val="bg2"/>
                </a:solidFill>
                <a:latin typeface="Century Gothic" panose="020B0502020202020204" pitchFamily="34" charset="0"/>
              </a:rPr>
              <a:t>More ambitious NDCs </a:t>
            </a:r>
            <a:r>
              <a:rPr lang="en-GB" sz="1400">
                <a:ln>
                  <a:noFill/>
                </a:ln>
                <a:solidFill>
                  <a:schemeClr val="bg2"/>
                </a:solidFill>
                <a:latin typeface="Century Gothic" panose="020B0502020202020204" pitchFamily="34" charset="0"/>
              </a:rPr>
              <a:t>underpinned by clear sectoral targets and policies</a:t>
            </a:r>
          </a:p>
        </p:txBody>
      </p:sp>
      <p:sp>
        <p:nvSpPr>
          <p:cNvPr id="20" name="Rectangle 19">
            <a:extLst>
              <a:ext uri="{FF2B5EF4-FFF2-40B4-BE49-F238E27FC236}">
                <a16:creationId xmlns:a16="http://schemas.microsoft.com/office/drawing/2014/main" id="{1A84F986-3E80-C62B-0177-44EE6687EEE5}"/>
              </a:ext>
            </a:extLst>
          </p:cNvPr>
          <p:cNvSpPr/>
          <p:nvPr/>
        </p:nvSpPr>
        <p:spPr>
          <a:xfrm>
            <a:off x="7886700" y="3870074"/>
            <a:ext cx="2688342" cy="1330127"/>
          </a:xfrm>
          <a:prstGeom prst="rect">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endParaRPr lang="en-GB" sz="500">
              <a:ln>
                <a:noFill/>
              </a:ln>
              <a:solidFill>
                <a:schemeClr val="bg2"/>
              </a:solidFill>
              <a:latin typeface="Century Gothic" panose="020B0502020202020204" pitchFamily="34" charset="0"/>
            </a:endParaRPr>
          </a:p>
          <a:p>
            <a:pPr algn="ctr"/>
            <a:r>
              <a:rPr lang="en-GB" sz="1400">
                <a:ln>
                  <a:noFill/>
                </a:ln>
                <a:solidFill>
                  <a:schemeClr val="bg2"/>
                </a:solidFill>
                <a:latin typeface="Century Gothic" panose="020B0502020202020204" pitchFamily="34" charset="0"/>
              </a:rPr>
              <a:t>Reduced optionality and increased market certainty for </a:t>
            </a:r>
            <a:r>
              <a:rPr lang="en-GB" sz="1400" b="1">
                <a:ln>
                  <a:noFill/>
                </a:ln>
                <a:solidFill>
                  <a:schemeClr val="bg2"/>
                </a:solidFill>
                <a:latin typeface="Century Gothic" panose="020B0502020202020204" pitchFamily="34" charset="0"/>
              </a:rPr>
              <a:t>industry</a:t>
            </a:r>
            <a:r>
              <a:rPr lang="en-GB" sz="1400">
                <a:ln>
                  <a:noFill/>
                </a:ln>
                <a:solidFill>
                  <a:schemeClr val="bg2"/>
                </a:solidFill>
                <a:latin typeface="Century Gothic" panose="020B0502020202020204" pitchFamily="34" charset="0"/>
              </a:rPr>
              <a:t> to invest and deploy low-carbon technologies</a:t>
            </a:r>
          </a:p>
        </p:txBody>
      </p:sp>
      <p:sp>
        <p:nvSpPr>
          <p:cNvPr id="21" name="Rectangle 20">
            <a:extLst>
              <a:ext uri="{FF2B5EF4-FFF2-40B4-BE49-F238E27FC236}">
                <a16:creationId xmlns:a16="http://schemas.microsoft.com/office/drawing/2014/main" id="{D295192D-BA7D-5BD4-470B-0531D94DC03E}"/>
              </a:ext>
            </a:extLst>
          </p:cNvPr>
          <p:cNvSpPr/>
          <p:nvPr/>
        </p:nvSpPr>
        <p:spPr>
          <a:xfrm>
            <a:off x="1353264" y="3866713"/>
            <a:ext cx="2688342" cy="1330127"/>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endParaRPr lang="en-GB" sz="500">
              <a:ln>
                <a:noFill/>
              </a:ln>
              <a:solidFill>
                <a:schemeClr val="bg2"/>
              </a:solidFill>
              <a:latin typeface="Century Gothic" panose="020B0502020202020204" pitchFamily="34" charset="0"/>
            </a:endParaRPr>
          </a:p>
          <a:p>
            <a:pPr algn="ctr"/>
            <a:r>
              <a:rPr lang="en-GB" sz="1400">
                <a:ln>
                  <a:noFill/>
                </a:ln>
                <a:solidFill>
                  <a:schemeClr val="bg2"/>
                </a:solidFill>
                <a:latin typeface="Century Gothic" panose="020B0502020202020204" pitchFamily="34" charset="0"/>
              </a:rPr>
              <a:t>Increased </a:t>
            </a:r>
            <a:r>
              <a:rPr lang="en-GB" sz="1400" b="1">
                <a:ln>
                  <a:noFill/>
                </a:ln>
                <a:solidFill>
                  <a:schemeClr val="bg2"/>
                </a:solidFill>
                <a:latin typeface="Century Gothic" panose="020B0502020202020204" pitchFamily="34" charset="0"/>
              </a:rPr>
              <a:t>government</a:t>
            </a:r>
            <a:r>
              <a:rPr lang="en-GB" sz="1400">
                <a:ln>
                  <a:noFill/>
                </a:ln>
                <a:solidFill>
                  <a:schemeClr val="bg2"/>
                </a:solidFill>
                <a:latin typeface="Century Gothic" panose="020B0502020202020204" pitchFamily="34" charset="0"/>
              </a:rPr>
              <a:t> confidence on ability to deliver on higher climate ambition with support from industry</a:t>
            </a:r>
          </a:p>
        </p:txBody>
      </p:sp>
      <p:sp>
        <p:nvSpPr>
          <p:cNvPr id="6" name="Rectangle 5">
            <a:extLst>
              <a:ext uri="{FF2B5EF4-FFF2-40B4-BE49-F238E27FC236}">
                <a16:creationId xmlns:a16="http://schemas.microsoft.com/office/drawing/2014/main" id="{B2290F76-F9C2-9A99-9990-27F933F720BE}"/>
              </a:ext>
            </a:extLst>
          </p:cNvPr>
          <p:cNvSpPr/>
          <p:nvPr/>
        </p:nvSpPr>
        <p:spPr>
          <a:xfrm>
            <a:off x="5414789" y="3757216"/>
            <a:ext cx="1211967" cy="589691"/>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r>
              <a:rPr lang="en-GB" sz="1400" b="1">
                <a:ln>
                  <a:noFill/>
                </a:ln>
                <a:solidFill>
                  <a:schemeClr val="tx2"/>
                </a:solidFill>
                <a:latin typeface="Century Gothic" panose="020B0502020202020204" pitchFamily="34" charset="0"/>
              </a:rPr>
              <a:t>CLIMATE </a:t>
            </a:r>
          </a:p>
          <a:p>
            <a:pPr algn="ctr"/>
            <a:r>
              <a:rPr lang="en-GB" sz="1400" b="1">
                <a:ln>
                  <a:noFill/>
                </a:ln>
                <a:solidFill>
                  <a:schemeClr val="tx2"/>
                </a:solidFill>
                <a:latin typeface="Century Gothic" panose="020B0502020202020204" pitchFamily="34" charset="0"/>
              </a:rPr>
              <a:t>AMBITION</a:t>
            </a:r>
          </a:p>
        </p:txBody>
      </p:sp>
      <p:grpSp>
        <p:nvGrpSpPr>
          <p:cNvPr id="8" name="object 394">
            <a:extLst>
              <a:ext uri="{FF2B5EF4-FFF2-40B4-BE49-F238E27FC236}">
                <a16:creationId xmlns:a16="http://schemas.microsoft.com/office/drawing/2014/main" id="{D7176ECC-3E3F-8C30-9DD4-F69FBF3146FB}"/>
              </a:ext>
            </a:extLst>
          </p:cNvPr>
          <p:cNvGrpSpPr/>
          <p:nvPr/>
        </p:nvGrpSpPr>
        <p:grpSpPr>
          <a:xfrm>
            <a:off x="7014990" y="1139147"/>
            <a:ext cx="546904" cy="540644"/>
            <a:chOff x="2935287" y="4960701"/>
            <a:chExt cx="887730" cy="877569"/>
          </a:xfrm>
        </p:grpSpPr>
        <p:sp>
          <p:nvSpPr>
            <p:cNvPr id="9" name="object 395">
              <a:extLst>
                <a:ext uri="{FF2B5EF4-FFF2-40B4-BE49-F238E27FC236}">
                  <a16:creationId xmlns:a16="http://schemas.microsoft.com/office/drawing/2014/main" id="{C8C48EF0-358D-6EF8-26DB-D7CF98B29A4F}"/>
                </a:ext>
              </a:extLst>
            </p:cNvPr>
            <p:cNvSpPr/>
            <p:nvPr/>
          </p:nvSpPr>
          <p:spPr>
            <a:xfrm>
              <a:off x="2943174" y="4968588"/>
              <a:ext cx="871855" cy="861694"/>
            </a:xfrm>
            <a:custGeom>
              <a:avLst/>
              <a:gdLst/>
              <a:ahLst/>
              <a:cxnLst/>
              <a:rect l="l" t="t" r="r" b="b"/>
              <a:pathLst>
                <a:path w="871854" h="861695">
                  <a:moveTo>
                    <a:pt x="211518" y="0"/>
                  </a:moveTo>
                  <a:lnTo>
                    <a:pt x="159945" y="13432"/>
                  </a:lnTo>
                  <a:lnTo>
                    <a:pt x="127850" y="49060"/>
                  </a:lnTo>
                  <a:lnTo>
                    <a:pt x="3352" y="171869"/>
                  </a:lnTo>
                  <a:lnTo>
                    <a:pt x="2438" y="176237"/>
                  </a:lnTo>
                  <a:lnTo>
                    <a:pt x="723" y="179806"/>
                  </a:lnTo>
                  <a:lnTo>
                    <a:pt x="1143" y="179958"/>
                  </a:lnTo>
                  <a:lnTo>
                    <a:pt x="0" y="182117"/>
                  </a:lnTo>
                  <a:lnTo>
                    <a:pt x="165" y="187985"/>
                  </a:lnTo>
                  <a:lnTo>
                    <a:pt x="165" y="766724"/>
                  </a:lnTo>
                  <a:lnTo>
                    <a:pt x="749" y="767384"/>
                  </a:lnTo>
                  <a:lnTo>
                    <a:pt x="58953" y="767435"/>
                  </a:lnTo>
                  <a:lnTo>
                    <a:pt x="67848" y="768279"/>
                  </a:lnTo>
                  <a:lnTo>
                    <a:pt x="73488" y="771170"/>
                  </a:lnTo>
                  <a:lnTo>
                    <a:pt x="76452" y="776674"/>
                  </a:lnTo>
                  <a:lnTo>
                    <a:pt x="77317" y="785355"/>
                  </a:lnTo>
                  <a:lnTo>
                    <a:pt x="77558" y="854697"/>
                  </a:lnTo>
                  <a:lnTo>
                    <a:pt x="79070" y="859447"/>
                  </a:lnTo>
                  <a:lnTo>
                    <a:pt x="83591" y="861682"/>
                  </a:lnTo>
                  <a:lnTo>
                    <a:pt x="88188" y="859866"/>
                  </a:lnTo>
                  <a:lnTo>
                    <a:pt x="103539" y="848566"/>
                  </a:lnTo>
                  <a:lnTo>
                    <a:pt x="119595" y="835558"/>
                  </a:lnTo>
                  <a:lnTo>
                    <a:pt x="122351" y="835786"/>
                  </a:lnTo>
                  <a:lnTo>
                    <a:pt x="140970" y="848798"/>
                  </a:lnTo>
                  <a:lnTo>
                    <a:pt x="158826" y="860323"/>
                  </a:lnTo>
                  <a:lnTo>
                    <a:pt x="163271" y="861352"/>
                  </a:lnTo>
                  <a:lnTo>
                    <a:pt x="167767" y="859447"/>
                  </a:lnTo>
                  <a:lnTo>
                    <a:pt x="168795" y="854684"/>
                  </a:lnTo>
                  <a:lnTo>
                    <a:pt x="168973" y="787336"/>
                  </a:lnTo>
                  <a:lnTo>
                    <a:pt x="169687" y="777058"/>
                  </a:lnTo>
                  <a:lnTo>
                    <a:pt x="172524" y="771013"/>
                  </a:lnTo>
                  <a:lnTo>
                    <a:pt x="178526" y="768155"/>
                  </a:lnTo>
                  <a:lnTo>
                    <a:pt x="188734" y="767435"/>
                  </a:lnTo>
                  <a:lnTo>
                    <a:pt x="664438" y="767435"/>
                  </a:lnTo>
                  <a:lnTo>
                    <a:pt x="665175" y="766724"/>
                  </a:lnTo>
                  <a:lnTo>
                    <a:pt x="665213" y="720001"/>
                  </a:lnTo>
                  <a:lnTo>
                    <a:pt x="665949" y="706716"/>
                  </a:lnTo>
                  <a:lnTo>
                    <a:pt x="665949" y="685876"/>
                  </a:lnTo>
                  <a:lnTo>
                    <a:pt x="678615" y="690483"/>
                  </a:lnTo>
                  <a:lnTo>
                    <a:pt x="691230" y="691845"/>
                  </a:lnTo>
                  <a:lnTo>
                    <a:pt x="703981" y="690244"/>
                  </a:lnTo>
                  <a:lnTo>
                    <a:pt x="717054" y="685965"/>
                  </a:lnTo>
                  <a:lnTo>
                    <a:pt x="712851" y="697598"/>
                  </a:lnTo>
                  <a:lnTo>
                    <a:pt x="717689" y="700811"/>
                  </a:lnTo>
                  <a:lnTo>
                    <a:pt x="765459" y="713298"/>
                  </a:lnTo>
                  <a:lnTo>
                    <a:pt x="811326" y="725982"/>
                  </a:lnTo>
                  <a:lnTo>
                    <a:pt x="814832" y="724420"/>
                  </a:lnTo>
                  <a:lnTo>
                    <a:pt x="871524" y="513753"/>
                  </a:lnTo>
                  <a:lnTo>
                    <a:pt x="869899" y="509714"/>
                  </a:lnTo>
                  <a:lnTo>
                    <a:pt x="771296" y="483247"/>
                  </a:lnTo>
                  <a:lnTo>
                    <a:pt x="769302" y="475221"/>
                  </a:lnTo>
                  <a:lnTo>
                    <a:pt x="752805" y="440224"/>
                  </a:lnTo>
                  <a:lnTo>
                    <a:pt x="722550" y="423570"/>
                  </a:lnTo>
                  <a:lnTo>
                    <a:pt x="712843" y="417075"/>
                  </a:lnTo>
                  <a:lnTo>
                    <a:pt x="704304" y="409021"/>
                  </a:lnTo>
                  <a:lnTo>
                    <a:pt x="691544" y="392114"/>
                  </a:lnTo>
                  <a:lnTo>
                    <a:pt x="685552" y="385343"/>
                  </a:lnTo>
                  <a:lnTo>
                    <a:pt x="679093" y="378962"/>
                  </a:lnTo>
                  <a:lnTo>
                    <a:pt x="667334" y="368515"/>
                  </a:lnTo>
                  <a:lnTo>
                    <a:pt x="665048" y="364782"/>
                  </a:lnTo>
                  <a:lnTo>
                    <a:pt x="665213" y="914"/>
                  </a:lnTo>
                  <a:lnTo>
                    <a:pt x="664959" y="660"/>
                  </a:lnTo>
                  <a:lnTo>
                    <a:pt x="357965" y="792"/>
                  </a:lnTo>
                  <a:lnTo>
                    <a:pt x="211518" y="0"/>
                  </a:lnTo>
                  <a:close/>
                </a:path>
              </a:pathLst>
            </a:custGeom>
            <a:solidFill>
              <a:srgbClr val="074872"/>
            </a:solidFill>
          </p:spPr>
          <p:txBody>
            <a:bodyPr wrap="square" lIns="0" tIns="0" rIns="0" bIns="0" rtlCol="0"/>
            <a:lstStyle/>
            <a:p>
              <a:endParaRPr/>
            </a:p>
          </p:txBody>
        </p:sp>
        <p:sp>
          <p:nvSpPr>
            <p:cNvPr id="10" name="object 396">
              <a:extLst>
                <a:ext uri="{FF2B5EF4-FFF2-40B4-BE49-F238E27FC236}">
                  <a16:creationId xmlns:a16="http://schemas.microsoft.com/office/drawing/2014/main" id="{2A879F3F-BFA9-DAE4-6443-8188D8B9747F}"/>
                </a:ext>
              </a:extLst>
            </p:cNvPr>
            <p:cNvSpPr/>
            <p:nvPr/>
          </p:nvSpPr>
          <p:spPr>
            <a:xfrm>
              <a:off x="2943174" y="4968588"/>
              <a:ext cx="871855" cy="861694"/>
            </a:xfrm>
            <a:custGeom>
              <a:avLst/>
              <a:gdLst/>
              <a:ahLst/>
              <a:cxnLst/>
              <a:rect l="l" t="t" r="r" b="b"/>
              <a:pathLst>
                <a:path w="871854" h="861695">
                  <a:moveTo>
                    <a:pt x="665949" y="706716"/>
                  </a:moveTo>
                  <a:lnTo>
                    <a:pt x="665949" y="685876"/>
                  </a:lnTo>
                  <a:lnTo>
                    <a:pt x="678615" y="690483"/>
                  </a:lnTo>
                  <a:lnTo>
                    <a:pt x="691230" y="691845"/>
                  </a:lnTo>
                  <a:lnTo>
                    <a:pt x="703981" y="690244"/>
                  </a:lnTo>
                  <a:lnTo>
                    <a:pt x="717054" y="685965"/>
                  </a:lnTo>
                  <a:lnTo>
                    <a:pt x="712851" y="697598"/>
                  </a:lnTo>
                  <a:lnTo>
                    <a:pt x="717689" y="700811"/>
                  </a:lnTo>
                  <a:lnTo>
                    <a:pt x="726135" y="702957"/>
                  </a:lnTo>
                  <a:lnTo>
                    <a:pt x="745814" y="708049"/>
                  </a:lnTo>
                  <a:lnTo>
                    <a:pt x="765459" y="713298"/>
                  </a:lnTo>
                  <a:lnTo>
                    <a:pt x="785072" y="718666"/>
                  </a:lnTo>
                  <a:lnTo>
                    <a:pt x="804659" y="724115"/>
                  </a:lnTo>
                  <a:lnTo>
                    <a:pt x="811326" y="725982"/>
                  </a:lnTo>
                  <a:lnTo>
                    <a:pt x="814832" y="724420"/>
                  </a:lnTo>
                  <a:lnTo>
                    <a:pt x="816660" y="717600"/>
                  </a:lnTo>
                  <a:lnTo>
                    <a:pt x="829889" y="668284"/>
                  </a:lnTo>
                  <a:lnTo>
                    <a:pt x="843159" y="618972"/>
                  </a:lnTo>
                  <a:lnTo>
                    <a:pt x="856447" y="569660"/>
                  </a:lnTo>
                  <a:lnTo>
                    <a:pt x="869734" y="520344"/>
                  </a:lnTo>
                  <a:lnTo>
                    <a:pt x="871524" y="513753"/>
                  </a:lnTo>
                  <a:lnTo>
                    <a:pt x="869899" y="509714"/>
                  </a:lnTo>
                  <a:lnTo>
                    <a:pt x="862418" y="507771"/>
                  </a:lnTo>
                  <a:lnTo>
                    <a:pt x="839544" y="501744"/>
                  </a:lnTo>
                  <a:lnTo>
                    <a:pt x="816724" y="495600"/>
                  </a:lnTo>
                  <a:lnTo>
                    <a:pt x="793971" y="489410"/>
                  </a:lnTo>
                  <a:lnTo>
                    <a:pt x="771296" y="483247"/>
                  </a:lnTo>
                  <a:lnTo>
                    <a:pt x="769302" y="475221"/>
                  </a:lnTo>
                  <a:lnTo>
                    <a:pt x="767994" y="466813"/>
                  </a:lnTo>
                  <a:lnTo>
                    <a:pt x="765086" y="458977"/>
                  </a:lnTo>
                  <a:lnTo>
                    <a:pt x="733513" y="428586"/>
                  </a:lnTo>
                  <a:lnTo>
                    <a:pt x="722550" y="423570"/>
                  </a:lnTo>
                  <a:lnTo>
                    <a:pt x="712843" y="417075"/>
                  </a:lnTo>
                  <a:lnTo>
                    <a:pt x="704304" y="409021"/>
                  </a:lnTo>
                  <a:lnTo>
                    <a:pt x="696849" y="399326"/>
                  </a:lnTo>
                  <a:lnTo>
                    <a:pt x="691544" y="392114"/>
                  </a:lnTo>
                  <a:lnTo>
                    <a:pt x="685552" y="385343"/>
                  </a:lnTo>
                  <a:lnTo>
                    <a:pt x="679093" y="378962"/>
                  </a:lnTo>
                  <a:lnTo>
                    <a:pt x="672388" y="372922"/>
                  </a:lnTo>
                  <a:lnTo>
                    <a:pt x="667334" y="368515"/>
                  </a:lnTo>
                  <a:lnTo>
                    <a:pt x="665048" y="364782"/>
                  </a:lnTo>
                  <a:lnTo>
                    <a:pt x="665048" y="358076"/>
                  </a:lnTo>
                  <a:lnTo>
                    <a:pt x="665129" y="309026"/>
                  </a:lnTo>
                  <a:lnTo>
                    <a:pt x="665180" y="259976"/>
                  </a:lnTo>
                  <a:lnTo>
                    <a:pt x="665209" y="210928"/>
                  </a:lnTo>
                  <a:lnTo>
                    <a:pt x="665220" y="161880"/>
                  </a:lnTo>
                  <a:lnTo>
                    <a:pt x="665220" y="112831"/>
                  </a:lnTo>
                  <a:lnTo>
                    <a:pt x="665216" y="63782"/>
                  </a:lnTo>
                  <a:lnTo>
                    <a:pt x="665213" y="14731"/>
                  </a:lnTo>
                  <a:lnTo>
                    <a:pt x="665213" y="914"/>
                  </a:lnTo>
                  <a:lnTo>
                    <a:pt x="664959" y="660"/>
                  </a:lnTo>
                  <a:lnTo>
                    <a:pt x="650862" y="660"/>
                  </a:lnTo>
                  <a:lnTo>
                    <a:pt x="602047" y="683"/>
                  </a:lnTo>
                  <a:lnTo>
                    <a:pt x="553231" y="738"/>
                  </a:lnTo>
                  <a:lnTo>
                    <a:pt x="504415" y="799"/>
                  </a:lnTo>
                  <a:lnTo>
                    <a:pt x="455598" y="844"/>
                  </a:lnTo>
                  <a:lnTo>
                    <a:pt x="406782" y="850"/>
                  </a:lnTo>
                  <a:lnTo>
                    <a:pt x="357965" y="792"/>
                  </a:lnTo>
                  <a:lnTo>
                    <a:pt x="309149" y="646"/>
                  </a:lnTo>
                  <a:lnTo>
                    <a:pt x="260333" y="390"/>
                  </a:lnTo>
                  <a:lnTo>
                    <a:pt x="211518" y="0"/>
                  </a:lnTo>
                  <a:lnTo>
                    <a:pt x="192175" y="959"/>
                  </a:lnTo>
                  <a:lnTo>
                    <a:pt x="174985" y="5037"/>
                  </a:lnTo>
                  <a:lnTo>
                    <a:pt x="159945" y="13432"/>
                  </a:lnTo>
                  <a:lnTo>
                    <a:pt x="147053" y="27343"/>
                  </a:lnTo>
                  <a:lnTo>
                    <a:pt x="127850" y="49060"/>
                  </a:lnTo>
                  <a:lnTo>
                    <a:pt x="97346" y="79064"/>
                  </a:lnTo>
                  <a:lnTo>
                    <a:pt x="66849" y="109083"/>
                  </a:lnTo>
                  <a:lnTo>
                    <a:pt x="36385" y="139135"/>
                  </a:lnTo>
                  <a:lnTo>
                    <a:pt x="5981" y="169240"/>
                  </a:lnTo>
                  <a:lnTo>
                    <a:pt x="2438" y="176237"/>
                  </a:lnTo>
                  <a:lnTo>
                    <a:pt x="723" y="179806"/>
                  </a:lnTo>
                  <a:lnTo>
                    <a:pt x="876" y="179844"/>
                  </a:lnTo>
                  <a:lnTo>
                    <a:pt x="1003" y="179908"/>
                  </a:lnTo>
                  <a:lnTo>
                    <a:pt x="1143" y="179958"/>
                  </a:lnTo>
                  <a:lnTo>
                    <a:pt x="0" y="182117"/>
                  </a:lnTo>
                  <a:lnTo>
                    <a:pt x="165" y="185216"/>
                  </a:lnTo>
                  <a:lnTo>
                    <a:pt x="165" y="187985"/>
                  </a:lnTo>
                  <a:lnTo>
                    <a:pt x="159" y="210944"/>
                  </a:lnTo>
                  <a:lnTo>
                    <a:pt x="160" y="245679"/>
                  </a:lnTo>
                  <a:lnTo>
                    <a:pt x="163" y="280413"/>
                  </a:lnTo>
                  <a:lnTo>
                    <a:pt x="165" y="303364"/>
                  </a:lnTo>
                  <a:lnTo>
                    <a:pt x="164" y="353491"/>
                  </a:lnTo>
                  <a:lnTo>
                    <a:pt x="163" y="403618"/>
                  </a:lnTo>
                  <a:lnTo>
                    <a:pt x="162" y="453745"/>
                  </a:lnTo>
                  <a:lnTo>
                    <a:pt x="160" y="503871"/>
                  </a:lnTo>
                  <a:lnTo>
                    <a:pt x="159" y="553997"/>
                  </a:lnTo>
                  <a:lnTo>
                    <a:pt x="159" y="604122"/>
                  </a:lnTo>
                  <a:lnTo>
                    <a:pt x="159" y="654247"/>
                  </a:lnTo>
                  <a:lnTo>
                    <a:pt x="161" y="704371"/>
                  </a:lnTo>
                  <a:lnTo>
                    <a:pt x="165" y="754494"/>
                  </a:lnTo>
                  <a:lnTo>
                    <a:pt x="165" y="766724"/>
                  </a:lnTo>
                  <a:lnTo>
                    <a:pt x="749" y="767384"/>
                  </a:lnTo>
                  <a:lnTo>
                    <a:pt x="11849" y="767422"/>
                  </a:lnTo>
                  <a:lnTo>
                    <a:pt x="23629" y="767451"/>
                  </a:lnTo>
                  <a:lnTo>
                    <a:pt x="35406" y="767453"/>
                  </a:lnTo>
                  <a:lnTo>
                    <a:pt x="47180" y="767442"/>
                  </a:lnTo>
                  <a:lnTo>
                    <a:pt x="58953" y="767435"/>
                  </a:lnTo>
                  <a:lnTo>
                    <a:pt x="67848" y="768279"/>
                  </a:lnTo>
                  <a:lnTo>
                    <a:pt x="73488" y="771170"/>
                  </a:lnTo>
                  <a:lnTo>
                    <a:pt x="76452" y="776674"/>
                  </a:lnTo>
                  <a:lnTo>
                    <a:pt x="77317" y="785355"/>
                  </a:lnTo>
                  <a:lnTo>
                    <a:pt x="77311" y="801898"/>
                  </a:lnTo>
                  <a:lnTo>
                    <a:pt x="77298" y="818437"/>
                  </a:lnTo>
                  <a:lnTo>
                    <a:pt x="77342" y="834974"/>
                  </a:lnTo>
                  <a:lnTo>
                    <a:pt x="83591" y="861682"/>
                  </a:lnTo>
                  <a:lnTo>
                    <a:pt x="88188" y="859866"/>
                  </a:lnTo>
                  <a:lnTo>
                    <a:pt x="119595" y="835558"/>
                  </a:lnTo>
                  <a:lnTo>
                    <a:pt x="122351" y="835786"/>
                  </a:lnTo>
                  <a:lnTo>
                    <a:pt x="156133" y="858659"/>
                  </a:lnTo>
                  <a:lnTo>
                    <a:pt x="163271" y="861352"/>
                  </a:lnTo>
                  <a:lnTo>
                    <a:pt x="165874" y="860234"/>
                  </a:lnTo>
                  <a:lnTo>
                    <a:pt x="167767" y="859447"/>
                  </a:lnTo>
                  <a:lnTo>
                    <a:pt x="168795" y="854684"/>
                  </a:lnTo>
                  <a:lnTo>
                    <a:pt x="168846" y="851661"/>
                  </a:lnTo>
                  <a:lnTo>
                    <a:pt x="168973" y="835583"/>
                  </a:lnTo>
                  <a:lnTo>
                    <a:pt x="169005" y="819504"/>
                  </a:lnTo>
                  <a:lnTo>
                    <a:pt x="168989" y="803422"/>
                  </a:lnTo>
                  <a:lnTo>
                    <a:pt x="168973" y="787336"/>
                  </a:lnTo>
                  <a:lnTo>
                    <a:pt x="169687" y="777058"/>
                  </a:lnTo>
                  <a:lnTo>
                    <a:pt x="172524" y="771013"/>
                  </a:lnTo>
                  <a:lnTo>
                    <a:pt x="178526" y="768155"/>
                  </a:lnTo>
                  <a:lnTo>
                    <a:pt x="188734" y="767435"/>
                  </a:lnTo>
                  <a:lnTo>
                    <a:pt x="240165" y="767436"/>
                  </a:lnTo>
                  <a:lnTo>
                    <a:pt x="291596" y="767437"/>
                  </a:lnTo>
                  <a:lnTo>
                    <a:pt x="343027" y="767438"/>
                  </a:lnTo>
                  <a:lnTo>
                    <a:pt x="394458" y="767439"/>
                  </a:lnTo>
                  <a:lnTo>
                    <a:pt x="445890" y="767440"/>
                  </a:lnTo>
                  <a:lnTo>
                    <a:pt x="497323" y="767441"/>
                  </a:lnTo>
                  <a:lnTo>
                    <a:pt x="548756" y="767440"/>
                  </a:lnTo>
                  <a:lnTo>
                    <a:pt x="600189" y="767438"/>
                  </a:lnTo>
                  <a:lnTo>
                    <a:pt x="651624" y="767435"/>
                  </a:lnTo>
                  <a:lnTo>
                    <a:pt x="664438" y="767435"/>
                  </a:lnTo>
                  <a:lnTo>
                    <a:pt x="665175" y="766724"/>
                  </a:lnTo>
                  <a:lnTo>
                    <a:pt x="665213" y="754379"/>
                  </a:lnTo>
                  <a:lnTo>
                    <a:pt x="665224" y="746082"/>
                  </a:lnTo>
                  <a:lnTo>
                    <a:pt x="665222" y="737666"/>
                  </a:lnTo>
                  <a:lnTo>
                    <a:pt x="665216" y="729012"/>
                  </a:lnTo>
                  <a:lnTo>
                    <a:pt x="665213" y="720001"/>
                  </a:lnTo>
                  <a:lnTo>
                    <a:pt x="665949" y="706716"/>
                  </a:lnTo>
                  <a:close/>
                </a:path>
              </a:pathLst>
            </a:custGeom>
            <a:ln w="15773">
              <a:solidFill>
                <a:srgbClr val="004876"/>
              </a:solidFill>
            </a:ln>
          </p:spPr>
          <p:txBody>
            <a:bodyPr wrap="square" lIns="0" tIns="0" rIns="0" bIns="0" rtlCol="0"/>
            <a:lstStyle/>
            <a:p>
              <a:endParaRPr/>
            </a:p>
          </p:txBody>
        </p:sp>
        <p:sp>
          <p:nvSpPr>
            <p:cNvPr id="11" name="object 397">
              <a:extLst>
                <a:ext uri="{FF2B5EF4-FFF2-40B4-BE49-F238E27FC236}">
                  <a16:creationId xmlns:a16="http://schemas.microsoft.com/office/drawing/2014/main" id="{7D9CCE63-B5A1-14BB-EF11-B1A26A4225A3}"/>
                </a:ext>
              </a:extLst>
            </p:cNvPr>
            <p:cNvSpPr/>
            <p:nvPr/>
          </p:nvSpPr>
          <p:spPr>
            <a:xfrm>
              <a:off x="2968331" y="4993485"/>
              <a:ext cx="145415" cy="146050"/>
            </a:xfrm>
            <a:custGeom>
              <a:avLst/>
              <a:gdLst/>
              <a:ahLst/>
              <a:cxnLst/>
              <a:rect l="l" t="t" r="r" b="b"/>
              <a:pathLst>
                <a:path w="145414" h="146050">
                  <a:moveTo>
                    <a:pt x="145211" y="0"/>
                  </a:moveTo>
                  <a:lnTo>
                    <a:pt x="0" y="145542"/>
                  </a:lnTo>
                  <a:lnTo>
                    <a:pt x="145211" y="145542"/>
                  </a:lnTo>
                  <a:lnTo>
                    <a:pt x="145211" y="0"/>
                  </a:lnTo>
                  <a:close/>
                </a:path>
              </a:pathLst>
            </a:custGeom>
            <a:solidFill>
              <a:srgbClr val="004876"/>
            </a:solidFill>
          </p:spPr>
          <p:txBody>
            <a:bodyPr wrap="square" lIns="0" tIns="0" rIns="0" bIns="0" rtlCol="0"/>
            <a:lstStyle/>
            <a:p>
              <a:endParaRPr/>
            </a:p>
          </p:txBody>
        </p:sp>
        <p:pic>
          <p:nvPicPr>
            <p:cNvPr id="12" name="object 398">
              <a:extLst>
                <a:ext uri="{FF2B5EF4-FFF2-40B4-BE49-F238E27FC236}">
                  <a16:creationId xmlns:a16="http://schemas.microsoft.com/office/drawing/2014/main" id="{33BE6FD3-380B-19E1-82BD-D536C9EC9D7F}"/>
                </a:ext>
              </a:extLst>
            </p:cNvPr>
            <p:cNvPicPr/>
            <p:nvPr/>
          </p:nvPicPr>
          <p:blipFill>
            <a:blip r:embed="rId7" cstate="print"/>
            <a:stretch>
              <a:fillRect/>
            </a:stretch>
          </p:blipFill>
          <p:spPr>
            <a:xfrm>
              <a:off x="3005152" y="5623956"/>
              <a:ext cx="122720" cy="187721"/>
            </a:xfrm>
            <a:prstGeom prst="rect">
              <a:avLst/>
            </a:prstGeom>
          </p:spPr>
        </p:pic>
        <p:pic>
          <p:nvPicPr>
            <p:cNvPr id="13" name="object 399">
              <a:extLst>
                <a:ext uri="{FF2B5EF4-FFF2-40B4-BE49-F238E27FC236}">
                  <a16:creationId xmlns:a16="http://schemas.microsoft.com/office/drawing/2014/main" id="{1A308325-C586-EF94-D94F-BF35A93C043D}"/>
                </a:ext>
              </a:extLst>
            </p:cNvPr>
            <p:cNvPicPr/>
            <p:nvPr/>
          </p:nvPicPr>
          <p:blipFill>
            <a:blip r:embed="rId8" cstate="print"/>
            <a:stretch>
              <a:fillRect/>
            </a:stretch>
          </p:blipFill>
          <p:spPr>
            <a:xfrm>
              <a:off x="2956001" y="4982413"/>
              <a:ext cx="639584" cy="740397"/>
            </a:xfrm>
            <a:prstGeom prst="rect">
              <a:avLst/>
            </a:prstGeom>
          </p:spPr>
        </p:pic>
        <p:sp>
          <p:nvSpPr>
            <p:cNvPr id="14" name="object 400">
              <a:extLst>
                <a:ext uri="{FF2B5EF4-FFF2-40B4-BE49-F238E27FC236}">
                  <a16:creationId xmlns:a16="http://schemas.microsoft.com/office/drawing/2014/main" id="{44A222AE-CEDB-B91E-27D1-841DF0ECA1AD}"/>
                </a:ext>
              </a:extLst>
            </p:cNvPr>
            <p:cNvSpPr/>
            <p:nvPr/>
          </p:nvSpPr>
          <p:spPr>
            <a:xfrm>
              <a:off x="2956020" y="4982424"/>
              <a:ext cx="640080" cy="740410"/>
            </a:xfrm>
            <a:custGeom>
              <a:avLst/>
              <a:gdLst/>
              <a:ahLst/>
              <a:cxnLst/>
              <a:rect l="l" t="t" r="r" b="b"/>
              <a:pathLst>
                <a:path w="640079" h="740410">
                  <a:moveTo>
                    <a:pt x="639559" y="740371"/>
                  </a:moveTo>
                  <a:lnTo>
                    <a:pt x="175399" y="740371"/>
                  </a:lnTo>
                  <a:lnTo>
                    <a:pt x="180928" y="726964"/>
                  </a:lnTo>
                  <a:lnTo>
                    <a:pt x="184286" y="713446"/>
                  </a:lnTo>
                  <a:lnTo>
                    <a:pt x="178509" y="671980"/>
                  </a:lnTo>
                  <a:lnTo>
                    <a:pt x="151206" y="640219"/>
                  </a:lnTo>
                  <a:lnTo>
                    <a:pt x="107180" y="627800"/>
                  </a:lnTo>
                  <a:lnTo>
                    <a:pt x="84974" y="632366"/>
                  </a:lnTo>
                  <a:lnTo>
                    <a:pt x="64363" y="643966"/>
                  </a:lnTo>
                  <a:lnTo>
                    <a:pt x="47124" y="662160"/>
                  </a:lnTo>
                  <a:lnTo>
                    <a:pt x="38176" y="683868"/>
                  </a:lnTo>
                  <a:lnTo>
                    <a:pt x="37410" y="709726"/>
                  </a:lnTo>
                  <a:lnTo>
                    <a:pt x="44716" y="740371"/>
                  </a:lnTo>
                  <a:lnTo>
                    <a:pt x="457" y="740371"/>
                  </a:lnTo>
                  <a:lnTo>
                    <a:pt x="317" y="737374"/>
                  </a:lnTo>
                  <a:lnTo>
                    <a:pt x="127" y="735012"/>
                  </a:lnTo>
                  <a:lnTo>
                    <a:pt x="127" y="732637"/>
                  </a:lnTo>
                  <a:lnTo>
                    <a:pt x="114" y="679555"/>
                  </a:lnTo>
                  <a:lnTo>
                    <a:pt x="107" y="626470"/>
                  </a:lnTo>
                  <a:lnTo>
                    <a:pt x="103" y="573383"/>
                  </a:lnTo>
                  <a:lnTo>
                    <a:pt x="101" y="520296"/>
                  </a:lnTo>
                  <a:lnTo>
                    <a:pt x="101" y="467207"/>
                  </a:lnTo>
                  <a:lnTo>
                    <a:pt x="103" y="424204"/>
                  </a:lnTo>
                  <a:lnTo>
                    <a:pt x="107" y="374217"/>
                  </a:lnTo>
                  <a:lnTo>
                    <a:pt x="111" y="320740"/>
                  </a:lnTo>
                  <a:lnTo>
                    <a:pt x="112" y="267263"/>
                  </a:lnTo>
                  <a:lnTo>
                    <a:pt x="110" y="217280"/>
                  </a:lnTo>
                  <a:lnTo>
                    <a:pt x="101" y="174282"/>
                  </a:lnTo>
                  <a:lnTo>
                    <a:pt x="101" y="172859"/>
                  </a:lnTo>
                  <a:lnTo>
                    <a:pt x="127" y="171373"/>
                  </a:lnTo>
                  <a:lnTo>
                    <a:pt x="0" y="169964"/>
                  </a:lnTo>
                  <a:lnTo>
                    <a:pt x="39572" y="170100"/>
                  </a:lnTo>
                  <a:lnTo>
                    <a:pt x="79141" y="170153"/>
                  </a:lnTo>
                  <a:lnTo>
                    <a:pt x="118713" y="170155"/>
                  </a:lnTo>
                  <a:lnTo>
                    <a:pt x="158292" y="170141"/>
                  </a:lnTo>
                  <a:lnTo>
                    <a:pt x="169570" y="170129"/>
                  </a:lnTo>
                  <a:lnTo>
                    <a:pt x="170599" y="169037"/>
                  </a:lnTo>
                  <a:lnTo>
                    <a:pt x="170599" y="157594"/>
                  </a:lnTo>
                  <a:lnTo>
                    <a:pt x="170606" y="120682"/>
                  </a:lnTo>
                  <a:lnTo>
                    <a:pt x="170610" y="83767"/>
                  </a:lnTo>
                  <a:lnTo>
                    <a:pt x="170611" y="46850"/>
                  </a:lnTo>
                  <a:lnTo>
                    <a:pt x="170611" y="9931"/>
                  </a:lnTo>
                  <a:lnTo>
                    <a:pt x="170611" y="0"/>
                  </a:lnTo>
                  <a:lnTo>
                    <a:pt x="638886" y="0"/>
                  </a:lnTo>
                  <a:lnTo>
                    <a:pt x="638886" y="348462"/>
                  </a:lnTo>
                  <a:lnTo>
                    <a:pt x="625035" y="352030"/>
                  </a:lnTo>
                  <a:lnTo>
                    <a:pt x="615727" y="359489"/>
                  </a:lnTo>
                  <a:lnTo>
                    <a:pt x="611182" y="370458"/>
                  </a:lnTo>
                  <a:lnTo>
                    <a:pt x="611619" y="384556"/>
                  </a:lnTo>
                  <a:lnTo>
                    <a:pt x="611682" y="384848"/>
                  </a:lnTo>
                  <a:lnTo>
                    <a:pt x="611809" y="385140"/>
                  </a:lnTo>
                  <a:lnTo>
                    <a:pt x="611847" y="385432"/>
                  </a:lnTo>
                  <a:lnTo>
                    <a:pt x="634555" y="428002"/>
                  </a:lnTo>
                  <a:lnTo>
                    <a:pt x="637260" y="431457"/>
                  </a:lnTo>
                  <a:lnTo>
                    <a:pt x="639343" y="436460"/>
                  </a:lnTo>
                  <a:lnTo>
                    <a:pt x="639463" y="489082"/>
                  </a:lnTo>
                  <a:lnTo>
                    <a:pt x="639527" y="537397"/>
                  </a:lnTo>
                  <a:lnTo>
                    <a:pt x="639557" y="585711"/>
                  </a:lnTo>
                  <a:lnTo>
                    <a:pt x="639565" y="634025"/>
                  </a:lnTo>
                  <a:lnTo>
                    <a:pt x="639562" y="682340"/>
                  </a:lnTo>
                  <a:lnTo>
                    <a:pt x="639559" y="730656"/>
                  </a:lnTo>
                  <a:lnTo>
                    <a:pt x="639559" y="740371"/>
                  </a:lnTo>
                  <a:close/>
                </a:path>
              </a:pathLst>
            </a:custGeom>
            <a:ln w="3175">
              <a:solidFill>
                <a:srgbClr val="004876"/>
              </a:solidFill>
            </a:ln>
          </p:spPr>
          <p:txBody>
            <a:bodyPr wrap="square" lIns="0" tIns="0" rIns="0" bIns="0" rtlCol="0"/>
            <a:lstStyle/>
            <a:p>
              <a:endParaRPr/>
            </a:p>
          </p:txBody>
        </p:sp>
        <p:sp>
          <p:nvSpPr>
            <p:cNvPr id="16" name="object 401">
              <a:extLst>
                <a:ext uri="{FF2B5EF4-FFF2-40B4-BE49-F238E27FC236}">
                  <a16:creationId xmlns:a16="http://schemas.microsoft.com/office/drawing/2014/main" id="{002ABEE9-8EEC-4939-74B9-FEBD03719718}"/>
                </a:ext>
              </a:extLst>
            </p:cNvPr>
            <p:cNvSpPr/>
            <p:nvPr/>
          </p:nvSpPr>
          <p:spPr>
            <a:xfrm>
              <a:off x="3579203" y="5340032"/>
              <a:ext cx="220979" cy="339725"/>
            </a:xfrm>
            <a:custGeom>
              <a:avLst/>
              <a:gdLst/>
              <a:ahLst/>
              <a:cxnLst/>
              <a:rect l="l" t="t" r="r" b="b"/>
              <a:pathLst>
                <a:path w="220979" h="339725">
                  <a:moveTo>
                    <a:pt x="132080" y="124256"/>
                  </a:moveTo>
                  <a:lnTo>
                    <a:pt x="123063" y="120218"/>
                  </a:lnTo>
                  <a:lnTo>
                    <a:pt x="122072" y="116344"/>
                  </a:lnTo>
                  <a:lnTo>
                    <a:pt x="121932" y="113817"/>
                  </a:lnTo>
                  <a:lnTo>
                    <a:pt x="119151" y="97548"/>
                  </a:lnTo>
                  <a:lnTo>
                    <a:pt x="112623" y="84035"/>
                  </a:lnTo>
                  <a:lnTo>
                    <a:pt x="102057" y="73482"/>
                  </a:lnTo>
                  <a:lnTo>
                    <a:pt x="87172" y="66116"/>
                  </a:lnTo>
                  <a:lnTo>
                    <a:pt x="76530" y="61341"/>
                  </a:lnTo>
                  <a:lnTo>
                    <a:pt x="67360" y="54851"/>
                  </a:lnTo>
                  <a:lnTo>
                    <a:pt x="59334" y="46888"/>
                  </a:lnTo>
                  <a:lnTo>
                    <a:pt x="46215" y="30086"/>
                  </a:lnTo>
                  <a:lnTo>
                    <a:pt x="39712" y="22910"/>
                  </a:lnTo>
                  <a:lnTo>
                    <a:pt x="32816" y="16078"/>
                  </a:lnTo>
                  <a:lnTo>
                    <a:pt x="20535" y="4813"/>
                  </a:lnTo>
                  <a:lnTo>
                    <a:pt x="12065" y="0"/>
                  </a:lnTo>
                  <a:lnTo>
                    <a:pt x="2247" y="10629"/>
                  </a:lnTo>
                  <a:lnTo>
                    <a:pt x="0" y="20129"/>
                  </a:lnTo>
                  <a:lnTo>
                    <a:pt x="1816" y="25781"/>
                  </a:lnTo>
                  <a:lnTo>
                    <a:pt x="25819" y="66167"/>
                  </a:lnTo>
                  <a:lnTo>
                    <a:pt x="42164" y="83121"/>
                  </a:lnTo>
                  <a:lnTo>
                    <a:pt x="52082" y="93700"/>
                  </a:lnTo>
                  <a:lnTo>
                    <a:pt x="53289" y="98196"/>
                  </a:lnTo>
                  <a:lnTo>
                    <a:pt x="51308" y="102133"/>
                  </a:lnTo>
                  <a:lnTo>
                    <a:pt x="46786" y="103149"/>
                  </a:lnTo>
                  <a:lnTo>
                    <a:pt x="39331" y="102552"/>
                  </a:lnTo>
                  <a:lnTo>
                    <a:pt x="34772" y="100876"/>
                  </a:lnTo>
                  <a:lnTo>
                    <a:pt x="30289" y="99758"/>
                  </a:lnTo>
                  <a:lnTo>
                    <a:pt x="29768" y="101130"/>
                  </a:lnTo>
                  <a:lnTo>
                    <a:pt x="29349" y="101701"/>
                  </a:lnTo>
                  <a:lnTo>
                    <a:pt x="29438" y="299034"/>
                  </a:lnTo>
                  <a:lnTo>
                    <a:pt x="32537" y="302082"/>
                  </a:lnTo>
                  <a:lnTo>
                    <a:pt x="34912" y="303187"/>
                  </a:lnTo>
                  <a:lnTo>
                    <a:pt x="45593" y="306578"/>
                  </a:lnTo>
                  <a:lnTo>
                    <a:pt x="56286" y="307263"/>
                  </a:lnTo>
                  <a:lnTo>
                    <a:pt x="67005" y="305841"/>
                  </a:lnTo>
                  <a:lnTo>
                    <a:pt x="77749" y="302895"/>
                  </a:lnTo>
                  <a:lnTo>
                    <a:pt x="82588" y="301320"/>
                  </a:lnTo>
                  <a:lnTo>
                    <a:pt x="84836" y="299212"/>
                  </a:lnTo>
                  <a:lnTo>
                    <a:pt x="86207" y="294030"/>
                  </a:lnTo>
                  <a:lnTo>
                    <a:pt x="96799" y="254254"/>
                  </a:lnTo>
                  <a:lnTo>
                    <a:pt x="132080" y="124256"/>
                  </a:lnTo>
                  <a:close/>
                </a:path>
                <a:path w="220979" h="339725">
                  <a:moveTo>
                    <a:pt x="220421" y="147955"/>
                  </a:moveTo>
                  <a:lnTo>
                    <a:pt x="144678" y="127698"/>
                  </a:lnTo>
                  <a:lnTo>
                    <a:pt x="93484" y="319138"/>
                  </a:lnTo>
                  <a:lnTo>
                    <a:pt x="169278" y="339420"/>
                  </a:lnTo>
                  <a:lnTo>
                    <a:pt x="220421" y="147955"/>
                  </a:lnTo>
                  <a:close/>
                </a:path>
              </a:pathLst>
            </a:custGeom>
            <a:solidFill>
              <a:srgbClr val="1D1D1B"/>
            </a:solidFill>
          </p:spPr>
          <p:txBody>
            <a:bodyPr wrap="square" lIns="0" tIns="0" rIns="0" bIns="0" rtlCol="0"/>
            <a:lstStyle/>
            <a:p>
              <a:endParaRPr/>
            </a:p>
          </p:txBody>
        </p:sp>
        <p:sp>
          <p:nvSpPr>
            <p:cNvPr id="17" name="object 402">
              <a:extLst>
                <a:ext uri="{FF2B5EF4-FFF2-40B4-BE49-F238E27FC236}">
                  <a16:creationId xmlns:a16="http://schemas.microsoft.com/office/drawing/2014/main" id="{0B3848CE-523C-BC6C-D487-06B9ED21771F}"/>
                </a:ext>
              </a:extLst>
            </p:cNvPr>
            <p:cNvSpPr/>
            <p:nvPr/>
          </p:nvSpPr>
          <p:spPr>
            <a:xfrm>
              <a:off x="3040978" y="5201880"/>
              <a:ext cx="469900" cy="73660"/>
            </a:xfrm>
            <a:custGeom>
              <a:avLst/>
              <a:gdLst/>
              <a:ahLst/>
              <a:cxnLst/>
              <a:rect l="l" t="t" r="r" b="b"/>
              <a:pathLst>
                <a:path w="469900" h="73660">
                  <a:moveTo>
                    <a:pt x="469569" y="76"/>
                  </a:moveTo>
                  <a:lnTo>
                    <a:pt x="2730" y="0"/>
                  </a:lnTo>
                  <a:lnTo>
                    <a:pt x="0" y="2921"/>
                  </a:lnTo>
                  <a:lnTo>
                    <a:pt x="203" y="73596"/>
                  </a:lnTo>
                  <a:lnTo>
                    <a:pt x="235026" y="73596"/>
                  </a:lnTo>
                  <a:lnTo>
                    <a:pt x="468871" y="73596"/>
                  </a:lnTo>
                  <a:lnTo>
                    <a:pt x="469531" y="72923"/>
                  </a:lnTo>
                  <a:lnTo>
                    <a:pt x="469569" y="76"/>
                  </a:lnTo>
                  <a:close/>
                </a:path>
              </a:pathLst>
            </a:custGeom>
            <a:solidFill>
              <a:srgbClr val="074872"/>
            </a:solidFill>
          </p:spPr>
          <p:txBody>
            <a:bodyPr wrap="square" lIns="0" tIns="0" rIns="0" bIns="0" rtlCol="0"/>
            <a:lstStyle/>
            <a:p>
              <a:endParaRPr/>
            </a:p>
          </p:txBody>
        </p:sp>
        <p:sp>
          <p:nvSpPr>
            <p:cNvPr id="22" name="object 403">
              <a:extLst>
                <a:ext uri="{FF2B5EF4-FFF2-40B4-BE49-F238E27FC236}">
                  <a16:creationId xmlns:a16="http://schemas.microsoft.com/office/drawing/2014/main" id="{8827B544-6E9B-F065-1E89-AAA53F84098C}"/>
                </a:ext>
              </a:extLst>
            </p:cNvPr>
            <p:cNvSpPr/>
            <p:nvPr/>
          </p:nvSpPr>
          <p:spPr>
            <a:xfrm>
              <a:off x="3054502" y="5214823"/>
              <a:ext cx="443230" cy="47625"/>
            </a:xfrm>
            <a:custGeom>
              <a:avLst/>
              <a:gdLst/>
              <a:ahLst/>
              <a:cxnLst/>
              <a:rect l="l" t="t" r="r" b="b"/>
              <a:pathLst>
                <a:path w="443229" h="47625">
                  <a:moveTo>
                    <a:pt x="442887" y="0"/>
                  </a:moveTo>
                  <a:lnTo>
                    <a:pt x="0" y="0"/>
                  </a:lnTo>
                  <a:lnTo>
                    <a:pt x="0" y="47485"/>
                  </a:lnTo>
                  <a:lnTo>
                    <a:pt x="442887" y="47485"/>
                  </a:lnTo>
                  <a:lnTo>
                    <a:pt x="442887" y="0"/>
                  </a:lnTo>
                  <a:close/>
                </a:path>
              </a:pathLst>
            </a:custGeom>
            <a:solidFill>
              <a:srgbClr val="1D1D1B"/>
            </a:solidFill>
          </p:spPr>
          <p:txBody>
            <a:bodyPr wrap="square" lIns="0" tIns="0" rIns="0" bIns="0" rtlCol="0"/>
            <a:lstStyle/>
            <a:p>
              <a:endParaRPr/>
            </a:p>
          </p:txBody>
        </p:sp>
        <p:sp>
          <p:nvSpPr>
            <p:cNvPr id="23" name="object 404">
              <a:extLst>
                <a:ext uri="{FF2B5EF4-FFF2-40B4-BE49-F238E27FC236}">
                  <a16:creationId xmlns:a16="http://schemas.microsoft.com/office/drawing/2014/main" id="{88861392-5224-24D8-B313-98E4563BE66A}"/>
                </a:ext>
              </a:extLst>
            </p:cNvPr>
            <p:cNvSpPr/>
            <p:nvPr/>
          </p:nvSpPr>
          <p:spPr>
            <a:xfrm>
              <a:off x="3210293" y="5324589"/>
              <a:ext cx="302895" cy="128905"/>
            </a:xfrm>
            <a:custGeom>
              <a:avLst/>
              <a:gdLst/>
              <a:ahLst/>
              <a:cxnLst/>
              <a:rect l="l" t="t" r="r" b="b"/>
              <a:pathLst>
                <a:path w="302895" h="128904">
                  <a:moveTo>
                    <a:pt x="302107" y="6896"/>
                  </a:moveTo>
                  <a:lnTo>
                    <a:pt x="296646" y="2451"/>
                  </a:lnTo>
                  <a:lnTo>
                    <a:pt x="292544" y="0"/>
                  </a:lnTo>
                  <a:lnTo>
                    <a:pt x="290690" y="520"/>
                  </a:lnTo>
                  <a:lnTo>
                    <a:pt x="10528" y="533"/>
                  </a:lnTo>
                  <a:lnTo>
                    <a:pt x="7429" y="63"/>
                  </a:lnTo>
                  <a:lnTo>
                    <a:pt x="3035" y="2425"/>
                  </a:lnTo>
                  <a:lnTo>
                    <a:pt x="673" y="5219"/>
                  </a:lnTo>
                  <a:lnTo>
                    <a:pt x="215" y="9131"/>
                  </a:lnTo>
                  <a:lnTo>
                    <a:pt x="3238" y="11950"/>
                  </a:lnTo>
                  <a:lnTo>
                    <a:pt x="8077" y="13703"/>
                  </a:lnTo>
                  <a:lnTo>
                    <a:pt x="11303" y="13284"/>
                  </a:lnTo>
                  <a:lnTo>
                    <a:pt x="150037" y="13296"/>
                  </a:lnTo>
                  <a:lnTo>
                    <a:pt x="286435" y="13360"/>
                  </a:lnTo>
                  <a:lnTo>
                    <a:pt x="296748" y="12763"/>
                  </a:lnTo>
                  <a:lnTo>
                    <a:pt x="299377" y="9017"/>
                  </a:lnTo>
                  <a:lnTo>
                    <a:pt x="302107" y="6896"/>
                  </a:lnTo>
                  <a:close/>
                </a:path>
                <a:path w="302895" h="128904">
                  <a:moveTo>
                    <a:pt x="302564" y="115239"/>
                  </a:moveTo>
                  <a:lnTo>
                    <a:pt x="296773" y="115087"/>
                  </a:lnTo>
                  <a:lnTo>
                    <a:pt x="12280" y="114960"/>
                  </a:lnTo>
                  <a:lnTo>
                    <a:pt x="9753" y="114261"/>
                  </a:lnTo>
                  <a:lnTo>
                    <a:pt x="5143" y="116814"/>
                  </a:lnTo>
                  <a:lnTo>
                    <a:pt x="2679" y="119405"/>
                  </a:lnTo>
                  <a:lnTo>
                    <a:pt x="0" y="121602"/>
                  </a:lnTo>
                  <a:lnTo>
                    <a:pt x="2590" y="123621"/>
                  </a:lnTo>
                  <a:lnTo>
                    <a:pt x="4953" y="126149"/>
                  </a:lnTo>
                  <a:lnTo>
                    <a:pt x="9829" y="128435"/>
                  </a:lnTo>
                  <a:lnTo>
                    <a:pt x="12585" y="127736"/>
                  </a:lnTo>
                  <a:lnTo>
                    <a:pt x="150723" y="127736"/>
                  </a:lnTo>
                  <a:lnTo>
                    <a:pt x="295287" y="127419"/>
                  </a:lnTo>
                  <a:lnTo>
                    <a:pt x="301193" y="123939"/>
                  </a:lnTo>
                  <a:lnTo>
                    <a:pt x="302564" y="115239"/>
                  </a:lnTo>
                  <a:close/>
                </a:path>
              </a:pathLst>
            </a:custGeom>
            <a:solidFill>
              <a:srgbClr val="074872"/>
            </a:solidFill>
          </p:spPr>
          <p:txBody>
            <a:bodyPr wrap="square" lIns="0" tIns="0" rIns="0" bIns="0" rtlCol="0"/>
            <a:lstStyle/>
            <a:p>
              <a:endParaRPr/>
            </a:p>
          </p:txBody>
        </p:sp>
        <p:sp>
          <p:nvSpPr>
            <p:cNvPr id="24" name="object 405">
              <a:extLst>
                <a:ext uri="{FF2B5EF4-FFF2-40B4-BE49-F238E27FC236}">
                  <a16:creationId xmlns:a16="http://schemas.microsoft.com/office/drawing/2014/main" id="{16C7FCD2-D73F-0A93-DB36-D09075DFD497}"/>
                </a:ext>
              </a:extLst>
            </p:cNvPr>
            <p:cNvSpPr/>
            <p:nvPr/>
          </p:nvSpPr>
          <p:spPr>
            <a:xfrm>
              <a:off x="3289428" y="5388718"/>
              <a:ext cx="222885" cy="0"/>
            </a:xfrm>
            <a:custGeom>
              <a:avLst/>
              <a:gdLst/>
              <a:ahLst/>
              <a:cxnLst/>
              <a:rect l="l" t="t" r="r" b="b"/>
              <a:pathLst>
                <a:path w="222885">
                  <a:moveTo>
                    <a:pt x="0" y="0"/>
                  </a:moveTo>
                  <a:lnTo>
                    <a:pt x="222821" y="0"/>
                  </a:lnTo>
                </a:path>
              </a:pathLst>
            </a:custGeom>
            <a:ln w="3175">
              <a:solidFill>
                <a:srgbClr val="074872"/>
              </a:solidFill>
            </a:ln>
          </p:spPr>
          <p:txBody>
            <a:bodyPr wrap="square" lIns="0" tIns="0" rIns="0" bIns="0" rtlCol="0"/>
            <a:lstStyle/>
            <a:p>
              <a:endParaRPr/>
            </a:p>
          </p:txBody>
        </p:sp>
        <p:sp>
          <p:nvSpPr>
            <p:cNvPr id="25" name="object 406">
              <a:extLst>
                <a:ext uri="{FF2B5EF4-FFF2-40B4-BE49-F238E27FC236}">
                  <a16:creationId xmlns:a16="http://schemas.microsoft.com/office/drawing/2014/main" id="{50F8EEB5-B336-BABC-3B88-C43745AF71AD}"/>
                </a:ext>
              </a:extLst>
            </p:cNvPr>
            <p:cNvSpPr/>
            <p:nvPr/>
          </p:nvSpPr>
          <p:spPr>
            <a:xfrm>
              <a:off x="3396460" y="5637808"/>
              <a:ext cx="116839" cy="13335"/>
            </a:xfrm>
            <a:custGeom>
              <a:avLst/>
              <a:gdLst/>
              <a:ahLst/>
              <a:cxnLst/>
              <a:rect l="l" t="t" r="r" b="b"/>
              <a:pathLst>
                <a:path w="116839" h="13335">
                  <a:moveTo>
                    <a:pt x="58235" y="0"/>
                  </a:moveTo>
                  <a:lnTo>
                    <a:pt x="6654" y="374"/>
                  </a:lnTo>
                  <a:lnTo>
                    <a:pt x="1155" y="3829"/>
                  </a:lnTo>
                  <a:lnTo>
                    <a:pt x="0" y="12223"/>
                  </a:lnTo>
                  <a:lnTo>
                    <a:pt x="5257" y="12858"/>
                  </a:lnTo>
                  <a:lnTo>
                    <a:pt x="57200" y="12795"/>
                  </a:lnTo>
                  <a:lnTo>
                    <a:pt x="110871" y="12846"/>
                  </a:lnTo>
                  <a:lnTo>
                    <a:pt x="116255" y="12452"/>
                  </a:lnTo>
                  <a:lnTo>
                    <a:pt x="115201" y="3943"/>
                  </a:lnTo>
                  <a:lnTo>
                    <a:pt x="109778" y="374"/>
                  </a:lnTo>
                  <a:lnTo>
                    <a:pt x="58235" y="0"/>
                  </a:lnTo>
                  <a:close/>
                </a:path>
              </a:pathLst>
            </a:custGeom>
            <a:solidFill>
              <a:srgbClr val="074872"/>
            </a:solidFill>
          </p:spPr>
          <p:txBody>
            <a:bodyPr wrap="square" lIns="0" tIns="0" rIns="0" bIns="0" rtlCol="0"/>
            <a:lstStyle/>
            <a:p>
              <a:endParaRPr/>
            </a:p>
          </p:txBody>
        </p:sp>
        <p:sp>
          <p:nvSpPr>
            <p:cNvPr id="26" name="object 407">
              <a:extLst>
                <a:ext uri="{FF2B5EF4-FFF2-40B4-BE49-F238E27FC236}">
                  <a16:creationId xmlns:a16="http://schemas.microsoft.com/office/drawing/2014/main" id="{9A74E8BA-4694-C22F-9AF8-F7586A7DFBFB}"/>
                </a:ext>
              </a:extLst>
            </p:cNvPr>
            <p:cNvSpPr/>
            <p:nvPr/>
          </p:nvSpPr>
          <p:spPr>
            <a:xfrm>
              <a:off x="3579216" y="5340030"/>
              <a:ext cx="132080" cy="307340"/>
            </a:xfrm>
            <a:custGeom>
              <a:avLst/>
              <a:gdLst/>
              <a:ahLst/>
              <a:cxnLst/>
              <a:rect l="l" t="t" r="r" b="b"/>
              <a:pathLst>
                <a:path w="132079" h="307339">
                  <a:moveTo>
                    <a:pt x="12052" y="0"/>
                  </a:moveTo>
                  <a:lnTo>
                    <a:pt x="2235" y="10642"/>
                  </a:lnTo>
                  <a:lnTo>
                    <a:pt x="0" y="20116"/>
                  </a:lnTo>
                  <a:lnTo>
                    <a:pt x="1816" y="25781"/>
                  </a:lnTo>
                  <a:lnTo>
                    <a:pt x="25818" y="66168"/>
                  </a:lnTo>
                  <a:lnTo>
                    <a:pt x="42162" y="83113"/>
                  </a:lnTo>
                  <a:lnTo>
                    <a:pt x="52070" y="93687"/>
                  </a:lnTo>
                  <a:lnTo>
                    <a:pt x="53289" y="98183"/>
                  </a:lnTo>
                  <a:lnTo>
                    <a:pt x="51295" y="102120"/>
                  </a:lnTo>
                  <a:lnTo>
                    <a:pt x="46786" y="103149"/>
                  </a:lnTo>
                  <a:lnTo>
                    <a:pt x="39319" y="102552"/>
                  </a:lnTo>
                  <a:lnTo>
                    <a:pt x="34759" y="100863"/>
                  </a:lnTo>
                  <a:lnTo>
                    <a:pt x="30276" y="99758"/>
                  </a:lnTo>
                  <a:lnTo>
                    <a:pt x="29349" y="101688"/>
                  </a:lnTo>
                  <a:lnTo>
                    <a:pt x="29425" y="299034"/>
                  </a:lnTo>
                  <a:lnTo>
                    <a:pt x="32537" y="302069"/>
                  </a:lnTo>
                  <a:lnTo>
                    <a:pt x="34899" y="303187"/>
                  </a:lnTo>
                  <a:lnTo>
                    <a:pt x="45582" y="306580"/>
                  </a:lnTo>
                  <a:lnTo>
                    <a:pt x="56280" y="307268"/>
                  </a:lnTo>
                  <a:lnTo>
                    <a:pt x="66996" y="305839"/>
                  </a:lnTo>
                  <a:lnTo>
                    <a:pt x="77736" y="302882"/>
                  </a:lnTo>
                  <a:lnTo>
                    <a:pt x="82588" y="301307"/>
                  </a:lnTo>
                  <a:lnTo>
                    <a:pt x="84823" y="299212"/>
                  </a:lnTo>
                  <a:lnTo>
                    <a:pt x="96781" y="254252"/>
                  </a:lnTo>
                  <a:lnTo>
                    <a:pt x="132067" y="124269"/>
                  </a:lnTo>
                  <a:lnTo>
                    <a:pt x="123063" y="120218"/>
                  </a:lnTo>
                  <a:lnTo>
                    <a:pt x="122059" y="116344"/>
                  </a:lnTo>
                  <a:lnTo>
                    <a:pt x="121920" y="113817"/>
                  </a:lnTo>
                  <a:lnTo>
                    <a:pt x="119144" y="97544"/>
                  </a:lnTo>
                  <a:lnTo>
                    <a:pt x="112620" y="84031"/>
                  </a:lnTo>
                  <a:lnTo>
                    <a:pt x="102053" y="73482"/>
                  </a:lnTo>
                  <a:lnTo>
                    <a:pt x="87147" y="66103"/>
                  </a:lnTo>
                  <a:lnTo>
                    <a:pt x="76518" y="61338"/>
                  </a:lnTo>
                  <a:lnTo>
                    <a:pt x="67349" y="54856"/>
                  </a:lnTo>
                  <a:lnTo>
                    <a:pt x="59317" y="46885"/>
                  </a:lnTo>
                  <a:lnTo>
                    <a:pt x="46196" y="30075"/>
                  </a:lnTo>
                  <a:lnTo>
                    <a:pt x="39700" y="22906"/>
                  </a:lnTo>
                  <a:lnTo>
                    <a:pt x="32803" y="16072"/>
                  </a:lnTo>
                  <a:lnTo>
                    <a:pt x="20523" y="4800"/>
                  </a:lnTo>
                  <a:lnTo>
                    <a:pt x="12052" y="0"/>
                  </a:lnTo>
                  <a:close/>
                </a:path>
              </a:pathLst>
            </a:custGeom>
            <a:solidFill>
              <a:srgbClr val="FFFFFF"/>
            </a:solidFill>
          </p:spPr>
          <p:txBody>
            <a:bodyPr wrap="square" lIns="0" tIns="0" rIns="0" bIns="0" rtlCol="0"/>
            <a:lstStyle/>
            <a:p>
              <a:endParaRPr/>
            </a:p>
          </p:txBody>
        </p:sp>
        <p:pic>
          <p:nvPicPr>
            <p:cNvPr id="27" name="object 408">
              <a:extLst>
                <a:ext uri="{FF2B5EF4-FFF2-40B4-BE49-F238E27FC236}">
                  <a16:creationId xmlns:a16="http://schemas.microsoft.com/office/drawing/2014/main" id="{389794E6-F709-5E9C-E631-65F02D8BF667}"/>
                </a:ext>
              </a:extLst>
            </p:cNvPr>
            <p:cNvPicPr/>
            <p:nvPr/>
          </p:nvPicPr>
          <p:blipFill>
            <a:blip r:embed="rId9" cstate="print"/>
            <a:stretch>
              <a:fillRect/>
            </a:stretch>
          </p:blipFill>
          <p:spPr>
            <a:xfrm>
              <a:off x="3668768" y="5463781"/>
              <a:ext cx="142557" cy="220141"/>
            </a:xfrm>
            <a:prstGeom prst="rect">
              <a:avLst/>
            </a:prstGeom>
          </p:spPr>
        </p:pic>
        <p:pic>
          <p:nvPicPr>
            <p:cNvPr id="28" name="object 409">
              <a:extLst>
                <a:ext uri="{FF2B5EF4-FFF2-40B4-BE49-F238E27FC236}">
                  <a16:creationId xmlns:a16="http://schemas.microsoft.com/office/drawing/2014/main" id="{C9290620-E717-CA8F-76CA-7CCE2908BB89}"/>
                </a:ext>
              </a:extLst>
            </p:cNvPr>
            <p:cNvPicPr/>
            <p:nvPr/>
          </p:nvPicPr>
          <p:blipFill>
            <a:blip r:embed="rId10" cstate="print"/>
            <a:stretch>
              <a:fillRect/>
            </a:stretch>
          </p:blipFill>
          <p:spPr>
            <a:xfrm>
              <a:off x="3008513" y="5627309"/>
              <a:ext cx="116014" cy="115912"/>
            </a:xfrm>
            <a:prstGeom prst="rect">
              <a:avLst/>
            </a:prstGeom>
          </p:spPr>
        </p:pic>
        <p:pic>
          <p:nvPicPr>
            <p:cNvPr id="29" name="object 410">
              <a:extLst>
                <a:ext uri="{FF2B5EF4-FFF2-40B4-BE49-F238E27FC236}">
                  <a16:creationId xmlns:a16="http://schemas.microsoft.com/office/drawing/2014/main" id="{0A04A108-6CE3-868B-E542-69B57455ECF6}"/>
                </a:ext>
              </a:extLst>
            </p:cNvPr>
            <p:cNvPicPr/>
            <p:nvPr/>
          </p:nvPicPr>
          <p:blipFill>
            <a:blip r:embed="rId11" cstate="print"/>
            <a:stretch>
              <a:fillRect/>
            </a:stretch>
          </p:blipFill>
          <p:spPr>
            <a:xfrm>
              <a:off x="2951758" y="4979419"/>
              <a:ext cx="169672" cy="167487"/>
            </a:xfrm>
            <a:prstGeom prst="rect">
              <a:avLst/>
            </a:prstGeom>
          </p:spPr>
        </p:pic>
        <p:pic>
          <p:nvPicPr>
            <p:cNvPr id="30" name="object 411">
              <a:extLst>
                <a:ext uri="{FF2B5EF4-FFF2-40B4-BE49-F238E27FC236}">
                  <a16:creationId xmlns:a16="http://schemas.microsoft.com/office/drawing/2014/main" id="{84420096-CB0F-1F50-E66A-6DF5F5363056}"/>
                </a:ext>
              </a:extLst>
            </p:cNvPr>
            <p:cNvPicPr/>
            <p:nvPr/>
          </p:nvPicPr>
          <p:blipFill>
            <a:blip r:embed="rId12" cstate="print"/>
            <a:stretch>
              <a:fillRect/>
            </a:stretch>
          </p:blipFill>
          <p:spPr>
            <a:xfrm>
              <a:off x="3054502" y="5214810"/>
              <a:ext cx="442874" cy="47485"/>
            </a:xfrm>
            <a:prstGeom prst="rect">
              <a:avLst/>
            </a:prstGeom>
          </p:spPr>
        </p:pic>
        <p:sp>
          <p:nvSpPr>
            <p:cNvPr id="31" name="object 412">
              <a:extLst>
                <a:ext uri="{FF2B5EF4-FFF2-40B4-BE49-F238E27FC236}">
                  <a16:creationId xmlns:a16="http://schemas.microsoft.com/office/drawing/2014/main" id="{717A8764-58F2-046E-F777-9D02391BA353}"/>
                </a:ext>
              </a:extLst>
            </p:cNvPr>
            <p:cNvSpPr/>
            <p:nvPr/>
          </p:nvSpPr>
          <p:spPr>
            <a:xfrm>
              <a:off x="3054502" y="5214823"/>
              <a:ext cx="443230" cy="47625"/>
            </a:xfrm>
            <a:custGeom>
              <a:avLst/>
              <a:gdLst/>
              <a:ahLst/>
              <a:cxnLst/>
              <a:rect l="l" t="t" r="r" b="b"/>
              <a:pathLst>
                <a:path w="443229" h="47625">
                  <a:moveTo>
                    <a:pt x="442887" y="47485"/>
                  </a:moveTo>
                  <a:lnTo>
                    <a:pt x="0" y="47485"/>
                  </a:lnTo>
                  <a:lnTo>
                    <a:pt x="0" y="0"/>
                  </a:lnTo>
                  <a:lnTo>
                    <a:pt x="442887" y="0"/>
                  </a:lnTo>
                  <a:lnTo>
                    <a:pt x="442887" y="47485"/>
                  </a:lnTo>
                  <a:close/>
                </a:path>
              </a:pathLst>
            </a:custGeom>
            <a:ln w="7886">
              <a:solidFill>
                <a:srgbClr val="004876"/>
              </a:solidFill>
            </a:ln>
          </p:spPr>
          <p:txBody>
            <a:bodyPr wrap="square" lIns="0" tIns="0" rIns="0" bIns="0" rtlCol="0"/>
            <a:lstStyle/>
            <a:p>
              <a:endParaRPr/>
            </a:p>
          </p:txBody>
        </p:sp>
        <p:sp>
          <p:nvSpPr>
            <p:cNvPr id="32" name="object 413">
              <a:extLst>
                <a:ext uri="{FF2B5EF4-FFF2-40B4-BE49-F238E27FC236}">
                  <a16:creationId xmlns:a16="http://schemas.microsoft.com/office/drawing/2014/main" id="{B3F96591-32A3-C10E-B6F4-673A28710FFA}"/>
                </a:ext>
              </a:extLst>
            </p:cNvPr>
            <p:cNvSpPr/>
            <p:nvPr/>
          </p:nvSpPr>
          <p:spPr>
            <a:xfrm>
              <a:off x="3699993" y="5608886"/>
              <a:ext cx="41910" cy="41910"/>
            </a:xfrm>
            <a:custGeom>
              <a:avLst/>
              <a:gdLst/>
              <a:ahLst/>
              <a:cxnLst/>
              <a:rect l="l" t="t" r="r" b="b"/>
              <a:pathLst>
                <a:path w="41910" h="41910">
                  <a:moveTo>
                    <a:pt x="20688" y="0"/>
                  </a:moveTo>
                  <a:lnTo>
                    <a:pt x="12733" y="1717"/>
                  </a:lnTo>
                  <a:lnTo>
                    <a:pt x="6172" y="6218"/>
                  </a:lnTo>
                  <a:lnTo>
                    <a:pt x="1696" y="12806"/>
                  </a:lnTo>
                  <a:lnTo>
                    <a:pt x="0" y="20789"/>
                  </a:lnTo>
                  <a:lnTo>
                    <a:pt x="1599" y="28987"/>
                  </a:lnTo>
                  <a:lnTo>
                    <a:pt x="6130" y="35661"/>
                  </a:lnTo>
                  <a:lnTo>
                    <a:pt x="12905" y="40135"/>
                  </a:lnTo>
                  <a:lnTo>
                    <a:pt x="21234" y="41732"/>
                  </a:lnTo>
                  <a:lnTo>
                    <a:pt x="29261" y="40080"/>
                  </a:lnTo>
                  <a:lnTo>
                    <a:pt x="35804" y="35669"/>
                  </a:lnTo>
                  <a:lnTo>
                    <a:pt x="40218" y="29146"/>
                  </a:lnTo>
                  <a:lnTo>
                    <a:pt x="41859" y="21158"/>
                  </a:lnTo>
                  <a:lnTo>
                    <a:pt x="40197" y="12921"/>
                  </a:lnTo>
                  <a:lnTo>
                    <a:pt x="35626" y="6164"/>
                  </a:lnTo>
                  <a:lnTo>
                    <a:pt x="28879" y="1614"/>
                  </a:lnTo>
                  <a:lnTo>
                    <a:pt x="20688" y="0"/>
                  </a:lnTo>
                  <a:close/>
                </a:path>
              </a:pathLst>
            </a:custGeom>
            <a:solidFill>
              <a:srgbClr val="074872"/>
            </a:solidFill>
          </p:spPr>
          <p:txBody>
            <a:bodyPr wrap="square" lIns="0" tIns="0" rIns="0" bIns="0" rtlCol="0"/>
            <a:lstStyle/>
            <a:p>
              <a:endParaRPr/>
            </a:p>
          </p:txBody>
        </p:sp>
        <p:sp>
          <p:nvSpPr>
            <p:cNvPr id="33" name="object 414">
              <a:extLst>
                <a:ext uri="{FF2B5EF4-FFF2-40B4-BE49-F238E27FC236}">
                  <a16:creationId xmlns:a16="http://schemas.microsoft.com/office/drawing/2014/main" id="{48643012-74CD-98D0-AB0C-A383203A7BA4}"/>
                </a:ext>
              </a:extLst>
            </p:cNvPr>
            <p:cNvSpPr/>
            <p:nvPr/>
          </p:nvSpPr>
          <p:spPr>
            <a:xfrm>
              <a:off x="3713133" y="5621643"/>
              <a:ext cx="15875" cy="20320"/>
            </a:xfrm>
            <a:custGeom>
              <a:avLst/>
              <a:gdLst/>
              <a:ahLst/>
              <a:cxnLst/>
              <a:rect l="l" t="t" r="r" b="b"/>
              <a:pathLst>
                <a:path w="15875" h="20320">
                  <a:moveTo>
                    <a:pt x="8153" y="0"/>
                  </a:moveTo>
                  <a:lnTo>
                    <a:pt x="5410" y="2616"/>
                  </a:lnTo>
                  <a:lnTo>
                    <a:pt x="901" y="4991"/>
                  </a:lnTo>
                  <a:lnTo>
                    <a:pt x="0" y="10744"/>
                  </a:lnTo>
                  <a:lnTo>
                    <a:pt x="3860" y="14198"/>
                  </a:lnTo>
                  <a:lnTo>
                    <a:pt x="7416" y="19837"/>
                  </a:lnTo>
                  <a:lnTo>
                    <a:pt x="11391" y="14503"/>
                  </a:lnTo>
                  <a:lnTo>
                    <a:pt x="15557" y="11353"/>
                  </a:lnTo>
                  <a:lnTo>
                    <a:pt x="15049" y="5537"/>
                  </a:lnTo>
                  <a:lnTo>
                    <a:pt x="10718" y="2844"/>
                  </a:lnTo>
                  <a:lnTo>
                    <a:pt x="8153" y="0"/>
                  </a:lnTo>
                  <a:close/>
                </a:path>
              </a:pathLst>
            </a:custGeom>
            <a:solidFill>
              <a:srgbClr val="1D1D1B"/>
            </a:solidFill>
          </p:spPr>
          <p:txBody>
            <a:bodyPr wrap="square" lIns="0" tIns="0" rIns="0" bIns="0" rtlCol="0"/>
            <a:lstStyle/>
            <a:p>
              <a:endParaRPr/>
            </a:p>
          </p:txBody>
        </p:sp>
        <p:sp>
          <p:nvSpPr>
            <p:cNvPr id="34" name="object 415">
              <a:extLst>
                <a:ext uri="{FF2B5EF4-FFF2-40B4-BE49-F238E27FC236}">
                  <a16:creationId xmlns:a16="http://schemas.microsoft.com/office/drawing/2014/main" id="{7A2AAA15-8CE3-D219-13BB-83E34830B80B}"/>
                </a:ext>
              </a:extLst>
            </p:cNvPr>
            <p:cNvSpPr/>
            <p:nvPr/>
          </p:nvSpPr>
          <p:spPr>
            <a:xfrm>
              <a:off x="3023599" y="5640013"/>
              <a:ext cx="45720" cy="39370"/>
            </a:xfrm>
            <a:custGeom>
              <a:avLst/>
              <a:gdLst/>
              <a:ahLst/>
              <a:cxnLst/>
              <a:rect l="l" t="t" r="r" b="b"/>
              <a:pathLst>
                <a:path w="45719" h="39370">
                  <a:moveTo>
                    <a:pt x="39128" y="0"/>
                  </a:moveTo>
                  <a:lnTo>
                    <a:pt x="25247" y="625"/>
                  </a:lnTo>
                  <a:lnTo>
                    <a:pt x="12673" y="7546"/>
                  </a:lnTo>
                  <a:lnTo>
                    <a:pt x="3543" y="19159"/>
                  </a:lnTo>
                  <a:lnTo>
                    <a:pt x="0" y="33858"/>
                  </a:lnTo>
                  <a:lnTo>
                    <a:pt x="965" y="34861"/>
                  </a:lnTo>
                  <a:lnTo>
                    <a:pt x="3162" y="38938"/>
                  </a:lnTo>
                  <a:lnTo>
                    <a:pt x="7658" y="38569"/>
                  </a:lnTo>
                  <a:lnTo>
                    <a:pt x="11785" y="35623"/>
                  </a:lnTo>
                  <a:lnTo>
                    <a:pt x="12280" y="33223"/>
                  </a:lnTo>
                  <a:lnTo>
                    <a:pt x="15535" y="23621"/>
                  </a:lnTo>
                  <a:lnTo>
                    <a:pt x="20916" y="16897"/>
                  </a:lnTo>
                  <a:lnTo>
                    <a:pt x="28593" y="13049"/>
                  </a:lnTo>
                  <a:lnTo>
                    <a:pt x="38735" y="12077"/>
                  </a:lnTo>
                  <a:lnTo>
                    <a:pt x="40982" y="12179"/>
                  </a:lnTo>
                  <a:lnTo>
                    <a:pt x="43357" y="8737"/>
                  </a:lnTo>
                  <a:lnTo>
                    <a:pt x="45694" y="6934"/>
                  </a:lnTo>
                  <a:lnTo>
                    <a:pt x="43522" y="4533"/>
                  </a:lnTo>
                  <a:lnTo>
                    <a:pt x="41719" y="584"/>
                  </a:lnTo>
                  <a:lnTo>
                    <a:pt x="39128" y="0"/>
                  </a:lnTo>
                  <a:close/>
                </a:path>
              </a:pathLst>
            </a:custGeom>
            <a:solidFill>
              <a:srgbClr val="074872"/>
            </a:solidFill>
          </p:spPr>
          <p:txBody>
            <a:bodyPr wrap="square" lIns="0" tIns="0" rIns="0" bIns="0" rtlCol="0"/>
            <a:lstStyle/>
            <a:p>
              <a:endParaRPr/>
            </a:p>
          </p:txBody>
        </p:sp>
        <p:sp>
          <p:nvSpPr>
            <p:cNvPr id="35" name="object 416">
              <a:extLst>
                <a:ext uri="{FF2B5EF4-FFF2-40B4-BE49-F238E27FC236}">
                  <a16:creationId xmlns:a16="http://schemas.microsoft.com/office/drawing/2014/main" id="{001BB3A4-4BBA-953B-5D63-F15F250753A1}"/>
                </a:ext>
              </a:extLst>
            </p:cNvPr>
            <p:cNvSpPr/>
            <p:nvPr/>
          </p:nvSpPr>
          <p:spPr>
            <a:xfrm>
              <a:off x="3713133" y="5621643"/>
              <a:ext cx="15875" cy="20320"/>
            </a:xfrm>
            <a:custGeom>
              <a:avLst/>
              <a:gdLst/>
              <a:ahLst/>
              <a:cxnLst/>
              <a:rect l="l" t="t" r="r" b="b"/>
              <a:pathLst>
                <a:path w="15875" h="20320">
                  <a:moveTo>
                    <a:pt x="8153" y="0"/>
                  </a:moveTo>
                  <a:lnTo>
                    <a:pt x="5410" y="2616"/>
                  </a:lnTo>
                  <a:lnTo>
                    <a:pt x="901" y="4991"/>
                  </a:lnTo>
                  <a:lnTo>
                    <a:pt x="0" y="10744"/>
                  </a:lnTo>
                  <a:lnTo>
                    <a:pt x="3860" y="14198"/>
                  </a:lnTo>
                  <a:lnTo>
                    <a:pt x="7416" y="19837"/>
                  </a:lnTo>
                  <a:lnTo>
                    <a:pt x="11391" y="14503"/>
                  </a:lnTo>
                  <a:lnTo>
                    <a:pt x="15557" y="11353"/>
                  </a:lnTo>
                  <a:lnTo>
                    <a:pt x="15049" y="5537"/>
                  </a:lnTo>
                  <a:lnTo>
                    <a:pt x="10718" y="2844"/>
                  </a:lnTo>
                  <a:lnTo>
                    <a:pt x="8153" y="0"/>
                  </a:lnTo>
                  <a:close/>
                </a:path>
              </a:pathLst>
            </a:custGeom>
            <a:solidFill>
              <a:srgbClr val="FFFFFF"/>
            </a:solidFill>
          </p:spPr>
          <p:txBody>
            <a:bodyPr wrap="square" lIns="0" tIns="0" rIns="0" bIns="0" rtlCol="0"/>
            <a:lstStyle/>
            <a:p>
              <a:endParaRPr/>
            </a:p>
          </p:txBody>
        </p:sp>
      </p:grpSp>
      <p:grpSp>
        <p:nvGrpSpPr>
          <p:cNvPr id="36" name="object 595">
            <a:extLst>
              <a:ext uri="{FF2B5EF4-FFF2-40B4-BE49-F238E27FC236}">
                <a16:creationId xmlns:a16="http://schemas.microsoft.com/office/drawing/2014/main" id="{08E5A9F1-E0FE-2CD7-68BB-C98CDEB0100A}"/>
              </a:ext>
            </a:extLst>
          </p:cNvPr>
          <p:cNvGrpSpPr/>
          <p:nvPr/>
        </p:nvGrpSpPr>
        <p:grpSpPr>
          <a:xfrm>
            <a:off x="10348880" y="3487500"/>
            <a:ext cx="635710" cy="539432"/>
            <a:chOff x="592908" y="7980646"/>
            <a:chExt cx="876300" cy="743585"/>
          </a:xfrm>
        </p:grpSpPr>
        <p:sp>
          <p:nvSpPr>
            <p:cNvPr id="37" name="object 596">
              <a:extLst>
                <a:ext uri="{FF2B5EF4-FFF2-40B4-BE49-F238E27FC236}">
                  <a16:creationId xmlns:a16="http://schemas.microsoft.com/office/drawing/2014/main" id="{14060411-0D9C-AFC7-C2CC-C4EE68A0A13B}"/>
                </a:ext>
              </a:extLst>
            </p:cNvPr>
            <p:cNvSpPr/>
            <p:nvPr/>
          </p:nvSpPr>
          <p:spPr>
            <a:xfrm>
              <a:off x="592908" y="7980646"/>
              <a:ext cx="876300" cy="743585"/>
            </a:xfrm>
            <a:custGeom>
              <a:avLst/>
              <a:gdLst/>
              <a:ahLst/>
              <a:cxnLst/>
              <a:rect l="l" t="t" r="r" b="b"/>
              <a:pathLst>
                <a:path w="876300" h="743584">
                  <a:moveTo>
                    <a:pt x="862864" y="743280"/>
                  </a:moveTo>
                  <a:lnTo>
                    <a:pt x="858519" y="743280"/>
                  </a:lnTo>
                  <a:lnTo>
                    <a:pt x="861009" y="743445"/>
                  </a:lnTo>
                  <a:lnTo>
                    <a:pt x="862864" y="743280"/>
                  </a:lnTo>
                  <a:close/>
                </a:path>
                <a:path w="876300" h="743584">
                  <a:moveTo>
                    <a:pt x="33502" y="716726"/>
                  </a:moveTo>
                  <a:lnTo>
                    <a:pt x="14604" y="716813"/>
                  </a:lnTo>
                  <a:lnTo>
                    <a:pt x="6476" y="716991"/>
                  </a:lnTo>
                  <a:lnTo>
                    <a:pt x="444" y="722579"/>
                  </a:lnTo>
                  <a:lnTo>
                    <a:pt x="0" y="737019"/>
                  </a:lnTo>
                  <a:lnTo>
                    <a:pt x="6197" y="742937"/>
                  </a:lnTo>
                  <a:lnTo>
                    <a:pt x="14668" y="743280"/>
                  </a:lnTo>
                  <a:lnTo>
                    <a:pt x="16357" y="743331"/>
                  </a:lnTo>
                  <a:lnTo>
                    <a:pt x="18110" y="743280"/>
                  </a:lnTo>
                  <a:lnTo>
                    <a:pt x="862864" y="743280"/>
                  </a:lnTo>
                  <a:lnTo>
                    <a:pt x="876236" y="723760"/>
                  </a:lnTo>
                  <a:lnTo>
                    <a:pt x="870712" y="717727"/>
                  </a:lnTo>
                  <a:lnTo>
                    <a:pt x="863650" y="716927"/>
                  </a:lnTo>
                  <a:lnTo>
                    <a:pt x="862330" y="716762"/>
                  </a:lnTo>
                  <a:lnTo>
                    <a:pt x="53200" y="716762"/>
                  </a:lnTo>
                  <a:lnTo>
                    <a:pt x="33502" y="716726"/>
                  </a:lnTo>
                  <a:close/>
                </a:path>
                <a:path w="876300" h="743584">
                  <a:moveTo>
                    <a:pt x="61264" y="263804"/>
                  </a:moveTo>
                  <a:lnTo>
                    <a:pt x="56870" y="270230"/>
                  </a:lnTo>
                  <a:lnTo>
                    <a:pt x="54444" y="273735"/>
                  </a:lnTo>
                  <a:lnTo>
                    <a:pt x="53365" y="278815"/>
                  </a:lnTo>
                  <a:lnTo>
                    <a:pt x="53322" y="324643"/>
                  </a:lnTo>
                  <a:lnTo>
                    <a:pt x="53200" y="716762"/>
                  </a:lnTo>
                  <a:lnTo>
                    <a:pt x="822693" y="716762"/>
                  </a:lnTo>
                  <a:lnTo>
                    <a:pt x="822528" y="716254"/>
                  </a:lnTo>
                  <a:lnTo>
                    <a:pt x="611898" y="716254"/>
                  </a:lnTo>
                  <a:lnTo>
                    <a:pt x="80060" y="716140"/>
                  </a:lnTo>
                  <a:lnTo>
                    <a:pt x="80060" y="305219"/>
                  </a:lnTo>
                  <a:lnTo>
                    <a:pt x="126384" y="305219"/>
                  </a:lnTo>
                  <a:lnTo>
                    <a:pt x="68491" y="263918"/>
                  </a:lnTo>
                  <a:lnTo>
                    <a:pt x="61264" y="263804"/>
                  </a:lnTo>
                  <a:close/>
                </a:path>
                <a:path w="876300" h="743584">
                  <a:moveTo>
                    <a:pt x="861009" y="716597"/>
                  </a:moveTo>
                  <a:lnTo>
                    <a:pt x="858291" y="716762"/>
                  </a:lnTo>
                  <a:lnTo>
                    <a:pt x="862330" y="716762"/>
                  </a:lnTo>
                  <a:lnTo>
                    <a:pt x="861009" y="716597"/>
                  </a:lnTo>
                  <a:close/>
                </a:path>
                <a:path w="876300" h="743584">
                  <a:moveTo>
                    <a:pt x="771052" y="27114"/>
                  </a:moveTo>
                  <a:lnTo>
                    <a:pt x="744550" y="27114"/>
                  </a:lnTo>
                  <a:lnTo>
                    <a:pt x="795324" y="716254"/>
                  </a:lnTo>
                  <a:lnTo>
                    <a:pt x="822528" y="716254"/>
                  </a:lnTo>
                  <a:lnTo>
                    <a:pt x="822236" y="715352"/>
                  </a:lnTo>
                  <a:lnTo>
                    <a:pt x="821905" y="714730"/>
                  </a:lnTo>
                  <a:lnTo>
                    <a:pt x="814401" y="614045"/>
                  </a:lnTo>
                  <a:lnTo>
                    <a:pt x="807008" y="514096"/>
                  </a:lnTo>
                  <a:lnTo>
                    <a:pt x="794766" y="345046"/>
                  </a:lnTo>
                  <a:lnTo>
                    <a:pt x="791597" y="302602"/>
                  </a:lnTo>
                  <a:lnTo>
                    <a:pt x="781951" y="175272"/>
                  </a:lnTo>
                  <a:lnTo>
                    <a:pt x="778976" y="135066"/>
                  </a:lnTo>
                  <a:lnTo>
                    <a:pt x="773084" y="54600"/>
                  </a:lnTo>
                  <a:lnTo>
                    <a:pt x="771052" y="27114"/>
                  </a:lnTo>
                  <a:close/>
                </a:path>
                <a:path w="876300" h="743584">
                  <a:moveTo>
                    <a:pt x="497370" y="304711"/>
                  </a:moveTo>
                  <a:lnTo>
                    <a:pt x="451434" y="304711"/>
                  </a:lnTo>
                  <a:lnTo>
                    <a:pt x="458891" y="309956"/>
                  </a:lnTo>
                  <a:lnTo>
                    <a:pt x="530113" y="360813"/>
                  </a:lnTo>
                  <a:lnTo>
                    <a:pt x="563431" y="384581"/>
                  </a:lnTo>
                  <a:lnTo>
                    <a:pt x="601624" y="411746"/>
                  </a:lnTo>
                  <a:lnTo>
                    <a:pt x="606031" y="414782"/>
                  </a:lnTo>
                  <a:lnTo>
                    <a:pt x="607275" y="417728"/>
                  </a:lnTo>
                  <a:lnTo>
                    <a:pt x="606783" y="424419"/>
                  </a:lnTo>
                  <a:lnTo>
                    <a:pt x="604415" y="455087"/>
                  </a:lnTo>
                  <a:lnTo>
                    <a:pt x="602060" y="487038"/>
                  </a:lnTo>
                  <a:lnTo>
                    <a:pt x="597458" y="550938"/>
                  </a:lnTo>
                  <a:lnTo>
                    <a:pt x="585266" y="716140"/>
                  </a:lnTo>
                  <a:lnTo>
                    <a:pt x="611907" y="716140"/>
                  </a:lnTo>
                  <a:lnTo>
                    <a:pt x="636386" y="384314"/>
                  </a:lnTo>
                  <a:lnTo>
                    <a:pt x="609409" y="384314"/>
                  </a:lnTo>
                  <a:lnTo>
                    <a:pt x="606374" y="382282"/>
                  </a:lnTo>
                  <a:lnTo>
                    <a:pt x="604342" y="381050"/>
                  </a:lnTo>
                  <a:lnTo>
                    <a:pt x="602424" y="379641"/>
                  </a:lnTo>
                  <a:lnTo>
                    <a:pt x="532095" y="329506"/>
                  </a:lnTo>
                  <a:lnTo>
                    <a:pt x="497370" y="304711"/>
                  </a:lnTo>
                  <a:close/>
                </a:path>
                <a:path w="876300" h="743584">
                  <a:moveTo>
                    <a:pt x="126384" y="305219"/>
                  </a:moveTo>
                  <a:lnTo>
                    <a:pt x="80060" y="305219"/>
                  </a:lnTo>
                  <a:lnTo>
                    <a:pt x="82880" y="307022"/>
                  </a:lnTo>
                  <a:lnTo>
                    <a:pt x="85077" y="308368"/>
                  </a:lnTo>
                  <a:lnTo>
                    <a:pt x="87172" y="309956"/>
                  </a:lnTo>
                  <a:lnTo>
                    <a:pt x="114663" y="329539"/>
                  </a:lnTo>
                  <a:lnTo>
                    <a:pt x="241934" y="420370"/>
                  </a:lnTo>
                  <a:lnTo>
                    <a:pt x="248775" y="423855"/>
                  </a:lnTo>
                  <a:lnTo>
                    <a:pt x="265574" y="385622"/>
                  </a:lnTo>
                  <a:lnTo>
                    <a:pt x="239052" y="385622"/>
                  </a:lnTo>
                  <a:lnTo>
                    <a:pt x="204278" y="360789"/>
                  </a:lnTo>
                  <a:lnTo>
                    <a:pt x="160354" y="329506"/>
                  </a:lnTo>
                  <a:lnTo>
                    <a:pt x="126384" y="305219"/>
                  </a:lnTo>
                  <a:close/>
                </a:path>
                <a:path w="876300" h="743584">
                  <a:moveTo>
                    <a:pt x="311942" y="304990"/>
                  </a:moveTo>
                  <a:lnTo>
                    <a:pt x="265582" y="304990"/>
                  </a:lnTo>
                  <a:lnTo>
                    <a:pt x="268681" y="307022"/>
                  </a:lnTo>
                  <a:lnTo>
                    <a:pt x="270941" y="308368"/>
                  </a:lnTo>
                  <a:lnTo>
                    <a:pt x="273113" y="309956"/>
                  </a:lnTo>
                  <a:lnTo>
                    <a:pt x="377643" y="384581"/>
                  </a:lnTo>
                  <a:lnTo>
                    <a:pt x="427786" y="420319"/>
                  </a:lnTo>
                  <a:lnTo>
                    <a:pt x="434594" y="423833"/>
                  </a:lnTo>
                  <a:lnTo>
                    <a:pt x="440810" y="424413"/>
                  </a:lnTo>
                  <a:lnTo>
                    <a:pt x="446074" y="422085"/>
                  </a:lnTo>
                  <a:lnTo>
                    <a:pt x="450024" y="416877"/>
                  </a:lnTo>
                  <a:lnTo>
                    <a:pt x="451205" y="414388"/>
                  </a:lnTo>
                  <a:lnTo>
                    <a:pt x="451344" y="411746"/>
                  </a:lnTo>
                  <a:lnTo>
                    <a:pt x="451427" y="385051"/>
                  </a:lnTo>
                  <a:lnTo>
                    <a:pt x="424459" y="385051"/>
                  </a:lnTo>
                  <a:lnTo>
                    <a:pt x="421474" y="383019"/>
                  </a:lnTo>
                  <a:lnTo>
                    <a:pt x="419277" y="381558"/>
                  </a:lnTo>
                  <a:lnTo>
                    <a:pt x="417067" y="380034"/>
                  </a:lnTo>
                  <a:lnTo>
                    <a:pt x="311942" y="304990"/>
                  </a:lnTo>
                  <a:close/>
                </a:path>
                <a:path w="876300" h="743584">
                  <a:moveTo>
                    <a:pt x="252488" y="263804"/>
                  </a:moveTo>
                  <a:lnTo>
                    <a:pt x="246621" y="266966"/>
                  </a:lnTo>
                  <a:lnTo>
                    <a:pt x="240690" y="270116"/>
                  </a:lnTo>
                  <a:lnTo>
                    <a:pt x="238959" y="275082"/>
                  </a:lnTo>
                  <a:lnTo>
                    <a:pt x="239052" y="385622"/>
                  </a:lnTo>
                  <a:lnTo>
                    <a:pt x="265574" y="385622"/>
                  </a:lnTo>
                  <a:lnTo>
                    <a:pt x="265582" y="304990"/>
                  </a:lnTo>
                  <a:lnTo>
                    <a:pt x="311942" y="304990"/>
                  </a:lnTo>
                  <a:lnTo>
                    <a:pt x="262305" y="269557"/>
                  </a:lnTo>
                  <a:lnTo>
                    <a:pt x="257454" y="266052"/>
                  </a:lnTo>
                  <a:lnTo>
                    <a:pt x="252488" y="263804"/>
                  </a:lnTo>
                  <a:close/>
                </a:path>
                <a:path w="876300" h="743584">
                  <a:moveTo>
                    <a:pt x="438403" y="263804"/>
                  </a:moveTo>
                  <a:lnTo>
                    <a:pt x="432405" y="266966"/>
                  </a:lnTo>
                  <a:lnTo>
                    <a:pt x="426605" y="270065"/>
                  </a:lnTo>
                  <a:lnTo>
                    <a:pt x="424802" y="275082"/>
                  </a:lnTo>
                  <a:lnTo>
                    <a:pt x="424853" y="379641"/>
                  </a:lnTo>
                  <a:lnTo>
                    <a:pt x="424679" y="381558"/>
                  </a:lnTo>
                  <a:lnTo>
                    <a:pt x="424459" y="385051"/>
                  </a:lnTo>
                  <a:lnTo>
                    <a:pt x="451427" y="385051"/>
                  </a:lnTo>
                  <a:lnTo>
                    <a:pt x="451434" y="304711"/>
                  </a:lnTo>
                  <a:lnTo>
                    <a:pt x="497370" y="304711"/>
                  </a:lnTo>
                  <a:lnTo>
                    <a:pt x="448150" y="269557"/>
                  </a:lnTo>
                  <a:lnTo>
                    <a:pt x="443369" y="266115"/>
                  </a:lnTo>
                  <a:lnTo>
                    <a:pt x="438403" y="263804"/>
                  </a:lnTo>
                  <a:close/>
                </a:path>
                <a:path w="876300" h="743584">
                  <a:moveTo>
                    <a:pt x="703473" y="0"/>
                  </a:moveTo>
                  <a:lnTo>
                    <a:pt x="642988" y="139"/>
                  </a:lnTo>
                  <a:lnTo>
                    <a:pt x="636054" y="30378"/>
                  </a:lnTo>
                  <a:lnTo>
                    <a:pt x="635431" y="38227"/>
                  </a:lnTo>
                  <a:lnTo>
                    <a:pt x="629057" y="122002"/>
                  </a:lnTo>
                  <a:lnTo>
                    <a:pt x="622731" y="205740"/>
                  </a:lnTo>
                  <a:lnTo>
                    <a:pt x="611725" y="357195"/>
                  </a:lnTo>
                  <a:lnTo>
                    <a:pt x="611249" y="363183"/>
                  </a:lnTo>
                  <a:lnTo>
                    <a:pt x="609409" y="384314"/>
                  </a:lnTo>
                  <a:lnTo>
                    <a:pt x="636386" y="384314"/>
                  </a:lnTo>
                  <a:lnTo>
                    <a:pt x="662736" y="27114"/>
                  </a:lnTo>
                  <a:lnTo>
                    <a:pt x="771052" y="27114"/>
                  </a:lnTo>
                  <a:lnTo>
                    <a:pt x="769429" y="5156"/>
                  </a:lnTo>
                  <a:lnTo>
                    <a:pt x="764120" y="139"/>
                  </a:lnTo>
                  <a:lnTo>
                    <a:pt x="703473" y="0"/>
                  </a:lnTo>
                  <a:close/>
                </a:path>
              </a:pathLst>
            </a:custGeom>
            <a:solidFill>
              <a:srgbClr val="004876"/>
            </a:solidFill>
          </p:spPr>
          <p:txBody>
            <a:bodyPr wrap="square" lIns="0" tIns="0" rIns="0" bIns="0" rtlCol="0"/>
            <a:lstStyle/>
            <a:p>
              <a:endParaRPr/>
            </a:p>
          </p:txBody>
        </p:sp>
        <p:pic>
          <p:nvPicPr>
            <p:cNvPr id="38" name="object 597">
              <a:extLst>
                <a:ext uri="{FF2B5EF4-FFF2-40B4-BE49-F238E27FC236}">
                  <a16:creationId xmlns:a16="http://schemas.microsoft.com/office/drawing/2014/main" id="{CBC677B3-C7C1-321F-351B-C51C39916986}"/>
                </a:ext>
              </a:extLst>
            </p:cNvPr>
            <p:cNvPicPr/>
            <p:nvPr/>
          </p:nvPicPr>
          <p:blipFill>
            <a:blip r:embed="rId13" cstate="print"/>
            <a:stretch>
              <a:fillRect/>
            </a:stretch>
          </p:blipFill>
          <p:spPr>
            <a:xfrm>
              <a:off x="672998" y="8007743"/>
              <a:ext cx="715264" cy="689152"/>
            </a:xfrm>
            <a:prstGeom prst="rect">
              <a:avLst/>
            </a:prstGeom>
          </p:spPr>
        </p:pic>
        <p:sp>
          <p:nvSpPr>
            <p:cNvPr id="39" name="object 598">
              <a:extLst>
                <a:ext uri="{FF2B5EF4-FFF2-40B4-BE49-F238E27FC236}">
                  <a16:creationId xmlns:a16="http://schemas.microsoft.com/office/drawing/2014/main" id="{88DDD52C-9D69-0A27-48CD-0AD48B280EDF}"/>
                </a:ext>
              </a:extLst>
            </p:cNvPr>
            <p:cNvSpPr/>
            <p:nvPr/>
          </p:nvSpPr>
          <p:spPr>
            <a:xfrm>
              <a:off x="765568" y="8484882"/>
              <a:ext cx="332105" cy="133350"/>
            </a:xfrm>
            <a:custGeom>
              <a:avLst/>
              <a:gdLst/>
              <a:ahLst/>
              <a:cxnLst/>
              <a:rect l="l" t="t" r="r" b="b"/>
              <a:pathLst>
                <a:path w="332105" h="133350">
                  <a:moveTo>
                    <a:pt x="66382" y="20307"/>
                  </a:moveTo>
                  <a:lnTo>
                    <a:pt x="66217" y="6362"/>
                  </a:lnTo>
                  <a:lnTo>
                    <a:pt x="60172" y="381"/>
                  </a:lnTo>
                  <a:lnTo>
                    <a:pt x="52222" y="215"/>
                  </a:lnTo>
                  <a:lnTo>
                    <a:pt x="33096" y="50"/>
                  </a:lnTo>
                  <a:lnTo>
                    <a:pt x="6007" y="381"/>
                  </a:lnTo>
                  <a:lnTo>
                    <a:pt x="38" y="6477"/>
                  </a:lnTo>
                  <a:lnTo>
                    <a:pt x="139" y="20701"/>
                  </a:lnTo>
                  <a:lnTo>
                    <a:pt x="6184" y="26390"/>
                  </a:lnTo>
                  <a:lnTo>
                    <a:pt x="20345" y="26898"/>
                  </a:lnTo>
                  <a:lnTo>
                    <a:pt x="26441" y="26733"/>
                  </a:lnTo>
                  <a:lnTo>
                    <a:pt x="32588" y="26733"/>
                  </a:lnTo>
                  <a:lnTo>
                    <a:pt x="50977" y="26733"/>
                  </a:lnTo>
                  <a:lnTo>
                    <a:pt x="60350" y="26111"/>
                  </a:lnTo>
                  <a:lnTo>
                    <a:pt x="66382" y="20307"/>
                  </a:lnTo>
                  <a:close/>
                </a:path>
                <a:path w="332105" h="133350">
                  <a:moveTo>
                    <a:pt x="66408" y="126695"/>
                  </a:moveTo>
                  <a:lnTo>
                    <a:pt x="66179" y="112483"/>
                  </a:lnTo>
                  <a:lnTo>
                    <a:pt x="60147" y="106553"/>
                  </a:lnTo>
                  <a:lnTo>
                    <a:pt x="42608" y="106286"/>
                  </a:lnTo>
                  <a:lnTo>
                    <a:pt x="23482" y="106286"/>
                  </a:lnTo>
                  <a:lnTo>
                    <a:pt x="5930" y="106616"/>
                  </a:lnTo>
                  <a:lnTo>
                    <a:pt x="0" y="112699"/>
                  </a:lnTo>
                  <a:lnTo>
                    <a:pt x="165" y="126923"/>
                  </a:lnTo>
                  <a:lnTo>
                    <a:pt x="6210" y="132562"/>
                  </a:lnTo>
                  <a:lnTo>
                    <a:pt x="20370" y="133070"/>
                  </a:lnTo>
                  <a:lnTo>
                    <a:pt x="26517" y="132905"/>
                  </a:lnTo>
                  <a:lnTo>
                    <a:pt x="32613" y="132905"/>
                  </a:lnTo>
                  <a:lnTo>
                    <a:pt x="51739" y="132905"/>
                  </a:lnTo>
                  <a:lnTo>
                    <a:pt x="60147" y="132448"/>
                  </a:lnTo>
                  <a:lnTo>
                    <a:pt x="66408" y="126695"/>
                  </a:lnTo>
                  <a:close/>
                </a:path>
                <a:path w="332105" h="133350">
                  <a:moveTo>
                    <a:pt x="199072" y="112649"/>
                  </a:moveTo>
                  <a:lnTo>
                    <a:pt x="192976" y="106616"/>
                  </a:lnTo>
                  <a:lnTo>
                    <a:pt x="165925" y="106222"/>
                  </a:lnTo>
                  <a:lnTo>
                    <a:pt x="138811" y="106553"/>
                  </a:lnTo>
                  <a:lnTo>
                    <a:pt x="132829" y="112598"/>
                  </a:lnTo>
                  <a:lnTo>
                    <a:pt x="132829" y="126758"/>
                  </a:lnTo>
                  <a:lnTo>
                    <a:pt x="138861" y="132511"/>
                  </a:lnTo>
                  <a:lnTo>
                    <a:pt x="152971" y="133070"/>
                  </a:lnTo>
                  <a:lnTo>
                    <a:pt x="159118" y="132905"/>
                  </a:lnTo>
                  <a:lnTo>
                    <a:pt x="165214" y="132905"/>
                  </a:lnTo>
                  <a:lnTo>
                    <a:pt x="185077" y="132905"/>
                  </a:lnTo>
                  <a:lnTo>
                    <a:pt x="192976" y="132346"/>
                  </a:lnTo>
                  <a:lnTo>
                    <a:pt x="199072" y="126644"/>
                  </a:lnTo>
                  <a:lnTo>
                    <a:pt x="199072" y="112649"/>
                  </a:lnTo>
                  <a:close/>
                </a:path>
                <a:path w="332105" h="133350">
                  <a:moveTo>
                    <a:pt x="199072" y="6540"/>
                  </a:moveTo>
                  <a:lnTo>
                    <a:pt x="193040" y="558"/>
                  </a:lnTo>
                  <a:lnTo>
                    <a:pt x="178765" y="0"/>
                  </a:lnTo>
                  <a:lnTo>
                    <a:pt x="172389" y="165"/>
                  </a:lnTo>
                  <a:lnTo>
                    <a:pt x="166014" y="165"/>
                  </a:lnTo>
                  <a:lnTo>
                    <a:pt x="159639" y="165"/>
                  </a:lnTo>
                  <a:lnTo>
                    <a:pt x="153263" y="0"/>
                  </a:lnTo>
                  <a:lnTo>
                    <a:pt x="138938" y="508"/>
                  </a:lnTo>
                  <a:lnTo>
                    <a:pt x="132892" y="6261"/>
                  </a:lnTo>
                  <a:lnTo>
                    <a:pt x="132778" y="20421"/>
                  </a:lnTo>
                  <a:lnTo>
                    <a:pt x="138760" y="26454"/>
                  </a:lnTo>
                  <a:lnTo>
                    <a:pt x="156311" y="26797"/>
                  </a:lnTo>
                  <a:lnTo>
                    <a:pt x="175412" y="26797"/>
                  </a:lnTo>
                  <a:lnTo>
                    <a:pt x="192989" y="26454"/>
                  </a:lnTo>
                  <a:lnTo>
                    <a:pt x="198970" y="20472"/>
                  </a:lnTo>
                  <a:lnTo>
                    <a:pt x="199072" y="6540"/>
                  </a:lnTo>
                  <a:close/>
                </a:path>
                <a:path w="332105" h="133350">
                  <a:moveTo>
                    <a:pt x="331825" y="20345"/>
                  </a:moveTo>
                  <a:lnTo>
                    <a:pt x="331774" y="6413"/>
                  </a:lnTo>
                  <a:lnTo>
                    <a:pt x="325678" y="381"/>
                  </a:lnTo>
                  <a:lnTo>
                    <a:pt x="317728" y="203"/>
                  </a:lnTo>
                  <a:lnTo>
                    <a:pt x="298589" y="50"/>
                  </a:lnTo>
                  <a:lnTo>
                    <a:pt x="271513" y="381"/>
                  </a:lnTo>
                  <a:lnTo>
                    <a:pt x="265531" y="6477"/>
                  </a:lnTo>
                  <a:lnTo>
                    <a:pt x="265645" y="20637"/>
                  </a:lnTo>
                  <a:lnTo>
                    <a:pt x="271627" y="26327"/>
                  </a:lnTo>
                  <a:lnTo>
                    <a:pt x="285788" y="26898"/>
                  </a:lnTo>
                  <a:lnTo>
                    <a:pt x="298030" y="26670"/>
                  </a:lnTo>
                  <a:lnTo>
                    <a:pt x="304634" y="26670"/>
                  </a:lnTo>
                  <a:lnTo>
                    <a:pt x="311238" y="26898"/>
                  </a:lnTo>
                  <a:lnTo>
                    <a:pt x="325793" y="26327"/>
                  </a:lnTo>
                  <a:lnTo>
                    <a:pt x="331825" y="20345"/>
                  </a:lnTo>
                  <a:close/>
                </a:path>
                <a:path w="332105" h="133350">
                  <a:moveTo>
                    <a:pt x="331889" y="126530"/>
                  </a:moveTo>
                  <a:lnTo>
                    <a:pt x="331774" y="112598"/>
                  </a:lnTo>
                  <a:lnTo>
                    <a:pt x="325678" y="106553"/>
                  </a:lnTo>
                  <a:lnTo>
                    <a:pt x="298589" y="106222"/>
                  </a:lnTo>
                  <a:lnTo>
                    <a:pt x="271513" y="106553"/>
                  </a:lnTo>
                  <a:lnTo>
                    <a:pt x="265531" y="112649"/>
                  </a:lnTo>
                  <a:lnTo>
                    <a:pt x="265645" y="126809"/>
                  </a:lnTo>
                  <a:lnTo>
                    <a:pt x="271627" y="132562"/>
                  </a:lnTo>
                  <a:lnTo>
                    <a:pt x="285788" y="133070"/>
                  </a:lnTo>
                  <a:lnTo>
                    <a:pt x="291884" y="132905"/>
                  </a:lnTo>
                  <a:lnTo>
                    <a:pt x="298030" y="132905"/>
                  </a:lnTo>
                  <a:lnTo>
                    <a:pt x="317893" y="132905"/>
                  </a:lnTo>
                  <a:lnTo>
                    <a:pt x="325793" y="132346"/>
                  </a:lnTo>
                  <a:lnTo>
                    <a:pt x="331889" y="126530"/>
                  </a:lnTo>
                  <a:close/>
                </a:path>
              </a:pathLst>
            </a:custGeom>
            <a:solidFill>
              <a:srgbClr val="004876"/>
            </a:solidFill>
          </p:spPr>
          <p:txBody>
            <a:bodyPr wrap="square" lIns="0" tIns="0" rIns="0" bIns="0" rtlCol="0"/>
            <a:lstStyle/>
            <a:p>
              <a:endParaRPr/>
            </a:p>
          </p:txBody>
        </p:sp>
      </p:grpSp>
      <p:grpSp>
        <p:nvGrpSpPr>
          <p:cNvPr id="42" name="object 47">
            <a:extLst>
              <a:ext uri="{FF2B5EF4-FFF2-40B4-BE49-F238E27FC236}">
                <a16:creationId xmlns:a16="http://schemas.microsoft.com/office/drawing/2014/main" id="{C1791584-DE14-0DDE-1276-8DC80AF0CBD1}"/>
              </a:ext>
            </a:extLst>
          </p:cNvPr>
          <p:cNvGrpSpPr/>
          <p:nvPr/>
        </p:nvGrpSpPr>
        <p:grpSpPr>
          <a:xfrm>
            <a:off x="1042276" y="3507157"/>
            <a:ext cx="621975" cy="627036"/>
            <a:chOff x="1925218" y="646325"/>
            <a:chExt cx="702310" cy="708025"/>
          </a:xfrm>
        </p:grpSpPr>
        <p:sp>
          <p:nvSpPr>
            <p:cNvPr id="43" name="object 48">
              <a:extLst>
                <a:ext uri="{FF2B5EF4-FFF2-40B4-BE49-F238E27FC236}">
                  <a16:creationId xmlns:a16="http://schemas.microsoft.com/office/drawing/2014/main" id="{D7D9774E-EE4E-7F7C-DBB7-88D190707A41}"/>
                </a:ext>
              </a:extLst>
            </p:cNvPr>
            <p:cNvSpPr/>
            <p:nvPr/>
          </p:nvSpPr>
          <p:spPr>
            <a:xfrm>
              <a:off x="1925218" y="646325"/>
              <a:ext cx="702310" cy="708025"/>
            </a:xfrm>
            <a:custGeom>
              <a:avLst/>
              <a:gdLst/>
              <a:ahLst/>
              <a:cxnLst/>
              <a:rect l="l" t="t" r="r" b="b"/>
              <a:pathLst>
                <a:path w="702310" h="708025">
                  <a:moveTo>
                    <a:pt x="659726" y="399367"/>
                  </a:moveTo>
                  <a:lnTo>
                    <a:pt x="49872" y="399367"/>
                  </a:lnTo>
                  <a:lnTo>
                    <a:pt x="49872" y="611863"/>
                  </a:lnTo>
                  <a:lnTo>
                    <a:pt x="48209" y="612371"/>
                  </a:lnTo>
                  <a:lnTo>
                    <a:pt x="47625" y="612740"/>
                  </a:lnTo>
                  <a:lnTo>
                    <a:pt x="25200" y="612857"/>
                  </a:lnTo>
                  <a:lnTo>
                    <a:pt x="3975" y="613248"/>
                  </a:lnTo>
                  <a:lnTo>
                    <a:pt x="38" y="617185"/>
                  </a:lnTo>
                  <a:lnTo>
                    <a:pt x="0" y="688152"/>
                  </a:lnTo>
                  <a:lnTo>
                    <a:pt x="786" y="698141"/>
                  </a:lnTo>
                  <a:lnTo>
                    <a:pt x="3741" y="704167"/>
                  </a:lnTo>
                  <a:lnTo>
                    <a:pt x="9756" y="707126"/>
                  </a:lnTo>
                  <a:lnTo>
                    <a:pt x="19723" y="707913"/>
                  </a:lnTo>
                  <a:lnTo>
                    <a:pt x="697725" y="707913"/>
                  </a:lnTo>
                  <a:lnTo>
                    <a:pt x="701776" y="703824"/>
                  </a:lnTo>
                  <a:lnTo>
                    <a:pt x="701823" y="680773"/>
                  </a:lnTo>
                  <a:lnTo>
                    <a:pt x="27431" y="680773"/>
                  </a:lnTo>
                  <a:lnTo>
                    <a:pt x="27431" y="640743"/>
                  </a:lnTo>
                  <a:lnTo>
                    <a:pt x="701824" y="640743"/>
                  </a:lnTo>
                  <a:lnTo>
                    <a:pt x="701814" y="630939"/>
                  </a:lnTo>
                  <a:lnTo>
                    <a:pt x="700957" y="622367"/>
                  </a:lnTo>
                  <a:lnTo>
                    <a:pt x="698060" y="616899"/>
                  </a:lnTo>
                  <a:lnTo>
                    <a:pt x="692551" y="613954"/>
                  </a:lnTo>
                  <a:lnTo>
                    <a:pt x="683856" y="612955"/>
                  </a:lnTo>
                  <a:lnTo>
                    <a:pt x="659726" y="612955"/>
                  </a:lnTo>
                  <a:lnTo>
                    <a:pt x="659726" y="612422"/>
                  </a:lnTo>
                  <a:lnTo>
                    <a:pt x="368325" y="612422"/>
                  </a:lnTo>
                  <a:lnTo>
                    <a:pt x="271271" y="612409"/>
                  </a:lnTo>
                  <a:lnTo>
                    <a:pt x="77444" y="612371"/>
                  </a:lnTo>
                  <a:lnTo>
                    <a:pt x="77444" y="399913"/>
                  </a:lnTo>
                  <a:lnTo>
                    <a:pt x="174866" y="399913"/>
                  </a:lnTo>
                  <a:lnTo>
                    <a:pt x="659726" y="399900"/>
                  </a:lnTo>
                  <a:lnTo>
                    <a:pt x="659726" y="399367"/>
                  </a:lnTo>
                  <a:close/>
                </a:path>
                <a:path w="702310" h="708025">
                  <a:moveTo>
                    <a:pt x="701824" y="640743"/>
                  </a:moveTo>
                  <a:lnTo>
                    <a:pt x="674700" y="640743"/>
                  </a:lnTo>
                  <a:lnTo>
                    <a:pt x="674700" y="680773"/>
                  </a:lnTo>
                  <a:lnTo>
                    <a:pt x="701823" y="680773"/>
                  </a:lnTo>
                  <a:lnTo>
                    <a:pt x="701824" y="640743"/>
                  </a:lnTo>
                  <a:close/>
                </a:path>
                <a:path w="702310" h="708025">
                  <a:moveTo>
                    <a:pt x="675868" y="612816"/>
                  </a:moveTo>
                  <a:lnTo>
                    <a:pt x="667867" y="612955"/>
                  </a:lnTo>
                  <a:lnTo>
                    <a:pt x="683856" y="612955"/>
                  </a:lnTo>
                  <a:lnTo>
                    <a:pt x="675868" y="612816"/>
                  </a:lnTo>
                  <a:close/>
                </a:path>
                <a:path w="702310" h="708025">
                  <a:moveTo>
                    <a:pt x="465708" y="399951"/>
                  </a:moveTo>
                  <a:lnTo>
                    <a:pt x="437375" y="399951"/>
                  </a:lnTo>
                  <a:lnTo>
                    <a:pt x="437375" y="612422"/>
                  </a:lnTo>
                  <a:lnTo>
                    <a:pt x="659726" y="612422"/>
                  </a:lnTo>
                  <a:lnTo>
                    <a:pt x="562813" y="612371"/>
                  </a:lnTo>
                  <a:lnTo>
                    <a:pt x="465708" y="612333"/>
                  </a:lnTo>
                  <a:lnTo>
                    <a:pt x="465708" y="399951"/>
                  </a:lnTo>
                  <a:close/>
                </a:path>
                <a:path w="702310" h="708025">
                  <a:moveTo>
                    <a:pt x="368325" y="400091"/>
                  </a:moveTo>
                  <a:lnTo>
                    <a:pt x="340613" y="400091"/>
                  </a:lnTo>
                  <a:lnTo>
                    <a:pt x="340613" y="612409"/>
                  </a:lnTo>
                  <a:lnTo>
                    <a:pt x="368325" y="612409"/>
                  </a:lnTo>
                  <a:lnTo>
                    <a:pt x="368325" y="400091"/>
                  </a:lnTo>
                  <a:close/>
                </a:path>
                <a:path w="702310" h="708025">
                  <a:moveTo>
                    <a:pt x="174866" y="399913"/>
                  </a:moveTo>
                  <a:lnTo>
                    <a:pt x="146494" y="399913"/>
                  </a:lnTo>
                  <a:lnTo>
                    <a:pt x="146494" y="612371"/>
                  </a:lnTo>
                  <a:lnTo>
                    <a:pt x="271271" y="612371"/>
                  </a:lnTo>
                  <a:lnTo>
                    <a:pt x="174866" y="612333"/>
                  </a:lnTo>
                  <a:lnTo>
                    <a:pt x="174866" y="399913"/>
                  </a:lnTo>
                  <a:close/>
                </a:path>
                <a:path w="702310" h="708025">
                  <a:moveTo>
                    <a:pt x="659726" y="400230"/>
                  </a:moveTo>
                  <a:lnTo>
                    <a:pt x="631825" y="400230"/>
                  </a:lnTo>
                  <a:lnTo>
                    <a:pt x="631825" y="612371"/>
                  </a:lnTo>
                  <a:lnTo>
                    <a:pt x="659726" y="612371"/>
                  </a:lnTo>
                  <a:lnTo>
                    <a:pt x="659726" y="400230"/>
                  </a:lnTo>
                  <a:close/>
                </a:path>
                <a:path w="702310" h="708025">
                  <a:moveTo>
                    <a:pt x="465708" y="399900"/>
                  </a:moveTo>
                  <a:lnTo>
                    <a:pt x="243585" y="399900"/>
                  </a:lnTo>
                  <a:lnTo>
                    <a:pt x="243585" y="612333"/>
                  </a:lnTo>
                  <a:lnTo>
                    <a:pt x="271271" y="612333"/>
                  </a:lnTo>
                  <a:lnTo>
                    <a:pt x="271271" y="400091"/>
                  </a:lnTo>
                  <a:lnTo>
                    <a:pt x="368325" y="400091"/>
                  </a:lnTo>
                  <a:lnTo>
                    <a:pt x="368325" y="399951"/>
                  </a:lnTo>
                  <a:lnTo>
                    <a:pt x="465708" y="399951"/>
                  </a:lnTo>
                  <a:close/>
                </a:path>
                <a:path w="702310" h="708025">
                  <a:moveTo>
                    <a:pt x="659726" y="399900"/>
                  </a:moveTo>
                  <a:lnTo>
                    <a:pt x="534428" y="399900"/>
                  </a:lnTo>
                  <a:lnTo>
                    <a:pt x="534428" y="612333"/>
                  </a:lnTo>
                  <a:lnTo>
                    <a:pt x="562813" y="612333"/>
                  </a:lnTo>
                  <a:lnTo>
                    <a:pt x="562813" y="400230"/>
                  </a:lnTo>
                  <a:lnTo>
                    <a:pt x="659726" y="400230"/>
                  </a:lnTo>
                  <a:lnTo>
                    <a:pt x="659726" y="399900"/>
                  </a:lnTo>
                  <a:close/>
                </a:path>
                <a:path w="702310" h="708025">
                  <a:moveTo>
                    <a:pt x="679107" y="399367"/>
                  </a:moveTo>
                  <a:lnTo>
                    <a:pt x="667905" y="399367"/>
                  </a:lnTo>
                  <a:lnTo>
                    <a:pt x="675360" y="399405"/>
                  </a:lnTo>
                  <a:lnTo>
                    <a:pt x="679107" y="399367"/>
                  </a:lnTo>
                  <a:close/>
                </a:path>
                <a:path w="702310" h="708025">
                  <a:moveTo>
                    <a:pt x="683094" y="304371"/>
                  </a:moveTo>
                  <a:lnTo>
                    <a:pt x="17767" y="304371"/>
                  </a:lnTo>
                  <a:lnTo>
                    <a:pt x="4051" y="304409"/>
                  </a:lnTo>
                  <a:lnTo>
                    <a:pt x="38" y="308498"/>
                  </a:lnTo>
                  <a:lnTo>
                    <a:pt x="0" y="380507"/>
                  </a:lnTo>
                  <a:lnTo>
                    <a:pt x="821" y="389751"/>
                  </a:lnTo>
                  <a:lnTo>
                    <a:pt x="3770" y="395485"/>
                  </a:lnTo>
                  <a:lnTo>
                    <a:pt x="9574" y="398436"/>
                  </a:lnTo>
                  <a:lnTo>
                    <a:pt x="18961" y="399329"/>
                  </a:lnTo>
                  <a:lnTo>
                    <a:pt x="34269" y="399391"/>
                  </a:lnTo>
                  <a:lnTo>
                    <a:pt x="679107" y="399367"/>
                  </a:lnTo>
                  <a:lnTo>
                    <a:pt x="701823" y="371541"/>
                  </a:lnTo>
                  <a:lnTo>
                    <a:pt x="27101" y="371541"/>
                  </a:lnTo>
                  <a:lnTo>
                    <a:pt x="27101" y="331193"/>
                  </a:lnTo>
                  <a:lnTo>
                    <a:pt x="701822" y="331193"/>
                  </a:lnTo>
                  <a:lnTo>
                    <a:pt x="701729" y="322316"/>
                  </a:lnTo>
                  <a:lnTo>
                    <a:pt x="700997" y="313956"/>
                  </a:lnTo>
                  <a:lnTo>
                    <a:pt x="698074" y="308160"/>
                  </a:lnTo>
                  <a:lnTo>
                    <a:pt x="692342" y="305201"/>
                  </a:lnTo>
                  <a:lnTo>
                    <a:pt x="683094" y="304371"/>
                  </a:lnTo>
                  <a:close/>
                </a:path>
                <a:path w="702310" h="708025">
                  <a:moveTo>
                    <a:pt x="701822" y="331193"/>
                  </a:moveTo>
                  <a:lnTo>
                    <a:pt x="674369" y="331193"/>
                  </a:lnTo>
                  <a:lnTo>
                    <a:pt x="674369" y="371541"/>
                  </a:lnTo>
                  <a:lnTo>
                    <a:pt x="701823" y="371541"/>
                  </a:lnTo>
                  <a:lnTo>
                    <a:pt x="701822" y="331193"/>
                  </a:lnTo>
                  <a:close/>
                </a:path>
                <a:path w="702310" h="708025">
                  <a:moveTo>
                    <a:pt x="421003" y="0"/>
                  </a:moveTo>
                  <a:lnTo>
                    <a:pt x="354393" y="28"/>
                  </a:lnTo>
                  <a:lnTo>
                    <a:pt x="334200" y="152923"/>
                  </a:lnTo>
                  <a:lnTo>
                    <a:pt x="335000" y="156898"/>
                  </a:lnTo>
                  <a:lnTo>
                    <a:pt x="327837" y="158092"/>
                  </a:lnTo>
                  <a:lnTo>
                    <a:pt x="277841" y="172824"/>
                  </a:lnTo>
                  <a:lnTo>
                    <a:pt x="237717" y="198775"/>
                  </a:lnTo>
                  <a:lnTo>
                    <a:pt x="207295" y="235697"/>
                  </a:lnTo>
                  <a:lnTo>
                    <a:pt x="186410" y="283340"/>
                  </a:lnTo>
                  <a:lnTo>
                    <a:pt x="183222" y="297132"/>
                  </a:lnTo>
                  <a:lnTo>
                    <a:pt x="181597" y="304371"/>
                  </a:lnTo>
                  <a:lnTo>
                    <a:pt x="520217" y="304371"/>
                  </a:lnTo>
                  <a:lnTo>
                    <a:pt x="520090" y="303863"/>
                  </a:lnTo>
                  <a:lnTo>
                    <a:pt x="210362" y="303863"/>
                  </a:lnTo>
                  <a:lnTo>
                    <a:pt x="223136" y="261550"/>
                  </a:lnTo>
                  <a:lnTo>
                    <a:pt x="252023" y="222532"/>
                  </a:lnTo>
                  <a:lnTo>
                    <a:pt x="295328" y="193963"/>
                  </a:lnTo>
                  <a:lnTo>
                    <a:pt x="351358" y="182997"/>
                  </a:lnTo>
                  <a:lnTo>
                    <a:pt x="442015" y="182997"/>
                  </a:lnTo>
                  <a:lnTo>
                    <a:pt x="441172" y="182337"/>
                  </a:lnTo>
                  <a:lnTo>
                    <a:pt x="389703" y="160875"/>
                  </a:lnTo>
                  <a:lnTo>
                    <a:pt x="367753" y="157267"/>
                  </a:lnTo>
                  <a:lnTo>
                    <a:pt x="362064" y="154625"/>
                  </a:lnTo>
                  <a:lnTo>
                    <a:pt x="361924" y="152669"/>
                  </a:lnTo>
                  <a:lnTo>
                    <a:pt x="361492" y="144124"/>
                  </a:lnTo>
                  <a:lnTo>
                    <a:pt x="361492" y="117859"/>
                  </a:lnTo>
                  <a:lnTo>
                    <a:pt x="458708" y="117859"/>
                  </a:lnTo>
                  <a:lnTo>
                    <a:pt x="486854" y="117821"/>
                  </a:lnTo>
                  <a:lnTo>
                    <a:pt x="496601" y="116893"/>
                  </a:lnTo>
                  <a:lnTo>
                    <a:pt x="502667" y="113696"/>
                  </a:lnTo>
                  <a:lnTo>
                    <a:pt x="505783" y="107523"/>
                  </a:lnTo>
                  <a:lnTo>
                    <a:pt x="506679" y="97666"/>
                  </a:lnTo>
                  <a:lnTo>
                    <a:pt x="506679" y="89919"/>
                  </a:lnTo>
                  <a:lnTo>
                    <a:pt x="362140" y="89919"/>
                  </a:lnTo>
                  <a:lnTo>
                    <a:pt x="362140" y="26838"/>
                  </a:lnTo>
                  <a:lnTo>
                    <a:pt x="506679" y="26838"/>
                  </a:lnTo>
                  <a:lnTo>
                    <a:pt x="506679" y="18837"/>
                  </a:lnTo>
                  <a:lnTo>
                    <a:pt x="505784" y="9688"/>
                  </a:lnTo>
                  <a:lnTo>
                    <a:pt x="502732" y="3913"/>
                  </a:lnTo>
                  <a:lnTo>
                    <a:pt x="496885" y="897"/>
                  </a:lnTo>
                  <a:lnTo>
                    <a:pt x="487603" y="28"/>
                  </a:lnTo>
                  <a:lnTo>
                    <a:pt x="421003" y="0"/>
                  </a:lnTo>
                  <a:close/>
                </a:path>
                <a:path w="702310" h="708025">
                  <a:moveTo>
                    <a:pt x="442015" y="182997"/>
                  </a:moveTo>
                  <a:lnTo>
                    <a:pt x="351358" y="182997"/>
                  </a:lnTo>
                  <a:lnTo>
                    <a:pt x="407282" y="194317"/>
                  </a:lnTo>
                  <a:lnTo>
                    <a:pt x="450307" y="223037"/>
                  </a:lnTo>
                  <a:lnTo>
                    <a:pt x="478877" y="261953"/>
                  </a:lnTo>
                  <a:lnTo>
                    <a:pt x="491439" y="303863"/>
                  </a:lnTo>
                  <a:lnTo>
                    <a:pt x="520090" y="303863"/>
                  </a:lnTo>
                  <a:lnTo>
                    <a:pt x="519379" y="301005"/>
                  </a:lnTo>
                  <a:lnTo>
                    <a:pt x="518655" y="298580"/>
                  </a:lnTo>
                  <a:lnTo>
                    <a:pt x="518185" y="296154"/>
                  </a:lnTo>
                  <a:lnTo>
                    <a:pt x="508075" y="261498"/>
                  </a:lnTo>
                  <a:lnTo>
                    <a:pt x="491866" y="230973"/>
                  </a:lnTo>
                  <a:lnTo>
                    <a:pt x="469563" y="204584"/>
                  </a:lnTo>
                  <a:lnTo>
                    <a:pt x="442015" y="182997"/>
                  </a:lnTo>
                  <a:close/>
                </a:path>
                <a:path w="702310" h="708025">
                  <a:moveTo>
                    <a:pt x="506679" y="26838"/>
                  </a:moveTo>
                  <a:lnTo>
                    <a:pt x="479361" y="26838"/>
                  </a:lnTo>
                  <a:lnTo>
                    <a:pt x="479361" y="89919"/>
                  </a:lnTo>
                  <a:lnTo>
                    <a:pt x="506679" y="89919"/>
                  </a:lnTo>
                  <a:lnTo>
                    <a:pt x="506679" y="26838"/>
                  </a:lnTo>
                  <a:close/>
                </a:path>
              </a:pathLst>
            </a:custGeom>
            <a:solidFill>
              <a:srgbClr val="004876"/>
            </a:solidFill>
          </p:spPr>
          <p:txBody>
            <a:bodyPr wrap="square" lIns="0" tIns="0" rIns="0" bIns="0" rtlCol="0"/>
            <a:lstStyle/>
            <a:p>
              <a:endParaRPr/>
            </a:p>
          </p:txBody>
        </p:sp>
        <p:pic>
          <p:nvPicPr>
            <p:cNvPr id="44" name="object 49">
              <a:extLst>
                <a:ext uri="{FF2B5EF4-FFF2-40B4-BE49-F238E27FC236}">
                  <a16:creationId xmlns:a16="http://schemas.microsoft.com/office/drawing/2014/main" id="{0ECD1436-F818-90D5-00A8-1CFEB5B330C5}"/>
                </a:ext>
              </a:extLst>
            </p:cNvPr>
            <p:cNvPicPr/>
            <p:nvPr/>
          </p:nvPicPr>
          <p:blipFill>
            <a:blip r:embed="rId14" cstate="print"/>
            <a:stretch>
              <a:fillRect/>
            </a:stretch>
          </p:blipFill>
          <p:spPr>
            <a:xfrm>
              <a:off x="1952320" y="977519"/>
              <a:ext cx="647306" cy="40347"/>
            </a:xfrm>
            <a:prstGeom prst="rect">
              <a:avLst/>
            </a:prstGeom>
          </p:spPr>
        </p:pic>
        <p:pic>
          <p:nvPicPr>
            <p:cNvPr id="45" name="object 50">
              <a:extLst>
                <a:ext uri="{FF2B5EF4-FFF2-40B4-BE49-F238E27FC236}">
                  <a16:creationId xmlns:a16="http://schemas.microsoft.com/office/drawing/2014/main" id="{B1001C31-2C60-AF8A-BE7C-CC31C47E43E6}"/>
                </a:ext>
              </a:extLst>
            </p:cNvPr>
            <p:cNvPicPr/>
            <p:nvPr/>
          </p:nvPicPr>
          <p:blipFill>
            <a:blip r:embed="rId15" cstate="print"/>
            <a:stretch>
              <a:fillRect/>
            </a:stretch>
          </p:blipFill>
          <p:spPr>
            <a:xfrm>
              <a:off x="1952650" y="1287145"/>
              <a:ext cx="647306" cy="39954"/>
            </a:xfrm>
            <a:prstGeom prst="rect">
              <a:avLst/>
            </a:prstGeom>
          </p:spPr>
        </p:pic>
        <p:pic>
          <p:nvPicPr>
            <p:cNvPr id="46" name="object 51">
              <a:extLst>
                <a:ext uri="{FF2B5EF4-FFF2-40B4-BE49-F238E27FC236}">
                  <a16:creationId xmlns:a16="http://schemas.microsoft.com/office/drawing/2014/main" id="{FA78F224-B6B9-39E4-8BC5-E0168E83171D}"/>
                </a:ext>
              </a:extLst>
            </p:cNvPr>
            <p:cNvPicPr/>
            <p:nvPr/>
          </p:nvPicPr>
          <p:blipFill>
            <a:blip r:embed="rId16" cstate="print"/>
            <a:stretch>
              <a:fillRect/>
            </a:stretch>
          </p:blipFill>
          <p:spPr>
            <a:xfrm>
              <a:off x="2196490" y="1046429"/>
              <a:ext cx="69329" cy="212318"/>
            </a:xfrm>
            <a:prstGeom prst="rect">
              <a:avLst/>
            </a:prstGeom>
          </p:spPr>
        </p:pic>
        <p:pic>
          <p:nvPicPr>
            <p:cNvPr id="47" name="object 52">
              <a:extLst>
                <a:ext uri="{FF2B5EF4-FFF2-40B4-BE49-F238E27FC236}">
                  <a16:creationId xmlns:a16="http://schemas.microsoft.com/office/drawing/2014/main" id="{4A91B7B5-F913-B6B4-25E7-DE8424165BB6}"/>
                </a:ext>
              </a:extLst>
            </p:cNvPr>
            <p:cNvPicPr/>
            <p:nvPr/>
          </p:nvPicPr>
          <p:blipFill>
            <a:blip r:embed="rId17" cstate="print"/>
            <a:stretch>
              <a:fillRect/>
            </a:stretch>
          </p:blipFill>
          <p:spPr>
            <a:xfrm>
              <a:off x="2135581" y="829284"/>
              <a:ext cx="281089" cy="120903"/>
            </a:xfrm>
            <a:prstGeom prst="rect">
              <a:avLst/>
            </a:prstGeom>
          </p:spPr>
        </p:pic>
        <p:pic>
          <p:nvPicPr>
            <p:cNvPr id="48" name="object 53">
              <a:extLst>
                <a:ext uri="{FF2B5EF4-FFF2-40B4-BE49-F238E27FC236}">
                  <a16:creationId xmlns:a16="http://schemas.microsoft.com/office/drawing/2014/main" id="{34224274-3A2E-1B2F-22A0-08737AEA2388}"/>
                </a:ext>
              </a:extLst>
            </p:cNvPr>
            <p:cNvPicPr/>
            <p:nvPr/>
          </p:nvPicPr>
          <p:blipFill>
            <a:blip r:embed="rId18" cstate="print"/>
            <a:stretch>
              <a:fillRect/>
            </a:stretch>
          </p:blipFill>
          <p:spPr>
            <a:xfrm>
              <a:off x="2002701" y="1046239"/>
              <a:ext cx="69011" cy="212458"/>
            </a:xfrm>
            <a:prstGeom prst="rect">
              <a:avLst/>
            </a:prstGeom>
          </p:spPr>
        </p:pic>
        <p:pic>
          <p:nvPicPr>
            <p:cNvPr id="49" name="object 54">
              <a:extLst>
                <a:ext uri="{FF2B5EF4-FFF2-40B4-BE49-F238E27FC236}">
                  <a16:creationId xmlns:a16="http://schemas.microsoft.com/office/drawing/2014/main" id="{94C54D16-3672-5669-4EEE-4C669D6ADC5B}"/>
                </a:ext>
              </a:extLst>
            </p:cNvPr>
            <p:cNvPicPr/>
            <p:nvPr/>
          </p:nvPicPr>
          <p:blipFill>
            <a:blip r:embed="rId19" cstate="print"/>
            <a:stretch>
              <a:fillRect/>
            </a:stretch>
          </p:blipFill>
          <p:spPr>
            <a:xfrm>
              <a:off x="2100084" y="1046200"/>
              <a:ext cx="68732" cy="212458"/>
            </a:xfrm>
            <a:prstGeom prst="rect">
              <a:avLst/>
            </a:prstGeom>
          </p:spPr>
        </p:pic>
        <p:pic>
          <p:nvPicPr>
            <p:cNvPr id="50" name="object 55">
              <a:extLst>
                <a:ext uri="{FF2B5EF4-FFF2-40B4-BE49-F238E27FC236}">
                  <a16:creationId xmlns:a16="http://schemas.microsoft.com/office/drawing/2014/main" id="{1D90C54B-FD81-FAB0-F4E2-CC06122D8338}"/>
                </a:ext>
              </a:extLst>
            </p:cNvPr>
            <p:cNvPicPr/>
            <p:nvPr/>
          </p:nvPicPr>
          <p:blipFill>
            <a:blip r:embed="rId20" cstate="print"/>
            <a:stretch>
              <a:fillRect/>
            </a:stretch>
          </p:blipFill>
          <p:spPr>
            <a:xfrm>
              <a:off x="2293543" y="1046239"/>
              <a:ext cx="69011" cy="212509"/>
            </a:xfrm>
            <a:prstGeom prst="rect">
              <a:avLst/>
            </a:prstGeom>
          </p:spPr>
        </p:pic>
        <p:pic>
          <p:nvPicPr>
            <p:cNvPr id="51" name="object 56">
              <a:extLst>
                <a:ext uri="{FF2B5EF4-FFF2-40B4-BE49-F238E27FC236}">
                  <a16:creationId xmlns:a16="http://schemas.microsoft.com/office/drawing/2014/main" id="{13754717-25B1-B2DE-25D5-7BC810514025}"/>
                </a:ext>
              </a:extLst>
            </p:cNvPr>
            <p:cNvPicPr/>
            <p:nvPr/>
          </p:nvPicPr>
          <p:blipFill>
            <a:blip r:embed="rId21" cstate="print"/>
            <a:stretch>
              <a:fillRect/>
            </a:stretch>
          </p:blipFill>
          <p:spPr>
            <a:xfrm>
              <a:off x="2390927" y="1046226"/>
              <a:ext cx="68732" cy="212432"/>
            </a:xfrm>
            <a:prstGeom prst="rect">
              <a:avLst/>
            </a:prstGeom>
          </p:spPr>
        </p:pic>
        <p:pic>
          <p:nvPicPr>
            <p:cNvPr id="52" name="object 57">
              <a:extLst>
                <a:ext uri="{FF2B5EF4-FFF2-40B4-BE49-F238E27FC236}">
                  <a16:creationId xmlns:a16="http://schemas.microsoft.com/office/drawing/2014/main" id="{8650057E-B357-5328-78B1-1DBA97149D07}"/>
                </a:ext>
              </a:extLst>
            </p:cNvPr>
            <p:cNvPicPr/>
            <p:nvPr/>
          </p:nvPicPr>
          <p:blipFill>
            <a:blip r:embed="rId22" cstate="print"/>
            <a:stretch>
              <a:fillRect/>
            </a:stretch>
          </p:blipFill>
          <p:spPr>
            <a:xfrm>
              <a:off x="2488031" y="1046568"/>
              <a:ext cx="69011" cy="212128"/>
            </a:xfrm>
            <a:prstGeom prst="rect">
              <a:avLst/>
            </a:prstGeom>
          </p:spPr>
        </p:pic>
        <p:pic>
          <p:nvPicPr>
            <p:cNvPr id="53" name="object 58">
              <a:extLst>
                <a:ext uri="{FF2B5EF4-FFF2-40B4-BE49-F238E27FC236}">
                  <a16:creationId xmlns:a16="http://schemas.microsoft.com/office/drawing/2014/main" id="{FB778D19-DCB4-D831-2B4C-6D9AC3F43817}"/>
                </a:ext>
              </a:extLst>
            </p:cNvPr>
            <p:cNvPicPr/>
            <p:nvPr/>
          </p:nvPicPr>
          <p:blipFill>
            <a:blip r:embed="rId23" cstate="print"/>
            <a:stretch>
              <a:fillRect/>
            </a:stretch>
          </p:blipFill>
          <p:spPr>
            <a:xfrm>
              <a:off x="2287358" y="673151"/>
              <a:ext cx="117182" cy="63017"/>
            </a:xfrm>
            <a:prstGeom prst="rect">
              <a:avLst/>
            </a:prstGeom>
          </p:spPr>
        </p:pic>
        <p:sp>
          <p:nvSpPr>
            <p:cNvPr id="54" name="object 59">
              <a:extLst>
                <a:ext uri="{FF2B5EF4-FFF2-40B4-BE49-F238E27FC236}">
                  <a16:creationId xmlns:a16="http://schemas.microsoft.com/office/drawing/2014/main" id="{035E9760-1BA8-E254-11F8-11FACB692A13}"/>
                </a:ext>
              </a:extLst>
            </p:cNvPr>
            <p:cNvSpPr/>
            <p:nvPr/>
          </p:nvSpPr>
          <p:spPr>
            <a:xfrm>
              <a:off x="2287358" y="673163"/>
              <a:ext cx="117475" cy="63500"/>
            </a:xfrm>
            <a:custGeom>
              <a:avLst/>
              <a:gdLst/>
              <a:ahLst/>
              <a:cxnLst/>
              <a:rect l="l" t="t" r="r" b="b"/>
              <a:pathLst>
                <a:path w="117475" h="63500">
                  <a:moveTo>
                    <a:pt x="0" y="63080"/>
                  </a:moveTo>
                  <a:lnTo>
                    <a:pt x="117220" y="63080"/>
                  </a:lnTo>
                  <a:lnTo>
                    <a:pt x="117220" y="0"/>
                  </a:lnTo>
                  <a:lnTo>
                    <a:pt x="0" y="0"/>
                  </a:lnTo>
                  <a:lnTo>
                    <a:pt x="0" y="63080"/>
                  </a:lnTo>
                  <a:close/>
                </a:path>
              </a:pathLst>
            </a:custGeom>
            <a:ln w="5562">
              <a:solidFill>
                <a:srgbClr val="FFFFFF"/>
              </a:solidFill>
            </a:ln>
          </p:spPr>
          <p:txBody>
            <a:bodyPr wrap="square" lIns="0" tIns="0" rIns="0" bIns="0" rtlCol="0"/>
            <a:lstStyle/>
            <a:p>
              <a:endParaRPr/>
            </a:p>
          </p:txBody>
        </p:sp>
      </p:grpSp>
      <p:cxnSp>
        <p:nvCxnSpPr>
          <p:cNvPr id="83" name="Straight Connector 82">
            <a:extLst>
              <a:ext uri="{FF2B5EF4-FFF2-40B4-BE49-F238E27FC236}">
                <a16:creationId xmlns:a16="http://schemas.microsoft.com/office/drawing/2014/main" id="{73E8C58C-C0CC-CAA7-95A1-97BCDCFDCEAF}"/>
              </a:ext>
            </a:extLst>
          </p:cNvPr>
          <p:cNvCxnSpPr>
            <a:cxnSpLocks/>
          </p:cNvCxnSpPr>
          <p:nvPr/>
        </p:nvCxnSpPr>
        <p:spPr>
          <a:xfrm>
            <a:off x="6626756" y="3757216"/>
            <a:ext cx="1526644" cy="112858"/>
          </a:xfrm>
          <a:prstGeom prst="line">
            <a:avLst/>
          </a:prstGeom>
          <a:ln>
            <a:noFill/>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A073BB86-369C-2A50-413F-67A50A46948A}"/>
              </a:ext>
            </a:extLst>
          </p:cNvPr>
          <p:cNvCxnSpPr>
            <a:cxnSpLocks/>
          </p:cNvCxnSpPr>
          <p:nvPr/>
        </p:nvCxnSpPr>
        <p:spPr>
          <a:xfrm>
            <a:off x="6212168" y="4716329"/>
            <a:ext cx="1941232" cy="483466"/>
          </a:xfrm>
          <a:prstGeom prst="line">
            <a:avLst/>
          </a:prstGeom>
          <a:ln>
            <a:noFill/>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706ADAD4-055F-BD01-3F9D-6764F2F0DE10}"/>
              </a:ext>
            </a:extLst>
          </p:cNvPr>
          <p:cNvCxnSpPr/>
          <p:nvPr/>
        </p:nvCxnSpPr>
        <p:spPr>
          <a:xfrm flipH="1" flipV="1">
            <a:off x="4041606" y="3861291"/>
            <a:ext cx="1209844" cy="40375"/>
          </a:xfrm>
          <a:prstGeom prst="line">
            <a:avLst/>
          </a:prstGeom>
          <a:ln>
            <a:noFill/>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24611C73-EFB7-BA5E-23D4-0FC66DDA6F3E}"/>
              </a:ext>
            </a:extLst>
          </p:cNvPr>
          <p:cNvCxnSpPr>
            <a:cxnSpLocks/>
          </p:cNvCxnSpPr>
          <p:nvPr/>
        </p:nvCxnSpPr>
        <p:spPr>
          <a:xfrm flipH="1">
            <a:off x="4041606" y="4775200"/>
            <a:ext cx="1858206" cy="421640"/>
          </a:xfrm>
          <a:prstGeom prst="line">
            <a:avLst/>
          </a:prstGeom>
          <a:ln>
            <a:noFill/>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73D41C7C-F7C1-F1C7-DC0E-D46A8F10C56E}"/>
              </a:ext>
            </a:extLst>
          </p:cNvPr>
          <p:cNvCxnSpPr/>
          <p:nvPr/>
        </p:nvCxnSpPr>
        <p:spPr>
          <a:xfrm flipH="1" flipV="1">
            <a:off x="4600100" y="2725001"/>
            <a:ext cx="814689" cy="861722"/>
          </a:xfrm>
          <a:prstGeom prst="line">
            <a:avLst/>
          </a:prstGeom>
          <a:ln>
            <a:noFill/>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6C1AF6D6-BC28-3345-B660-DBF72BE00055}"/>
              </a:ext>
            </a:extLst>
          </p:cNvPr>
          <p:cNvCxnSpPr>
            <a:cxnSpLocks/>
          </p:cNvCxnSpPr>
          <p:nvPr/>
        </p:nvCxnSpPr>
        <p:spPr>
          <a:xfrm flipV="1">
            <a:off x="6494802" y="2719051"/>
            <a:ext cx="782913" cy="709949"/>
          </a:xfrm>
          <a:prstGeom prst="line">
            <a:avLst/>
          </a:prstGeom>
          <a:ln>
            <a:no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9207867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SNEWSLIDENUMBER" val="False"/>
  <p:tag name="PREVIOUSNAME" val="https://d.docs.live.net/2c833a9256badcab/Desktop/WIP/New Systemiq slide template.pptx"/>
  <p:tag name="THINKCELLPRESENTATIONDONOTDELETE" val="&lt;?xml version=&quot;1.0&quot; encoding=&quot;UTF-16&quot; standalone=&quot;yes&quot;?&gt;&lt;root reqver=&quot;28224&quot;&gt;&lt;version val=&quot;3533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7&quot;&gt;&lt;elem m_fUsage=&quot;5.77402004909383936848E+00&quot;&gt;&lt;m_msothmcolidx val=&quot;0&quot;/&gt;&lt;m_rgb r=&quot;23&quot; g=&quot;5D&quot; b=&quot;FF&quot;/&gt;&lt;/elem&gt;&lt;elem m_fUsage=&quot;1.39986743994091189514E+00&quot;&gt;&lt;m_msothmcolidx val=&quot;0&quot;/&gt;&lt;m_rgb r=&quot;4F&quot; g=&quot;C0&quot; b=&quot;A5&quot;/&gt;&lt;/elem&gt;&lt;elem m_fUsage=&quot;1.12193100000000001160E+00&quot;&gt;&lt;m_msothmcolidx val=&quot;0&quot;/&gt;&lt;m_rgb r=&quot;F8&quot; g=&quot;79&quot; b=&quot;07&quot;/&gt;&lt;/elem&gt;&lt;elem m_fUsage=&quot;8.97654142076872663125E-01&quot;&gt;&lt;m_msothmcolidx val=&quot;0&quot;/&gt;&lt;m_rgb r=&quot;E5&quot; g=&quot;9E&quot; b=&quot;6D&quot;/&gt;&lt;/elem&gt;&lt;elem m_fUsage=&quot;8.86293811965250810658E-02&quot;&gt;&lt;m_msothmcolidx val=&quot;0&quot;/&gt;&lt;m_rgb r=&quot;00&quot; g=&quot;F0&quot; b=&quot;E8&quot;/&gt;&lt;/elem&gt;&lt;elem m_fUsage=&quot;7.17897987691853145531E-02&quot;&gt;&lt;m_msothmcolidx val=&quot;0&quot;/&gt;&lt;m_rgb r=&quot;E9&quot; g=&quot;97&quot; b=&quot;99&quot;/&gt;&lt;/elem&gt;&lt;elem m_fUsage=&quot;6.46108188922667886489E-02&quot;&gt;&lt;m_msothmcolidx val=&quot;0&quot;/&gt;&lt;m_rgb r=&quot;DD&quot; g=&quot;AC&quot; b=&quot;B7&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SqgLjEL6RMCSTdachL9Ac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SqgLjEL6RMCSTdachL9Ac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E13dyxscT32GmM9lo0LX4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E13dyxscT32GmM9lo0LX4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E13dyxscT32GmM9lo0LX4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E13dyxscT32GmM9lo0LX4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E13dyxscT32GmM9lo0LX4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E13dyxscT32GmM9lo0LX4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SqgLjEL6RMCSTdachL9Ac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E13dyxscT32GmM9lo0LX4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E13dyxscT32GmM9lo0LX4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E13dyxscT32GmM9lo0LX4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E13dyxscT32GmM9lo0LX4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E13dyxscT32GmM9lo0LX4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E13dyxscT32GmM9lo0LX4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E13dyxscT32GmM9lo0LX4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E13dyxscT32GmM9lo0LX4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E13dyxscT32GmM9lo0LX4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yBSw6deySSSNItXvahQ.9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E13dyxscT32GmM9lo0LX4A"/>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qNnXye0WRtqLAVtnWThVf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qNnXye0WRtqLAVtnWThVf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29w4Wb8_SkeSfsKeWFh.D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29w4Wb8_SkeSfsKeWFh.D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29w4Wb8_SkeSfsKeWFh.D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29w4Wb8_SkeSfsKeWFh.D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Z70eDg3wSmSX0bgx01Csn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zEQLQ.kaRM.2393elWzIhg"/>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29w4Wb8_SkeSfsKeWFh.D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29w4Wb8_SkeSfsKeWFh.D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E13dyxscT32GmM9lo0LX4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qNnXye0WRtqLAVtnWThVf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6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6.xml><?xml version="1.0" encoding="utf-8"?>
<p:tagLst xmlns:a="http://schemas.openxmlformats.org/drawingml/2006/main" xmlns:r="http://schemas.openxmlformats.org/officeDocument/2006/relationships" xmlns:p="http://schemas.openxmlformats.org/presentationml/2006/main">
  <p:tag name="SHAPENAME" val="5. Source"/>
</p:tagLst>
</file>

<file path=ppt/tags/tag16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PfU9I5ZmRROC0QVv9.Wkd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E13dyxscT32GmM9lo0LX4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E13dyxscT32GmM9lo0LX4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29w4Wb8_SkeSfsKeWFh.D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SqgLjEL6RMCSTdachL9Ac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E13dyxscT32GmM9lo0LX4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teAa5JouIV8_pLx.xsyy0Q"/>
  <p:tag name="TEMPLAFYSLIDEID" val="637195437869890466"/>
</p:tagLst>
</file>

<file path=ppt/tags/tag182.xml><?xml version="1.0" encoding="utf-8"?>
<p:tagLst xmlns:a="http://schemas.openxmlformats.org/drawingml/2006/main" xmlns:r="http://schemas.openxmlformats.org/officeDocument/2006/relationships" xmlns:p="http://schemas.openxmlformats.org/presentationml/2006/main">
  <p:tag name="CONTAINEDIMAGEPATH" val="C:\Users\ItaKettleborough\AppData\Local\Temp\Templafy\PowerPointVsto\Assets\SYSTEMIQ Logo blue.png"/>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151Xkyf0xyKLFVpk2fCOg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FcJ5pYrEKfmmEVGZVZftB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0b6C_nWGDSXSwdXvKjOUl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VhQ8WNMv88Gmx4P4sHgrO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cKA3znKgUPY6z7FFwqlo6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LsF7ipRejSCf8JT1w4UFo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2vf6dAESwjfb2tLztgbYO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YUFG6wU_T2U7zsst452HDg"/>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BgT8TSF8B64yC_I9k8mGs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IFi9yJbDlprxYAh1QYDIbQ"/>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VnTq5fXxtEGKWTVgCZudvg"/>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MpJ.dmtm6HFzmza0JnFRB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E13dyxscT32GmM9lo0LX4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rMUxjJI6dr6voyiNz6xAC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n76W76DOXCqrvSbygSMgRg"/>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mv6G_pInc_TG7xvdWNgwO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v0cBO27fzs75F01ia5y9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mjdOt07vlr4VVs_PdFcXU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wzNRkP7CyW3eBDCJ33fnYA"/>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uxJ4gmFQCwmUbMnkIV3rkQ"/>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rnoKPZNcmbL7ROv3yf_Cx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pDiCIkmZUud3fK6v5ldy0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AhostG8kb31FNIMFUrPe0Q"/>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ARcUJWdh_Pgp3De38S1RFQ"/>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EjmOiayHkcxU60XukNufoQ"/>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zz9bt4MYTevSyuVOOG1k9A"/>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1NQJ1udmj9h3DxfGWH6S4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2oDxoexAUk3J_pHxogjFGA"/>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g.zZ8otVADpOODyVKIiRUQ"/>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qI8YiEaLT4I06t.TJsJrb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wPogx4RxOouia4l3oDNJ8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zz2SvpYRFCfbH6ry7ItRe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E13dyxscT32GmM9lo0LX4A"/>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OdKX9VJPo8bCYgrbpx_UE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Xw_aqIrnxpJl125pW7QaUw"/>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nVHLdPprYDsoM39d5WTog"/>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BQrdpQwGl_DiuFrqe6v47w"/>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BKnZw5_xe4wmSaxnWF83.w"/>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UbIdo_LW6pNV2ug9l0ic8A"/>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MVy34wPTjIc_590dis7_Z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W2vTTw30wALgi9JbkmOHe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opfwihvBSVP6cTjz9DcWLw"/>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_5JOdX2DYTo2FNexBL8Ut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JjGiSMwN46V24CMfppPARg"/>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cwcGiRg6KWIZIabMmR0xSA"/>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ThstckEeqbRZImrF1Nw1S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kefIkDRVkJtAiTTG4nDNt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7p4_ExF7qkgZhV_p3RPKn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nfpo7Ke5LTaxxGjEzZS1_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MwtqzpYF59lL.Z2If71tOQ"/>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dOf79ZHcGKyGhf.mYzN5q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F_gUmazuu8ktUE.0xHbY9g"/>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ELJIeXrdorafg6pequuvn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E13dyxscT32GmM9lo0LX4A"/>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gklVwAXXoibFPCRqT01DLQ"/>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WmBOrql7qkKHuHVgUMeyTg"/>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BZYnv4ti01SIZV7p_2.rHQ"/>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W_pvkhhxxdyFDFZ8I0cQqw"/>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xOgjMklm951pWLcn9WXiA"/>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YmNOlUJeuyzzB0vKCmwiuQ"/>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GH_3zLrs9uO44RyBg9WxJ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WKYu8T26ssgDDdvcBPUgEA"/>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gaJasG2dSfMM.hjDtx54I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Jj9y_Ci2rKwMqMG5jHa.ZA"/>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PpYeC3rKSxxa1I_I.YnaZ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JyzUHJYAP6mKIOzIcSVwAg"/>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6zAw7HPPfGy8EhvJ7QstUw"/>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VRXzC7YLzYtu3FKmUHmzog"/>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N0mSVIX8RyT3UXITIoLOb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DNxeFFMEFiH.MO8c_rw4Zg"/>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jrIXxxqaeK2zKFp54TYaJ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E13dyxscT32GmM9lo0LX4A"/>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5bDYOH6EBt87EsB8CqRh0Q"/>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b6_CT4qzg1T86QW.9JXViw"/>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hrVkQyiOeuw82_leGWi2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XuActWdVYupmgTQQ9S97T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zZ3_s_tcYFGnj.GZFTB78g"/>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LnctW5Ms_kKiNTZcx6zS_g"/>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7LQjv8.RztsdgU17Dk9LQA"/>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JzA.fPwN9t.uj4Bk8qVBZQ"/>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3uuCjme1YkASFh9PxSG2AA"/>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4tJBBzFYVsl7r.ZP0ErRy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17GPb_AWFbSXGXonfgRLX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nWIQGbW1RUZKpZGU.YDiN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eTJNeSs3U_y1zGrQuMfgIA"/>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RGqnGAtADpkVCveaeIdMF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KiHG5GiKaAInoG0NNUDxx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0WPH77_EflKzXjXzsCH.X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8auM3BwuN6cY.82vaWqEuQ"/>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658gaVMHiQvn_tI6vcVf5Q"/>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SR8xe.MipbeWgZQTBwcPR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E13dyxscT32GmM9lo0LX4A"/>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OKuOalvqwecdASaCJ5CfMA"/>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tkqFL9i6Knq4SAr3OSys_A"/>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oHRr1z09DjNw7IG.JqMOfw"/>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lc453B5p9uRQh7mqFOV1QA"/>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ytWEYNsOS7n4nAZTbsXdIQ"/>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D1qcjgGxsNS8lQ_AN49qhw"/>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dZdh4mkNJ2H6xXj2DskQKA"/>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BUOAHqGK3N0aXnux4mMoJA"/>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VILf3EgEjtajt3_upkYYMA"/>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9U7Dz0U2rcRwSa9mlqs2d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Qu24vCYWk2wIXVgQu7Uxbg"/>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1gjjm38xcfA2.lwa2sR1CA"/>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zHFE9YgrzMuElDu1oAVu8Q"/>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3sNnAQLRWLmFOydKMdbxjw"/>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Lqh7uqua2wIj5BZ9C3Vw6g"/>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NpSv.UFpTk66J1xA1U.jaw"/>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Bm_hkLqaEBkdCN9FU2_Zsg"/>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vEhC6D1OoIWwWJo37tWw8g"/>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XlRoCve1kVJJ1ATzWu_JIQ"/>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CUx7x5X0uvQvb_kjL0yb4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PfU9I5ZmRROC0QVv9.Wkd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E13dyxscT32GmM9lo0LX4A"/>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9l6Q4blMBeX0yAYd4hOzZg"/>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DMR_K60fly2xoyrJ24MjQg"/>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7_al6ZXTTVdvHi65HcXj9g"/>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SjaWiF2E_RU0hruGZAEwkA"/>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1ShMThDb7HUv9VGQPel1Hg"/>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xUjQbBafquPgeXI9P8evTQ"/>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WULfcMVm.Uc36V7fJpXnlA"/>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A3SjjkIIJTyRC6oMZrehiQ"/>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Wyy9iSmloyyKiAEsySMayA"/>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8PE.A2SkXaMQsLfuP3NhN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62acVNHiLVKBhV.0rE0OKw"/>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Lg7ywsstpWw1R_e4_d5YrQ"/>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siXcnbeYkAN3nMN7ruQTK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nxfB9Ex8Se_rY4wF6aC07g"/>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4jDuXAmDcsVDi3fVLi2pAg"/>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ZB8ejgKzmcP0IDGY3WnKGQ"/>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xOFo6SqT50oPR3AsVt_A0Q"/>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v9HYOTJY8Mlj6jDeDh0Wqg"/>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WBnHxlRvFO0WaFqRe3ro3g"/>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E13dyxscT32GmM9lo0LX4A"/>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KX5LvqN7uNJj.ajWCyLFcQ"/>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e3ouUSYsuiqUceVDNZGCe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fZuxxgT6difvOEH.jiUN2Q"/>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SrViiv7xn3gIE9IKagtUqA"/>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28WTkeP8vZ6zV3DgalJgbA"/>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yw.SHgrkKMP_aCQJSje35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1WjQGPo.oGWW9c.QcMMG_g"/>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loLU82VSr0TXnTOnWZ8BN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hc2YHTqpenveava82Sha2Q"/>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_xAmNS7lbSlYFY_NXYzC0Q"/>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TynV.ZmkxyoTLxvd5LlryA"/>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QeaoZNtEUeasDV4qzRxvTw"/>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xMbtArYfwWfxn8Nz8PwPzA"/>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qlEF2BKiNV0l4hWDaB2CWg"/>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Hgz6p_AcsLlQP93DVP3Nzg"/>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Ju51fMoYiND3Jog7RM50jQ"/>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dpEVFWmEBKq106QfxiDbA"/>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2UscqHKTQ_gFw8M.p2GDY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E13dyxscT32GmM9lo0LX4A"/>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CR_MmN3NE8Tn0gIx3t_0Kw"/>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H_EtTgIwDf36WIEFPb7NCA"/>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pObPXIMkLF_bE_edYxyJkA"/>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h8aBF9pC4TurNqXucwVf.g"/>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qWC88rJuUojefGqg6Auctg"/>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7Fwn0YrLq.XRg0tGEB80gw"/>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o_Kz6BivVx_jGlI7fgTs1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RAUO8e9SLLhAoFUHWOJu9A"/>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2_.b93dk9Xb2tETcEa20eA"/>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SUPKC.gmbHM9lsJWHxKcm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9_DK.Msj4.eAH_DiTXoa1w"/>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8e7eRXfbFuuFwzhFGIn3zQ"/>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OWmNQ3znpvPvw6Qd7EC9UA"/>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bCbFYLuJN4DmU7K1GWqXjQ"/>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opfwihvBSVP6cTjz9DcWLw"/>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_5JOdX2DYTo2FNexBL8Utg"/>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JjGiSMwN46V24CMfppPARg"/>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cwcGiRg6KWIZIabMmR0xSA"/>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ThstckEeqbRZImrF1Nw1S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E13dyxscT32GmM9lo0LX4A"/>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kefIkDRVkJtAiTTG4nDNtg"/>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7p4_ExF7qkgZhV_p3RPKnw"/>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nfpo7Ke5LTaxxGjEzZS1_w"/>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MwtqzpYF59lL.Z2If71tOQ"/>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dOf79ZHcGKyGhf.mYzN5qQ"/>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F_gUmazuu8ktUE.0xHbY9g"/>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ELJIeXrdorafg6pequuvnA"/>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2oDxoexAUk3J_pHxogjFGA"/>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fyLdAhL4c8Ti7SNqGnq3cg"/>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gde65cnNmQfGsiIPr.P9A"/>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01crlhZHsY_kPvDMhZsf3w"/>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WovUnPcbCVghnoce3bSc7A"/>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UAHWIjXwmPPVlvKf9hn.NA"/>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c4RUNisvn4bbW3N97JBP9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l7adtYns0SrLnzdqOIMlJA"/>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glqsaW4zxaLb1E93FSxEFA"/>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GxyVzInXJrhmFgEzFb0THQ"/>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1I1J9ZWoMuloWIoJ1QS.O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E13dyxscT32GmM9lo0LX4A"/>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L7R11xz3sU0UWBU2MT6MRQ"/>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XtB4J4NJdezsVwfk8S7WcQ"/>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pqDMUosLkdCRC6WY.dIXHA"/>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JOYfK5sJpFfx4Kl1CQPpAQ"/>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H6cgOtGxGCx9keQAT8lJOA"/>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GeIMv4VmTxtlXnbJuz_HJw"/>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E13dyxscT32GmM9lo0LX4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E13dyxscT32GmM9lo0LX4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yBSw6deySSSNItXvahQ.9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qNnXye0WRtqLAVtnWThVf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qNnXye0WRtqLAVtnWThVf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29w4Wb8_SkeSfsKeWFh.D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29w4Wb8_SkeSfsKeWFh.D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29w4Wb8_SkeSfsKeWFh.D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29w4Wb8_SkeSfsKeWFh.D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Z70eDg3wSmSX0bgx01Csn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SqgLjEL6RMCSTdachL9Ac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zEQLQ.kaRM.2393elWzIh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29w4Wb8_SkeSfsKeWFh.D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29w4Wb8_SkeSfsKeWFh.D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qNnXye0WRtqLAVtnWThVf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69.xml><?xml version="1.0" encoding="utf-8"?>
<p:tagLst xmlns:a="http://schemas.openxmlformats.org/drawingml/2006/main" xmlns:r="http://schemas.openxmlformats.org/officeDocument/2006/relationships" xmlns:p="http://schemas.openxmlformats.org/presentationml/2006/main">
  <p:tag name="SHAPENAME" val="3. Subtitl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1.xml><?xml version="1.0" encoding="utf-8"?>
<p:tagLst xmlns:a="http://schemas.openxmlformats.org/drawingml/2006/main" xmlns:r="http://schemas.openxmlformats.org/officeDocument/2006/relationships" xmlns:p="http://schemas.openxmlformats.org/presentationml/2006/main">
  <p:tag name="SHAPENAME" val="5. Source"/>
</p:tagLst>
</file>

<file path=ppt/tags/tag7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qNnXye0WRtqLAVtnWThVf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qNnXye0WRtqLAVtnWThVf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yBSw6deySSSNItXvahQ.9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yBSw6deySSSNItXvahQ.9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qNnXye0WRtqLAVtnWThVf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qNnXye0WRtqLAVtnWThVf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qNnXye0WRtqLAVtnWThVf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SqgLjEL6RMCSTdachL9Ac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Z70eDg3wSmSX0bgx01Csn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zEQLQ.kaRM.2393elWzIh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PfU9I5ZmRROC0QVv9.WkdA"/>
</p:tagLst>
</file>

<file path=ppt/theme/theme1.xml><?xml version="1.0" encoding="utf-8"?>
<a:theme xmlns:a="http://schemas.openxmlformats.org/drawingml/2006/main" name="ETC Template">
  <a:themeElements>
    <a:clrScheme name="ETC_2020">
      <a:dk1>
        <a:srgbClr val="000000"/>
      </a:dk1>
      <a:lt1>
        <a:srgbClr val="FFFFFF"/>
      </a:lt1>
      <a:dk2>
        <a:srgbClr val="004876"/>
      </a:dk2>
      <a:lt2>
        <a:srgbClr val="FFFFFF"/>
      </a:lt2>
      <a:accent1>
        <a:srgbClr val="00A7B5"/>
      </a:accent1>
      <a:accent2>
        <a:srgbClr val="95D600"/>
      </a:accent2>
      <a:accent3>
        <a:srgbClr val="FFCD00"/>
      </a:accent3>
      <a:accent4>
        <a:srgbClr val="0D5257"/>
      </a:accent4>
      <a:accent5>
        <a:srgbClr val="CD545B"/>
      </a:accent5>
      <a:accent6>
        <a:srgbClr val="C6A992"/>
      </a:accent6>
      <a:hlink>
        <a:srgbClr val="40B4E5"/>
      </a:hlink>
      <a:folHlink>
        <a:srgbClr val="95D600"/>
      </a:folHlink>
    </a:clrScheme>
    <a:fontScheme name="Custom 1">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w="12700">
          <a:solidFill>
            <a:schemeClr val="tx2"/>
          </a:solidFill>
        </a:ln>
      </a:spPr>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defPPr algn="l">
          <a:defRPr sz="1400" dirty="0">
            <a:ln>
              <a:noFill/>
            </a:ln>
            <a:solidFill>
              <a:schemeClr val="bg1"/>
            </a:solidFill>
            <a:latin typeface="Century Gothic" panose="020B0502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marL="285750" indent="-285750" algn="l">
          <a:buFont typeface="Wingdings" panose="05000000000000000000" pitchFamily="2" charset="2"/>
          <a:buChar char="§"/>
          <a:defRPr sz="1600" dirty="0"/>
        </a:defPPr>
      </a:lstStyle>
    </a:txDef>
  </a:objectDefaults>
  <a:extraClrSchemeLst/>
  <a:custClrLst>
    <a:custClr name="Primary Blue">
      <a:srgbClr val="004876"/>
    </a:custClr>
    <a:custClr name="Primary Green 1">
      <a:srgbClr val="95D600"/>
    </a:custClr>
    <a:custClr name="Primary Green 2">
      <a:srgbClr val="D5EE99"/>
    </a:custClr>
    <a:custClr name="Primary Green 3">
      <a:srgbClr val="EAF7CC"/>
    </a:custClr>
    <a:custClr name="Primary Yellow">
      <a:srgbClr val="FFCD00"/>
    </a:custClr>
    <a:custClr name="Primary Mint Blue">
      <a:srgbClr val="00A5B5"/>
    </a:custClr>
    <a:custClr name="Secondary 1">
      <a:srgbClr val="0D5257"/>
    </a:custClr>
    <a:custClr name="Secondary 2">
      <a:srgbClr val="CD545B"/>
    </a:custClr>
    <a:custClr name="Secondary 3">
      <a:srgbClr val="F0B323"/>
    </a:custClr>
    <a:custClr name="Secondary 4">
      <a:srgbClr val="4F758B"/>
    </a:custClr>
    <a:custClr name="Secondary 5">
      <a:srgbClr val="6399AE"/>
    </a:custClr>
    <a:custClr name="Secondary 6">
      <a:srgbClr val="B288B9"/>
    </a:custClr>
    <a:custClr name="Secondary 7">
      <a:srgbClr val="984857"/>
    </a:custClr>
    <a:custClr name="Secondary 8">
      <a:srgbClr val="572932"/>
    </a:custClr>
    <a:custClr name="Secondary 9">
      <a:srgbClr val="F0E991"/>
    </a:custClr>
    <a:custClr name="Secondary 10">
      <a:srgbClr val="E59E6D"/>
    </a:custClr>
    <a:custClr name="Secondary 11">
      <a:srgbClr val="71CC98"/>
    </a:custClr>
    <a:custClr name="Secondary 12">
      <a:srgbClr val="C6A992"/>
    </a:custClr>
    <a:custClr name="Shipping Sector">
      <a:srgbClr val="0D5257"/>
    </a:custClr>
    <a:custClr name="Aviation Sector">
      <a:srgbClr val="CD545B"/>
    </a:custClr>
    <a:custClr name="Heavy Road Sector">
      <a:srgbClr val="4F758B"/>
    </a:custClr>
    <a:custClr name="Light Road Sector">
      <a:srgbClr val="6399AE"/>
    </a:custClr>
    <a:custClr name="Rail Sector">
      <a:srgbClr val="B288B9"/>
    </a:custClr>
    <a:custClr name="Agriculture Sector">
      <a:srgbClr val="71CC98"/>
    </a:custClr>
    <a:custClr name="Heating Sector">
      <a:srgbClr val="F0E991"/>
    </a:custClr>
    <a:custClr name="Non-Heating Sector">
      <a:srgbClr val="F0B323"/>
    </a:custClr>
    <a:custClr name="Steel Sector">
      <a:srgbClr val="C6A992"/>
    </a:custClr>
    <a:custClr name="Cement Sector">
      <a:srgbClr val="984857"/>
    </a:custClr>
    <a:custClr name="Aluminium Sector">
      <a:srgbClr val="572932"/>
    </a:custClr>
    <a:custClr name="Chemicals Sector">
      <a:srgbClr val="E59E6D"/>
    </a:custClr>
    <a:custClr name="Other Sectors">
      <a:srgbClr val="E3E3E3"/>
    </a:custClr>
    <a:custClr name="Hydrogen and hydrogen based fuels">
      <a:srgbClr val="E59E6D"/>
    </a:custClr>
    <a:custClr name="Hydrogen">
      <a:srgbClr val="E59E6D"/>
    </a:custClr>
    <a:custClr name="Ammonia">
      <a:srgbClr val="CD545B"/>
    </a:custClr>
    <a:custClr name="Synfuels">
      <a:srgbClr val="B288B9"/>
    </a:custClr>
    <a:custClr name="Fossil Fuels">
      <a:srgbClr val="984857"/>
    </a:custClr>
    <a:custClr name="Natural Gas">
      <a:srgbClr val="C6A992"/>
    </a:custClr>
    <a:custClr name="Oil">
      <a:srgbClr val="984857"/>
    </a:custClr>
    <a:custClr name="Coal">
      <a:srgbClr val="572932"/>
    </a:custClr>
    <a:custClr name="Bio-based">
      <a:srgbClr val="0D5257"/>
    </a:custClr>
    <a:custClr name="Biofeedstock">
      <a:srgbClr val="0D5257"/>
    </a:custClr>
    <a:custClr name="Bioenergy">
      <a:srgbClr val="71CC98"/>
    </a:custClr>
    <a:custClr name="Zero carbon power">
      <a:srgbClr val="6399AE"/>
    </a:custClr>
    <a:custClr name="Solar PV">
      <a:srgbClr val="F0B323"/>
    </a:custClr>
    <a:custClr name="Nuclear">
      <a:srgbClr val="F0E991"/>
    </a:custClr>
    <a:custClr name="Hydro">
      <a:srgbClr val="6399AE"/>
    </a:custClr>
    <a:custClr name="Windpower">
      <a:srgbClr val="4F758B"/>
    </a:custClr>
  </a:custClrLst>
  <a:extLst>
    <a:ext uri="{05A4C25C-085E-4340-85A3-A5531E510DB2}">
      <thm15:themeFamily xmlns:thm15="http://schemas.microsoft.com/office/thememl/2012/main" name="ETC Template" id="{6A045E2F-76D9-455A-840E-4F45D6272995}" vid="{92AE5C3A-CD42-4346-944A-6E758E8005FA}"/>
    </a:ext>
  </a:extLst>
</a:theme>
</file>

<file path=ppt/theme/theme2.xml><?xml version="1.0" encoding="utf-8"?>
<a:theme xmlns:a="http://schemas.openxmlformats.org/drawingml/2006/main" name="1_ETC">
  <a:themeElements>
    <a:clrScheme name="ETC_2020">
      <a:dk1>
        <a:srgbClr val="000000"/>
      </a:dk1>
      <a:lt1>
        <a:srgbClr val="FFFFFF"/>
      </a:lt1>
      <a:dk2>
        <a:srgbClr val="004876"/>
      </a:dk2>
      <a:lt2>
        <a:srgbClr val="FFFFFF"/>
      </a:lt2>
      <a:accent1>
        <a:srgbClr val="00A7B5"/>
      </a:accent1>
      <a:accent2>
        <a:srgbClr val="95D600"/>
      </a:accent2>
      <a:accent3>
        <a:srgbClr val="FFCD00"/>
      </a:accent3>
      <a:accent4>
        <a:srgbClr val="0D5257"/>
      </a:accent4>
      <a:accent5>
        <a:srgbClr val="CD545B"/>
      </a:accent5>
      <a:accent6>
        <a:srgbClr val="C6A992"/>
      </a:accent6>
      <a:hlink>
        <a:srgbClr val="40B4E5"/>
      </a:hlink>
      <a:folHlink>
        <a:srgbClr val="95D600"/>
      </a:folHlink>
    </a:clrScheme>
    <a:fontScheme name="Custom 1">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w="12700">
          <a:solidFill>
            <a:schemeClr val="tx2"/>
          </a:solidFill>
        </a:ln>
      </a:spPr>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defPPr algn="l">
          <a:defRPr sz="1400" dirty="0">
            <a:ln>
              <a:noFill/>
            </a:ln>
            <a:solidFill>
              <a:schemeClr val="bg1"/>
            </a:solidFill>
            <a:latin typeface="Century Gothic" panose="020B0502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marL="285750" indent="-285750" algn="l">
          <a:buFont typeface="Wingdings" panose="05000000000000000000" pitchFamily="2" charset="2"/>
          <a:buChar char="§"/>
          <a:defRPr sz="1600" dirty="0"/>
        </a:defPPr>
      </a:lstStyle>
    </a:txDef>
  </a:objectDefaults>
  <a:extraClrSchemeLst/>
  <a:custClrLst>
    <a:custClr name="Primary Blue">
      <a:srgbClr val="004876"/>
    </a:custClr>
    <a:custClr name="Primary Green 1">
      <a:srgbClr val="95D600"/>
    </a:custClr>
    <a:custClr name="Primary Green 2">
      <a:srgbClr val="D5EE99"/>
    </a:custClr>
    <a:custClr name="Primary Green 3">
      <a:srgbClr val="EAF7CC"/>
    </a:custClr>
    <a:custClr name="Primary Yellow">
      <a:srgbClr val="FFCD00"/>
    </a:custClr>
    <a:custClr name="Primary Mint Blue">
      <a:srgbClr val="00A5B5"/>
    </a:custClr>
    <a:custClr name="Secondary 1">
      <a:srgbClr val="0D5257"/>
    </a:custClr>
    <a:custClr name="Secondary 2">
      <a:srgbClr val="CD545B"/>
    </a:custClr>
    <a:custClr name="Secondary 3">
      <a:srgbClr val="F0B323"/>
    </a:custClr>
    <a:custClr name="Secondary 4">
      <a:srgbClr val="4F758B"/>
    </a:custClr>
    <a:custClr name="Secondary 5">
      <a:srgbClr val="6399AE"/>
    </a:custClr>
    <a:custClr name="Secondary 6">
      <a:srgbClr val="B288B9"/>
    </a:custClr>
    <a:custClr name="Secondary 7">
      <a:srgbClr val="984857"/>
    </a:custClr>
    <a:custClr name="Secondary 8">
      <a:srgbClr val="572932"/>
    </a:custClr>
    <a:custClr name="Secondary 9">
      <a:srgbClr val="F0E991"/>
    </a:custClr>
    <a:custClr name="Secondary 10">
      <a:srgbClr val="E59E6D"/>
    </a:custClr>
    <a:custClr name="Secondary 11">
      <a:srgbClr val="71CC98"/>
    </a:custClr>
    <a:custClr name="Secondary 12">
      <a:srgbClr val="C6A992"/>
    </a:custClr>
    <a:custClr name="Shipping Sector">
      <a:srgbClr val="0D5257"/>
    </a:custClr>
    <a:custClr name="Aviation Sector">
      <a:srgbClr val="CD545B"/>
    </a:custClr>
    <a:custClr name="Heavy Road Sector">
      <a:srgbClr val="4F758B"/>
    </a:custClr>
    <a:custClr name="Light Road Sector">
      <a:srgbClr val="6399AE"/>
    </a:custClr>
    <a:custClr name="Rail Sector">
      <a:srgbClr val="B288B9"/>
    </a:custClr>
    <a:custClr name="Agriculture Sector">
      <a:srgbClr val="71CC98"/>
    </a:custClr>
    <a:custClr name="Heating Sector">
      <a:srgbClr val="F0E991"/>
    </a:custClr>
    <a:custClr name="Non-Heating Sector">
      <a:srgbClr val="F0B323"/>
    </a:custClr>
    <a:custClr name="Steel Sector">
      <a:srgbClr val="C6A992"/>
    </a:custClr>
    <a:custClr name="Cement Sector">
      <a:srgbClr val="984857"/>
    </a:custClr>
    <a:custClr name="Aluminium Sector">
      <a:srgbClr val="572932"/>
    </a:custClr>
    <a:custClr name="Chemicals Sector">
      <a:srgbClr val="E59E6D"/>
    </a:custClr>
    <a:custClr name="Other Sectors">
      <a:srgbClr val="E3E3E3"/>
    </a:custClr>
    <a:custClr name="Hydrogen and hydrogen based fuels">
      <a:srgbClr val="E59E6D"/>
    </a:custClr>
    <a:custClr name="Hydrogen">
      <a:srgbClr val="E59E6D"/>
    </a:custClr>
    <a:custClr name="Ammonia">
      <a:srgbClr val="CD545B"/>
    </a:custClr>
    <a:custClr name="Synfuels">
      <a:srgbClr val="B288B9"/>
    </a:custClr>
    <a:custClr name="Fossil Fuels">
      <a:srgbClr val="984857"/>
    </a:custClr>
    <a:custClr name="Natural Gas">
      <a:srgbClr val="C6A992"/>
    </a:custClr>
    <a:custClr name="Oil">
      <a:srgbClr val="984857"/>
    </a:custClr>
    <a:custClr name="Coal">
      <a:srgbClr val="572932"/>
    </a:custClr>
    <a:custClr name="Bio-based">
      <a:srgbClr val="0D5257"/>
    </a:custClr>
    <a:custClr name="Biofeedstock">
      <a:srgbClr val="0D5257"/>
    </a:custClr>
    <a:custClr name="Bioenergy">
      <a:srgbClr val="71CC98"/>
    </a:custClr>
    <a:custClr name="Zero carbon power">
      <a:srgbClr val="6399AE"/>
    </a:custClr>
    <a:custClr name="Solar PV">
      <a:srgbClr val="F0B323"/>
    </a:custClr>
    <a:custClr name="Nuclear">
      <a:srgbClr val="F0E991"/>
    </a:custClr>
    <a:custClr name="Hydro">
      <a:srgbClr val="6399AE"/>
    </a:custClr>
    <a:custClr name="Windpower">
      <a:srgbClr val="4F758B"/>
    </a:custClr>
  </a:custClrLst>
  <a:extLst>
    <a:ext uri="{05A4C25C-085E-4340-85A3-A5531E510DB2}">
      <thm15:themeFamily xmlns:thm15="http://schemas.microsoft.com/office/thememl/2012/main" name="Presentation1" id="{DC585643-8C06-4F33-959C-7F12F1589ECF}" vid="{F5BD542E-8628-410A-9D10-69D55219A3B9}"/>
    </a:ext>
  </a:extLst>
</a:theme>
</file>

<file path=ppt/theme/theme3.xml><?xml version="1.0" encoding="utf-8"?>
<a:theme xmlns:a="http://schemas.openxmlformats.org/drawingml/2006/main" name="ETC">
  <a:themeElements>
    <a:clrScheme name="ETC_2020">
      <a:dk1>
        <a:srgbClr val="000000"/>
      </a:dk1>
      <a:lt1>
        <a:srgbClr val="FFFFFF"/>
      </a:lt1>
      <a:dk2>
        <a:srgbClr val="004876"/>
      </a:dk2>
      <a:lt2>
        <a:srgbClr val="FFFFFF"/>
      </a:lt2>
      <a:accent1>
        <a:srgbClr val="00A7B5"/>
      </a:accent1>
      <a:accent2>
        <a:srgbClr val="95D600"/>
      </a:accent2>
      <a:accent3>
        <a:srgbClr val="FFCD00"/>
      </a:accent3>
      <a:accent4>
        <a:srgbClr val="0D5257"/>
      </a:accent4>
      <a:accent5>
        <a:srgbClr val="CD545B"/>
      </a:accent5>
      <a:accent6>
        <a:srgbClr val="C6A992"/>
      </a:accent6>
      <a:hlink>
        <a:srgbClr val="40B4E5"/>
      </a:hlink>
      <a:folHlink>
        <a:srgbClr val="95D600"/>
      </a:folHlink>
    </a:clrScheme>
    <a:fontScheme name="Custom 1">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12700">
          <a:solidFill>
            <a:srgbClr val="D5EE99"/>
          </a:solidFill>
        </a:ln>
      </a:spPr>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defPPr algn="l">
          <a:defRPr sz="1400" dirty="0" err="1" smtClean="0">
            <a:ln>
              <a:noFill/>
            </a:ln>
            <a:solidFill>
              <a:schemeClr val="tx1">
                <a:lumMod val="85000"/>
                <a:lumOff val="15000"/>
              </a:schemeClr>
            </a:solidFill>
            <a:latin typeface="Century Gothic" panose="020B0502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marL="285750" indent="-285750" algn="l">
          <a:buFont typeface="Wingdings" panose="05000000000000000000" pitchFamily="2" charset="2"/>
          <a:buChar char="§"/>
          <a:defRPr sz="1600" dirty="0"/>
        </a:defPPr>
      </a:lstStyle>
    </a:txDef>
  </a:objectDefaults>
  <a:extraClrSchemeLst/>
  <a:custClrLst>
    <a:custClr name="Primary Blue">
      <a:srgbClr val="004876"/>
    </a:custClr>
    <a:custClr name="Primary Green 1">
      <a:srgbClr val="95D600"/>
    </a:custClr>
    <a:custClr name="Primary Green 2">
      <a:srgbClr val="D5EE99"/>
    </a:custClr>
    <a:custClr name="Primary Green 3">
      <a:srgbClr val="EAF7CC"/>
    </a:custClr>
    <a:custClr name="Primary Yellow">
      <a:srgbClr val="FFCD00"/>
    </a:custClr>
    <a:custClr name="Primary Mint Blue">
      <a:srgbClr val="00A5B5"/>
    </a:custClr>
    <a:custClr name="Secondary 1">
      <a:srgbClr val="0D5257"/>
    </a:custClr>
    <a:custClr name="Secondary 2">
      <a:srgbClr val="CD545B"/>
    </a:custClr>
    <a:custClr name="Secondary 3">
      <a:srgbClr val="F0B323"/>
    </a:custClr>
    <a:custClr name="Secondary 4">
      <a:srgbClr val="4F758B"/>
    </a:custClr>
    <a:custClr name="Secondary 5">
      <a:srgbClr val="6399AE"/>
    </a:custClr>
    <a:custClr name="Secondary 6">
      <a:srgbClr val="B288B9"/>
    </a:custClr>
    <a:custClr name="Secondary 7">
      <a:srgbClr val="984857"/>
    </a:custClr>
    <a:custClr name="Secondary 8">
      <a:srgbClr val="572932"/>
    </a:custClr>
    <a:custClr name="Secondary 9">
      <a:srgbClr val="F0E991"/>
    </a:custClr>
    <a:custClr name="Secondary 10">
      <a:srgbClr val="E59E6D"/>
    </a:custClr>
    <a:custClr name="Secondary 11">
      <a:srgbClr val="71CC98"/>
    </a:custClr>
    <a:custClr name="Secondary 12">
      <a:srgbClr val="C6A992"/>
    </a:custClr>
    <a:custClr name="Shipping Sector">
      <a:srgbClr val="0D5257"/>
    </a:custClr>
    <a:custClr name="Aviation Sector">
      <a:srgbClr val="CD545B"/>
    </a:custClr>
    <a:custClr name="Heavy Road Sector">
      <a:srgbClr val="4F758B"/>
    </a:custClr>
    <a:custClr name="Light Road Sector">
      <a:srgbClr val="6399AE"/>
    </a:custClr>
    <a:custClr name="Rail Sector">
      <a:srgbClr val="B288B9"/>
    </a:custClr>
    <a:custClr name="Agriculture Sector">
      <a:srgbClr val="71CC98"/>
    </a:custClr>
    <a:custClr name="Heating Sector">
      <a:srgbClr val="F0E991"/>
    </a:custClr>
    <a:custClr name="Non-Heating Sector">
      <a:srgbClr val="F0B323"/>
    </a:custClr>
    <a:custClr name="Steel Sector">
      <a:srgbClr val="C6A992"/>
    </a:custClr>
    <a:custClr name="Cement Sector">
      <a:srgbClr val="984857"/>
    </a:custClr>
    <a:custClr name="Aluminium Sector">
      <a:srgbClr val="572932"/>
    </a:custClr>
    <a:custClr name="Chemicals Sector">
      <a:srgbClr val="E59E6D"/>
    </a:custClr>
    <a:custClr name="Other Sectors">
      <a:srgbClr val="E3E3E3"/>
    </a:custClr>
    <a:custClr name="Hydrogen and hydrogen based fuels">
      <a:srgbClr val="E59E6D"/>
    </a:custClr>
    <a:custClr name="Hydrogen">
      <a:srgbClr val="E59E6D"/>
    </a:custClr>
    <a:custClr name="Ammonia">
      <a:srgbClr val="CD545B"/>
    </a:custClr>
    <a:custClr name="Synfuels">
      <a:srgbClr val="B288B9"/>
    </a:custClr>
    <a:custClr name="Fossil Fuels">
      <a:srgbClr val="984857"/>
    </a:custClr>
    <a:custClr name="Natural Gas">
      <a:srgbClr val="C6A992"/>
    </a:custClr>
    <a:custClr name="Oil">
      <a:srgbClr val="984857"/>
    </a:custClr>
    <a:custClr name="Coal">
      <a:srgbClr val="572932"/>
    </a:custClr>
    <a:custClr name="Bio-based">
      <a:srgbClr val="0D5257"/>
    </a:custClr>
    <a:custClr name="Biofeedstock">
      <a:srgbClr val="0D5257"/>
    </a:custClr>
    <a:custClr name="Bioenergy">
      <a:srgbClr val="71CC98"/>
    </a:custClr>
    <a:custClr name="Zero carbon power">
      <a:srgbClr val="6399AE"/>
    </a:custClr>
    <a:custClr name="Solar PV">
      <a:srgbClr val="F0B323"/>
    </a:custClr>
    <a:custClr name="Nuclear">
      <a:srgbClr val="F0E991"/>
    </a:custClr>
    <a:custClr name="Hydro">
      <a:srgbClr val="6399AE"/>
    </a:custClr>
    <a:custClr name="Windpower">
      <a:srgbClr val="4F758B"/>
    </a:custClr>
  </a:custClrLst>
  <a:extLst>
    <a:ext uri="{05A4C25C-085E-4340-85A3-A5531E510DB2}">
      <thm15:themeFamily xmlns:thm15="http://schemas.microsoft.com/office/thememl/2012/main" name="Presentation1" id="{DC585643-8C06-4F33-959C-7F12F1589ECF}" vid="{F5BD542E-8628-410A-9D10-69D55219A3B9}"/>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FCCDD6E6CA2F5B44A1514221FA900CB8" ma:contentTypeVersion="15" ma:contentTypeDescription="Create a new document." ma:contentTypeScope="" ma:versionID="266f0a4dc149496e4b7a5ce224b58891">
  <xsd:schema xmlns:xsd="http://www.w3.org/2001/XMLSchema" xmlns:xs="http://www.w3.org/2001/XMLSchema" xmlns:p="http://schemas.microsoft.com/office/2006/metadata/properties" xmlns:ns2="0b81b9ab-ce3e-4e53-a6e1-db2c872d8d85" xmlns:ns3="f6f44a7d-d6f5-4042-8792-19cb5f90fb06" targetNamespace="http://schemas.microsoft.com/office/2006/metadata/properties" ma:root="true" ma:fieldsID="d0d514c133d3442d4d107d49e6784fbb" ns2:_="" ns3:_="">
    <xsd:import namespace="0b81b9ab-ce3e-4e53-a6e1-db2c872d8d85"/>
    <xsd:import namespace="f6f44a7d-d6f5-4042-8792-19cb5f90fb06"/>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MediaServiceSearchPropertie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b81b9ab-ce3e-4e53-a6e1-db2c872d8d8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lcf76f155ced4ddcb4097134ff3c332f" ma:index="14" nillable="true" ma:taxonomy="true" ma:internalName="lcf76f155ced4ddcb4097134ff3c332f" ma:taxonomyFieldName="MediaServiceImageTags" ma:displayName="Image Tags" ma:readOnly="false" ma:fieldId="{5cf76f15-5ced-4ddc-b409-7134ff3c332f}" ma:taxonomyMulti="true" ma:sspId="6fd27762-0251-4a48-b483-e1f79c0a6546" ma:termSetId="09814cd3-568e-fe90-9814-8d621ff8fb84" ma:anchorId="fba54fb3-c3e1-fe81-a776-ca4b69148c4d" ma:open="true" ma:isKeyword="false">
      <xsd:complexType>
        <xsd:sequence>
          <xsd:element ref="pc:Terms" minOccurs="0" maxOccurs="1"/>
        </xsd:sequence>
      </xsd:complex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dexed="true" ma:internalName="MediaServiceDateTake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MediaServiceSearchProperties" ma:index="21" nillable="true" ma:displayName="MediaServiceSearchProperties" ma:hidden="true" ma:internalName="MediaServiceSearchProperties" ma:readOnly="true">
      <xsd:simpleType>
        <xsd:restriction base="dms:Note"/>
      </xsd:simpleType>
    </xsd:element>
    <xsd:element name="MediaServiceLocation" ma:index="22"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6f44a7d-d6f5-4042-8792-19cb5f90fb06"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element name="TaxCatchAll" ma:index="15" nillable="true" ma:displayName="Taxonomy Catch All Column" ma:hidden="true" ma:list="{2f1cb957-661d-4683-93b6-7eb55a432899}" ma:internalName="TaxCatchAll" ma:showField="CatchAllData" ma:web="f6f44a7d-d6f5-4042-8792-19cb5f90fb0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f6f44a7d-d6f5-4042-8792-19cb5f90fb06" xsi:nil="true"/>
    <lcf76f155ced4ddcb4097134ff3c332f xmlns="0b81b9ab-ce3e-4e53-a6e1-db2c872d8d85">
      <Terms xmlns="http://schemas.microsoft.com/office/infopath/2007/PartnerControls"/>
    </lcf76f155ced4ddcb4097134ff3c332f>
    <SharedWithUsers xmlns="f6f44a7d-d6f5-4042-8792-19cb5f90fb06">
      <UserInfo>
        <DisplayName>Hugo Liabeuf</DisplayName>
        <AccountId>38376</AccountId>
        <AccountType/>
      </UserInfo>
      <UserInfo>
        <DisplayName>Ita Kettleborough</DisplayName>
        <AccountId>11318</AccountId>
        <AccountType/>
      </UserInfo>
      <UserInfo>
        <DisplayName>Andrea Bath</DisplayName>
        <AccountId>6240</AccountId>
        <AccountType/>
      </UserInfo>
      <UserInfo>
        <DisplayName>Caroline Randle</DisplayName>
        <AccountId>14885</AccountId>
        <AccountType/>
      </UserInfo>
      <UserInfo>
        <DisplayName>Elizabeth Lam</DisplayName>
        <AccountId>39062</AccountId>
        <AccountType/>
      </UserInfo>
      <UserInfo>
        <DisplayName>Tommaso Mazzanti</DisplayName>
        <AccountId>22972</AccountId>
        <AccountType/>
      </UserInfo>
      <UserInfo>
        <DisplayName>Mike Hemsley</DisplayName>
        <AccountId>26818</AccountId>
        <AccountType/>
      </UserInfo>
      <UserInfo>
        <DisplayName>Hugo Stevens</DisplayName>
        <AccountId>35233</AccountId>
        <AccountType/>
      </UserInfo>
    </SharedWithUsers>
  </documentManagement>
</p:properties>
</file>

<file path=customXml/item4.xml><?xml version="1.0" encoding="utf-8"?>
<TemplafyTemplateConfiguration><![CDATA[{"elementsMetadata":[],"transformationConfigurations":[],"templateName":"New Systemiq slide template","templateDescription":"","enableDocumentContentUpdater":false,"version":"2.0"}]]></TemplafyTemplateConfiguration>
</file>

<file path=customXml/item5.xml><?xml version="1.0" encoding="utf-8"?>
<TemplafyFormConfiguration><![CDATA[{"formFields":[],"formDataEntries":[]}]]></TemplafyFormConfiguration>
</file>

<file path=customXml/itemProps1.xml><?xml version="1.0" encoding="utf-8"?>
<ds:datastoreItem xmlns:ds="http://schemas.openxmlformats.org/officeDocument/2006/customXml" ds:itemID="{5CB3F277-4CE0-41B6-8D57-14F2BE74CA01}">
  <ds:schemaRefs>
    <ds:schemaRef ds:uri="http://schemas.microsoft.com/sharepoint/v3/contenttype/forms"/>
  </ds:schemaRefs>
</ds:datastoreItem>
</file>

<file path=customXml/itemProps2.xml><?xml version="1.0" encoding="utf-8"?>
<ds:datastoreItem xmlns:ds="http://schemas.openxmlformats.org/officeDocument/2006/customXml" ds:itemID="{896369F1-C54F-4F11-BE2C-EE8D647E3697}">
  <ds:schemaRefs>
    <ds:schemaRef ds:uri="0b81b9ab-ce3e-4e53-a6e1-db2c872d8d85"/>
    <ds:schemaRef ds:uri="f6f44a7d-d6f5-4042-8792-19cb5f90fb06"/>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6C8D9BB2-9616-4083-9039-020FC2EF1A73}">
  <ds:schemaRefs>
    <ds:schemaRef ds:uri="0b81b9ab-ce3e-4e53-a6e1-db2c872d8d85"/>
    <ds:schemaRef ds:uri="f6f44a7d-d6f5-4042-8792-19cb5f90fb06"/>
    <ds:schemaRef ds:uri="http://schemas.microsoft.com/office/2006/metadata/properties"/>
    <ds:schemaRef ds:uri="http://schemas.microsoft.com/office/infopath/2007/PartnerControls"/>
  </ds:schemaRefs>
</ds:datastoreItem>
</file>

<file path=customXml/itemProps4.xml><?xml version="1.0" encoding="utf-8"?>
<ds:datastoreItem xmlns:ds="http://schemas.openxmlformats.org/officeDocument/2006/customXml" ds:itemID="{1EB758AA-4629-43D6-95B7-C0D774915E93}">
  <ds:schemaRefs/>
</ds:datastoreItem>
</file>

<file path=customXml/itemProps5.xml><?xml version="1.0" encoding="utf-8"?>
<ds:datastoreItem xmlns:ds="http://schemas.openxmlformats.org/officeDocument/2006/customXml" ds:itemID="{7EC7C187-7F97-4065-93DD-EB6CC54E1800}">
  <ds:schemaRefs/>
</ds:datastoreItem>
</file>

<file path=docProps/app.xml><?xml version="1.0" encoding="utf-8"?>
<Properties xmlns="http://schemas.openxmlformats.org/officeDocument/2006/extended-properties" xmlns:vt="http://schemas.openxmlformats.org/officeDocument/2006/docPropsVTypes">
  <Template>ETC Template</Template>
  <TotalTime>0</TotalTime>
  <Words>2549</Words>
  <Application>Microsoft Office PowerPoint</Application>
  <PresentationFormat>Widescreen</PresentationFormat>
  <Paragraphs>432</Paragraphs>
  <Slides>20</Slides>
  <Notes>6</Notes>
  <HiddenSlides>0</HiddenSlides>
  <MMClips>0</MMClips>
  <ScaleCrop>false</ScaleCrop>
  <HeadingPairs>
    <vt:vector size="6" baseType="variant">
      <vt:variant>
        <vt:lpstr>Fonts Used</vt:lpstr>
      </vt:variant>
      <vt:variant>
        <vt:i4>7</vt:i4>
      </vt:variant>
      <vt:variant>
        <vt:lpstr>Theme</vt:lpstr>
      </vt:variant>
      <vt:variant>
        <vt:i4>3</vt:i4>
      </vt:variant>
      <vt:variant>
        <vt:lpstr>Slide Titles</vt:lpstr>
      </vt:variant>
      <vt:variant>
        <vt:i4>20</vt:i4>
      </vt:variant>
    </vt:vector>
  </HeadingPairs>
  <TitlesOfParts>
    <vt:vector size="30" baseType="lpstr">
      <vt:lpstr>Century Gothic</vt:lpstr>
      <vt:lpstr>Inter</vt:lpstr>
      <vt:lpstr>Lato</vt:lpstr>
      <vt:lpstr>Museo Sans 100</vt:lpstr>
      <vt:lpstr>Source Sans Pro</vt:lpstr>
      <vt:lpstr>Trebuchet MS</vt:lpstr>
      <vt:lpstr>Verdana</vt:lpstr>
      <vt:lpstr>ETC Template</vt:lpstr>
      <vt:lpstr>1_ETC</vt:lpstr>
      <vt:lpstr>ETC</vt:lpstr>
      <vt:lpstr>Credible Contributions:  Bolder plans for higher climate ambition in the next round of NDCs</vt:lpstr>
      <vt:lpstr>PowerPoint Presentation</vt:lpstr>
      <vt:lpstr>ETC Impact Model</vt:lpstr>
      <vt:lpstr>ETC Publications – Timeline 2017-2024 </vt:lpstr>
      <vt:lpstr>Insights Briefing Key Messages</vt:lpstr>
      <vt:lpstr>NDCs are countries’ pledges to reduce national GHG emissions – today, targets in NDCs, if delivered, are only expected to limit global warming by +2.5°C</vt:lpstr>
      <vt:lpstr>Countries must submit new NDCs by COP30 in Brazil in 2025 – current policies are only expected to limit global warming to +2.7°C</vt:lpstr>
      <vt:lpstr>Targets of current NDCs, if fully implemented, are only expected to deliver ~6 GtCO2e of mitigation per year by 2035</vt:lpstr>
      <vt:lpstr>The world needs much more ambitious NDCs 3.0 – a real economy ambition loop means raising ambition will increase deployment. Increased deployment also raises ambition. </vt:lpstr>
      <vt:lpstr>Governments can significantly raise the ambition in their new NDCs</vt:lpstr>
      <vt:lpstr>The cost of key technologies for the energy transition has fallen significantly over the past decade …</vt:lpstr>
      <vt:lpstr>… resulting in their rapid deployment - these technologies have now likely reached tipping points in most parts of the world, making their accelerated deployment inevitable</vt:lpstr>
      <vt:lpstr>The technologies to decarbonise all sectors are reaching commercial maturity; with policy, this is pushing industry to make ambitious commitments to decarbonisation</vt:lpstr>
      <vt:lpstr>Countries have made ambitious commitments are recent COPs which  they must now deliver on</vt:lpstr>
      <vt:lpstr>Overall ambition in upcoming NDCs could be 3x higher if they reflected technological progress, and sectoral and national commitments</vt:lpstr>
      <vt:lpstr>This would put the world on track for 2°C</vt:lpstr>
      <vt:lpstr>But ambition alone will not translate into progress: clear NDC targets and information on how they will be delivered, including investment required, will reinforce their role as roadmaps for climate action</vt:lpstr>
      <vt:lpstr>NDCs can be broadly categorised against ambition and implementation</vt:lpstr>
      <vt:lpstr>NDC targets should be underpinned by a clear strategic vision of how the energy system will transition over time – NDCs could include several indicators to reflect this understanding and track progress</vt:lpstr>
      <vt:lpstr>What is needed from NDCs 3.0 ?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ystemiq slide template Jan 2024</dc:title>
  <dc:creator>Hugo Stevens</dc:creator>
  <cp:lastModifiedBy>John Allen</cp:lastModifiedBy>
  <cp:revision>1</cp:revision>
  <dcterms:created xsi:type="dcterms:W3CDTF">2024-02-06T08:57:47Z</dcterms:created>
  <dcterms:modified xsi:type="dcterms:W3CDTF">2024-06-27T21:57: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fyTimeStamp">
    <vt:lpwstr>2024-01-23T13:56:11</vt:lpwstr>
  </property>
  <property fmtid="{D5CDD505-2E9C-101B-9397-08002B2CF9AE}" pid="3" name="TemplafyTenantId">
    <vt:lpwstr>systemiq</vt:lpwstr>
  </property>
  <property fmtid="{D5CDD505-2E9C-101B-9397-08002B2CF9AE}" pid="4" name="TemplafyTemplateId">
    <vt:lpwstr>829435220361216530</vt:lpwstr>
  </property>
  <property fmtid="{D5CDD505-2E9C-101B-9397-08002B2CF9AE}" pid="5" name="TemplafyUserProfileId">
    <vt:lpwstr>637854390458911919</vt:lpwstr>
  </property>
  <property fmtid="{D5CDD505-2E9C-101B-9397-08002B2CF9AE}" pid="6" name="TemplafyFromBlank">
    <vt:bool>true</vt:bool>
  </property>
  <property fmtid="{D5CDD505-2E9C-101B-9397-08002B2CF9AE}" pid="7" name="ContentTypeId">
    <vt:lpwstr>0x010100FCCDD6E6CA2F5B44A1514221FA900CB8</vt:lpwstr>
  </property>
  <property fmtid="{D5CDD505-2E9C-101B-9397-08002B2CF9AE}" pid="8" name="MediaServiceImageTags">
    <vt:lpwstr/>
  </property>
</Properties>
</file>